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84" r:id="rId6"/>
    <p:sldMasterId id="2147483699" r:id="rId7"/>
    <p:sldMasterId id="2147483714" r:id="rId8"/>
    <p:sldMasterId id="2147483727" r:id="rId9"/>
    <p:sldMasterId id="2147483745" r:id="rId10"/>
    <p:sldMasterId id="2147483758" r:id="rId11"/>
    <p:sldMasterId id="2147483771" r:id="rId12"/>
  </p:sldMasterIdLst>
  <p:notesMasterIdLst>
    <p:notesMasterId r:id="rId76"/>
  </p:notesMasterIdLst>
  <p:sldIdLst>
    <p:sldId id="275" r:id="rId13"/>
    <p:sldId id="687" r:id="rId14"/>
    <p:sldId id="1569" r:id="rId15"/>
    <p:sldId id="688" r:id="rId16"/>
    <p:sldId id="1554" r:id="rId17"/>
    <p:sldId id="1553" r:id="rId18"/>
    <p:sldId id="689" r:id="rId19"/>
    <p:sldId id="568" r:id="rId20"/>
    <p:sldId id="1568" r:id="rId21"/>
    <p:sldId id="282" r:id="rId22"/>
    <p:sldId id="1546" r:id="rId23"/>
    <p:sldId id="1555" r:id="rId24"/>
    <p:sldId id="699" r:id="rId25"/>
    <p:sldId id="1570" r:id="rId26"/>
    <p:sldId id="1544" r:id="rId27"/>
    <p:sldId id="1558" r:id="rId28"/>
    <p:sldId id="772" r:id="rId29"/>
    <p:sldId id="1529" r:id="rId30"/>
    <p:sldId id="1556" r:id="rId31"/>
    <p:sldId id="1527" r:id="rId32"/>
    <p:sldId id="794" r:id="rId33"/>
    <p:sldId id="1542" r:id="rId34"/>
    <p:sldId id="1543" r:id="rId35"/>
    <p:sldId id="1545" r:id="rId36"/>
    <p:sldId id="1567" r:id="rId37"/>
    <p:sldId id="774" r:id="rId38"/>
    <p:sldId id="1560" r:id="rId39"/>
    <p:sldId id="706" r:id="rId40"/>
    <p:sldId id="696" r:id="rId41"/>
    <p:sldId id="773" r:id="rId42"/>
    <p:sldId id="1561" r:id="rId43"/>
    <p:sldId id="1788" r:id="rId44"/>
    <p:sldId id="669" r:id="rId45"/>
    <p:sldId id="692" r:id="rId46"/>
    <p:sldId id="690" r:id="rId47"/>
    <p:sldId id="754" r:id="rId48"/>
    <p:sldId id="698" r:id="rId49"/>
    <p:sldId id="256" r:id="rId50"/>
    <p:sldId id="700" r:id="rId51"/>
    <p:sldId id="293" r:id="rId52"/>
    <p:sldId id="1706" r:id="rId53"/>
    <p:sldId id="1565" r:id="rId54"/>
    <p:sldId id="439" r:id="rId55"/>
    <p:sldId id="1562" r:id="rId56"/>
    <p:sldId id="1549" r:id="rId57"/>
    <p:sldId id="298" r:id="rId58"/>
    <p:sldId id="1795" r:id="rId59"/>
    <p:sldId id="1551" r:id="rId60"/>
    <p:sldId id="1550" r:id="rId61"/>
    <p:sldId id="1791" r:id="rId62"/>
    <p:sldId id="1794" r:id="rId63"/>
    <p:sldId id="1793" r:id="rId64"/>
    <p:sldId id="1792" r:id="rId65"/>
    <p:sldId id="257" r:id="rId66"/>
    <p:sldId id="1563" r:id="rId67"/>
    <p:sldId id="1790" r:id="rId68"/>
    <p:sldId id="1796" r:id="rId69"/>
    <p:sldId id="1789" r:id="rId70"/>
    <p:sldId id="316" r:id="rId71"/>
    <p:sldId id="317" r:id="rId72"/>
    <p:sldId id="315" r:id="rId73"/>
    <p:sldId id="1797" r:id="rId74"/>
    <p:sldId id="394" r:id="rId75"/>
  </p:sldIdLst>
  <p:sldSz cx="12192000" cy="6858000"/>
  <p:notesSz cx="7010400" cy="92964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pening and closing slides" id="{D0162BE6-D372-144E-8C38-24F1C590F7AC}">
          <p14:sldIdLst>
            <p14:sldId id="275"/>
            <p14:sldId id="687"/>
            <p14:sldId id="1569"/>
            <p14:sldId id="688"/>
            <p14:sldId id="1554"/>
            <p14:sldId id="1553"/>
            <p14:sldId id="689"/>
            <p14:sldId id="568"/>
            <p14:sldId id="1568"/>
            <p14:sldId id="282"/>
            <p14:sldId id="1546"/>
            <p14:sldId id="1555"/>
          </p14:sldIdLst>
        </p14:section>
        <p14:section name="Table of content slides" id="{A527E08A-DDB2-6E4E-B811-A6325C2E7E22}">
          <p14:sldIdLst>
            <p14:sldId id="699"/>
            <p14:sldId id="1570"/>
            <p14:sldId id="1544"/>
          </p14:sldIdLst>
        </p14:section>
        <p14:section name="Presenter introduction slides" id="{B11FE1DB-525E-1948-A01F-4AD331F27353}">
          <p14:sldIdLst>
            <p14:sldId id="1558"/>
            <p14:sldId id="772"/>
            <p14:sldId id="1529"/>
          </p14:sldIdLst>
        </p14:section>
        <p14:section name="Puzzelers slides" id="{942DB717-AB96-8146-9B80-0FBE5EEFE970}">
          <p14:sldIdLst>
            <p14:sldId id="1556"/>
            <p14:sldId id="1527"/>
            <p14:sldId id="794"/>
            <p14:sldId id="1542"/>
            <p14:sldId id="1543"/>
            <p14:sldId id="1545"/>
          </p14:sldIdLst>
        </p14:section>
        <p14:section name="Core Company Overview slides" id="{DFCBE9F6-57B5-074E-A826-A14F623ADDBD}">
          <p14:sldIdLst>
            <p14:sldId id="1567"/>
            <p14:sldId id="774"/>
            <p14:sldId id="1560"/>
            <p14:sldId id="706"/>
            <p14:sldId id="696"/>
            <p14:sldId id="773"/>
            <p14:sldId id="1561"/>
            <p14:sldId id="1788"/>
            <p14:sldId id="669"/>
            <p14:sldId id="692"/>
          </p14:sldIdLst>
        </p14:section>
        <p14:section name="Core PCC slides" id="{3B81C333-B49B-FD43-8AAD-CC2ECB4CEF85}">
          <p14:sldIdLst>
            <p14:sldId id="690"/>
            <p14:sldId id="754"/>
            <p14:sldId id="698"/>
            <p14:sldId id="256"/>
            <p14:sldId id="700"/>
            <p14:sldId id="293"/>
            <p14:sldId id="1706"/>
            <p14:sldId id="1565"/>
          </p14:sldIdLst>
        </p14:section>
        <p14:section name="Core Innovation slides" id="{4030A636-E230-AE4D-B99C-B6A9DCC7C47D}">
          <p14:sldIdLst>
            <p14:sldId id="439"/>
            <p14:sldId id="1562"/>
            <p14:sldId id="1549"/>
          </p14:sldIdLst>
        </p14:section>
        <p14:section name="Gartner slides" id="{26B90722-274D-FB4E-A7B1-D24E11EFB24E}">
          <p14:sldIdLst>
            <p14:sldId id="298"/>
            <p14:sldId id="1795"/>
            <p14:sldId id="1551"/>
            <p14:sldId id="1550"/>
          </p14:sldIdLst>
        </p14:section>
        <p14:section name="Our Customer slides" id="{8FA2B7D3-7F90-A243-80F4-CFC31480A767}">
          <p14:sldIdLst>
            <p14:sldId id="1791"/>
            <p14:sldId id="1794"/>
            <p14:sldId id="1793"/>
            <p14:sldId id="1792"/>
            <p14:sldId id="257"/>
            <p14:sldId id="1563"/>
            <p14:sldId id="1790"/>
          </p14:sldIdLst>
        </p14:section>
        <p14:section name="Partner slides" id="{96D8B028-73A9-224C-8AFB-CB592AA4CB23}">
          <p14:sldIdLst>
            <p14:sldId id="1796"/>
          </p14:sldIdLst>
        </p14:section>
        <p14:section name="System integration wheel" id="{0173047F-7332-FC40-B61A-55C45F8A3872}">
          <p14:sldIdLst>
            <p14:sldId id="1789"/>
          </p14:sldIdLst>
        </p14:section>
        <p14:section name="Technology slides" id="{A72DB656-1D64-E14C-A977-1C5C8D0F6D75}">
          <p14:sldIdLst>
            <p14:sldId id="316"/>
            <p14:sldId id="317"/>
            <p14:sldId id="315"/>
            <p14:sldId id="1797"/>
            <p14:sldId id="39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9EE9FA-6B86-4009-8812-333365324CDA}" v="6" dt="2019-12-17T09:10:32.0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63" Type="http://schemas.openxmlformats.org/officeDocument/2006/relationships/slide" Target="slides/slide51.xml"/><Relationship Id="rId68" Type="http://schemas.openxmlformats.org/officeDocument/2006/relationships/slide" Target="slides/slide56.xml"/><Relationship Id="rId76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59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66" Type="http://schemas.openxmlformats.org/officeDocument/2006/relationships/slide" Target="slides/slide54.xml"/><Relationship Id="rId74" Type="http://schemas.openxmlformats.org/officeDocument/2006/relationships/slide" Target="slides/slide62.xml"/><Relationship Id="rId79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49.xml"/><Relationship Id="rId82" Type="http://schemas.microsoft.com/office/2015/10/relationships/revisionInfo" Target="revisionInfo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slide" Target="slides/slide48.xml"/><Relationship Id="rId65" Type="http://schemas.openxmlformats.org/officeDocument/2006/relationships/slide" Target="slides/slide53.xml"/><Relationship Id="rId73" Type="http://schemas.openxmlformats.org/officeDocument/2006/relationships/slide" Target="slides/slide61.xml"/><Relationship Id="rId78" Type="http://schemas.openxmlformats.org/officeDocument/2006/relationships/viewProps" Target="viewProps.xml"/><Relationship Id="rId8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openxmlformats.org/officeDocument/2006/relationships/slide" Target="slides/slide52.xml"/><Relationship Id="rId69" Type="http://schemas.openxmlformats.org/officeDocument/2006/relationships/slide" Target="slides/slide57.xml"/><Relationship Id="rId77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9.xml"/><Relationship Id="rId72" Type="http://schemas.openxmlformats.org/officeDocument/2006/relationships/slide" Target="slides/slide60.xml"/><Relationship Id="rId80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slide" Target="slides/slide47.xml"/><Relationship Id="rId67" Type="http://schemas.openxmlformats.org/officeDocument/2006/relationships/slide" Target="slides/slide55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slide" Target="slides/slide50.xml"/><Relationship Id="rId70" Type="http://schemas.openxmlformats.org/officeDocument/2006/relationships/slide" Target="slides/slide58.xml"/><Relationship Id="rId75" Type="http://schemas.openxmlformats.org/officeDocument/2006/relationships/slide" Target="slides/slide6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ott Maryan" userId="3e113a36-8ba2-4f51-92ed-d0625c00ad4b" providerId="ADAL" clId="{739EE9FA-6B86-4009-8812-333365324CDA}"/>
    <pc:docChg chg="modSld modNotesMaster">
      <pc:chgData name="Scott Maryan" userId="3e113a36-8ba2-4f51-92ed-d0625c00ad4b" providerId="ADAL" clId="{739EE9FA-6B86-4009-8812-333365324CDA}" dt="2019-12-17T10:35:54.501" v="7" actId="1076"/>
      <pc:docMkLst>
        <pc:docMk/>
      </pc:docMkLst>
      <pc:sldChg chg="modSp">
        <pc:chgData name="Scott Maryan" userId="3e113a36-8ba2-4f51-92ed-d0625c00ad4b" providerId="ADAL" clId="{739EE9FA-6B86-4009-8812-333365324CDA}" dt="2019-12-17T10:35:54.501" v="7" actId="1076"/>
        <pc:sldMkLst>
          <pc:docMk/>
          <pc:sldMk cId="2380174058" sldId="293"/>
        </pc:sldMkLst>
        <pc:grpChg chg="mod">
          <ac:chgData name="Scott Maryan" userId="3e113a36-8ba2-4f51-92ed-d0625c00ad4b" providerId="ADAL" clId="{739EE9FA-6B86-4009-8812-333365324CDA}" dt="2019-12-17T09:10:21.354" v="5" actId="1076"/>
          <ac:grpSpMkLst>
            <pc:docMk/>
            <pc:sldMk cId="2380174058" sldId="293"/>
            <ac:grpSpMk id="3" creationId="{713B2FE9-86B9-F54A-A6A3-9BCD80444EFB}"/>
          </ac:grpSpMkLst>
        </pc:grpChg>
        <pc:picChg chg="mod">
          <ac:chgData name="Scott Maryan" userId="3e113a36-8ba2-4f51-92ed-d0625c00ad4b" providerId="ADAL" clId="{739EE9FA-6B86-4009-8812-333365324CDA}" dt="2019-12-17T10:35:54.501" v="7" actId="1076"/>
          <ac:picMkLst>
            <pc:docMk/>
            <pc:sldMk cId="2380174058" sldId="293"/>
            <ac:picMk id="6" creationId="{0E9F4CB2-51FA-1D48-BF22-1AA94B0FC10D}"/>
          </ac:picMkLst>
        </pc:picChg>
        <pc:picChg chg="mod">
          <ac:chgData name="Scott Maryan" userId="3e113a36-8ba2-4f51-92ed-d0625c00ad4b" providerId="ADAL" clId="{739EE9FA-6B86-4009-8812-333365324CDA}" dt="2019-12-17T10:31:31.698" v="6" actId="1076"/>
          <ac:picMkLst>
            <pc:docMk/>
            <pc:sldMk cId="2380174058" sldId="293"/>
            <ac:picMk id="37" creationId="{00000000-0000-0000-0000-000000000000}"/>
          </ac:picMkLst>
        </pc:picChg>
      </pc:sldChg>
      <pc:sldChg chg="modSp">
        <pc:chgData name="Scott Maryan" userId="3e113a36-8ba2-4f51-92ed-d0625c00ad4b" providerId="ADAL" clId="{739EE9FA-6B86-4009-8812-333365324CDA}" dt="2019-12-16T16:02:21.644" v="3" actId="1076"/>
        <pc:sldMkLst>
          <pc:docMk/>
          <pc:sldMk cId="1897571558" sldId="754"/>
        </pc:sldMkLst>
        <pc:spChg chg="mod">
          <ac:chgData name="Scott Maryan" userId="3e113a36-8ba2-4f51-92ed-d0625c00ad4b" providerId="ADAL" clId="{739EE9FA-6B86-4009-8812-333365324CDA}" dt="2019-12-16T16:02:21.644" v="3" actId="1076"/>
          <ac:spMkLst>
            <pc:docMk/>
            <pc:sldMk cId="1897571558" sldId="754"/>
            <ac:spMk id="16" creationId="{FAACB22F-2F7C-4A57-B577-35339D22CBC2}"/>
          </ac:spMkLst>
        </pc:spChg>
      </pc:sldChg>
      <pc:sldChg chg="delSp modSp modAnim">
        <pc:chgData name="Scott Maryan" userId="3e113a36-8ba2-4f51-92ed-d0625c00ad4b" providerId="ADAL" clId="{739EE9FA-6B86-4009-8812-333365324CDA}" dt="2019-12-16T14:06:09.339" v="2" actId="1038"/>
        <pc:sldMkLst>
          <pc:docMk/>
          <pc:sldMk cId="1913734237" sldId="774"/>
        </pc:sldMkLst>
        <pc:spChg chg="mod topLvl">
          <ac:chgData name="Scott Maryan" userId="3e113a36-8ba2-4f51-92ed-d0625c00ad4b" providerId="ADAL" clId="{739EE9FA-6B86-4009-8812-333365324CDA}" dt="2019-12-16T13:49:19.751" v="0" actId="165"/>
          <ac:spMkLst>
            <pc:docMk/>
            <pc:sldMk cId="1913734237" sldId="774"/>
            <ac:spMk id="2030" creationId="{B6DE5677-2637-1F4D-A7D4-99D657894E6B}"/>
          </ac:spMkLst>
        </pc:spChg>
        <pc:spChg chg="mod topLvl">
          <ac:chgData name="Scott Maryan" userId="3e113a36-8ba2-4f51-92ed-d0625c00ad4b" providerId="ADAL" clId="{739EE9FA-6B86-4009-8812-333365324CDA}" dt="2019-12-16T13:49:19.751" v="0" actId="165"/>
          <ac:spMkLst>
            <pc:docMk/>
            <pc:sldMk cId="1913734237" sldId="774"/>
            <ac:spMk id="2032" creationId="{3388E41E-A420-F440-B445-467F91983BB5}"/>
          </ac:spMkLst>
        </pc:spChg>
        <pc:spChg chg="mod topLvl">
          <ac:chgData name="Scott Maryan" userId="3e113a36-8ba2-4f51-92ed-d0625c00ad4b" providerId="ADAL" clId="{739EE9FA-6B86-4009-8812-333365324CDA}" dt="2019-12-16T13:49:19.751" v="0" actId="165"/>
          <ac:spMkLst>
            <pc:docMk/>
            <pc:sldMk cId="1913734237" sldId="774"/>
            <ac:spMk id="2034" creationId="{36C118DE-C88E-554A-90CB-8C8A48392F0A}"/>
          </ac:spMkLst>
        </pc:spChg>
        <pc:spChg chg="mod topLvl">
          <ac:chgData name="Scott Maryan" userId="3e113a36-8ba2-4f51-92ed-d0625c00ad4b" providerId="ADAL" clId="{739EE9FA-6B86-4009-8812-333365324CDA}" dt="2019-12-16T13:49:19.751" v="0" actId="165"/>
          <ac:spMkLst>
            <pc:docMk/>
            <pc:sldMk cId="1913734237" sldId="774"/>
            <ac:spMk id="2036" creationId="{EE590DD9-AD32-454A-9111-DB4BD107CDD6}"/>
          </ac:spMkLst>
        </pc:spChg>
        <pc:spChg chg="mod topLvl">
          <ac:chgData name="Scott Maryan" userId="3e113a36-8ba2-4f51-92ed-d0625c00ad4b" providerId="ADAL" clId="{739EE9FA-6B86-4009-8812-333365324CDA}" dt="2019-12-16T13:49:19.751" v="0" actId="165"/>
          <ac:spMkLst>
            <pc:docMk/>
            <pc:sldMk cId="1913734237" sldId="774"/>
            <ac:spMk id="2038" creationId="{271A6912-7CCC-9348-AC2F-0703208C94A2}"/>
          </ac:spMkLst>
        </pc:spChg>
        <pc:spChg chg="mod topLvl">
          <ac:chgData name="Scott Maryan" userId="3e113a36-8ba2-4f51-92ed-d0625c00ad4b" providerId="ADAL" clId="{739EE9FA-6B86-4009-8812-333365324CDA}" dt="2019-12-16T13:49:19.751" v="0" actId="165"/>
          <ac:spMkLst>
            <pc:docMk/>
            <pc:sldMk cId="1913734237" sldId="774"/>
            <ac:spMk id="2040" creationId="{FC9200D7-2BFF-6241-A878-B900B25C5A07}"/>
          </ac:spMkLst>
        </pc:spChg>
        <pc:grpChg chg="mod">
          <ac:chgData name="Scott Maryan" userId="3e113a36-8ba2-4f51-92ed-d0625c00ad4b" providerId="ADAL" clId="{739EE9FA-6B86-4009-8812-333365324CDA}" dt="2019-12-16T14:06:09.339" v="2" actId="1038"/>
          <ac:grpSpMkLst>
            <pc:docMk/>
            <pc:sldMk cId="1913734237" sldId="774"/>
            <ac:grpSpMk id="6" creationId="{036FCD7B-D353-4B2E-BFBE-278927123317}"/>
          </ac:grpSpMkLst>
        </pc:grpChg>
        <pc:grpChg chg="del">
          <ac:chgData name="Scott Maryan" userId="3e113a36-8ba2-4f51-92ed-d0625c00ad4b" providerId="ADAL" clId="{739EE9FA-6B86-4009-8812-333365324CDA}" dt="2019-12-16T13:49:19.751" v="0" actId="165"/>
          <ac:grpSpMkLst>
            <pc:docMk/>
            <pc:sldMk cId="1913734237" sldId="774"/>
            <ac:grpSpMk id="8" creationId="{6C228F32-F321-EA46-B128-22F18096A26C}"/>
          </ac:grpSpMkLst>
        </pc:grpChg>
        <pc:grpChg chg="mod topLvl">
          <ac:chgData name="Scott Maryan" userId="3e113a36-8ba2-4f51-92ed-d0625c00ad4b" providerId="ADAL" clId="{739EE9FA-6B86-4009-8812-333365324CDA}" dt="2019-12-16T13:49:19.751" v="0" actId="165"/>
          <ac:grpSpMkLst>
            <pc:docMk/>
            <pc:sldMk cId="1913734237" sldId="774"/>
            <ac:grpSpMk id="1632" creationId="{3F0ADA33-CE4E-F847-A03D-739AEE220170}"/>
          </ac:grpSpMkLst>
        </pc:grpChg>
        <pc:picChg chg="mod topLvl">
          <ac:chgData name="Scott Maryan" userId="3e113a36-8ba2-4f51-92ed-d0625c00ad4b" providerId="ADAL" clId="{739EE9FA-6B86-4009-8812-333365324CDA}" dt="2019-12-16T13:49:19.751" v="0" actId="165"/>
          <ac:picMkLst>
            <pc:docMk/>
            <pc:sldMk cId="1913734237" sldId="774"/>
            <ac:picMk id="4" creationId="{62635E14-16CA-564C-A3A7-135D8564E5D7}"/>
          </ac:picMkLst>
        </pc:picChg>
        <pc:picChg chg="mod topLvl">
          <ac:chgData name="Scott Maryan" userId="3e113a36-8ba2-4f51-92ed-d0625c00ad4b" providerId="ADAL" clId="{739EE9FA-6B86-4009-8812-333365324CDA}" dt="2019-12-16T13:49:19.751" v="0" actId="165"/>
          <ac:picMkLst>
            <pc:docMk/>
            <pc:sldMk cId="1913734237" sldId="774"/>
            <ac:picMk id="416" creationId="{D4602DF6-0E42-3D41-B51E-14302403C88C}"/>
          </ac:picMkLst>
        </pc:picChg>
        <pc:picChg chg="mod topLvl">
          <ac:chgData name="Scott Maryan" userId="3e113a36-8ba2-4f51-92ed-d0625c00ad4b" providerId="ADAL" clId="{739EE9FA-6B86-4009-8812-333365324CDA}" dt="2019-12-16T13:51:48.610" v="1" actId="1076"/>
          <ac:picMkLst>
            <pc:docMk/>
            <pc:sldMk cId="1913734237" sldId="774"/>
            <ac:picMk id="417" creationId="{30B5737F-5C1A-9A4D-AFC1-513B588D87F3}"/>
          </ac:picMkLst>
        </pc:picChg>
        <pc:picChg chg="mod topLvl">
          <ac:chgData name="Scott Maryan" userId="3e113a36-8ba2-4f51-92ed-d0625c00ad4b" providerId="ADAL" clId="{739EE9FA-6B86-4009-8812-333365324CDA}" dt="2019-12-16T13:49:19.751" v="0" actId="165"/>
          <ac:picMkLst>
            <pc:docMk/>
            <pc:sldMk cId="1913734237" sldId="774"/>
            <ac:picMk id="418" creationId="{047204EB-64F4-7D4A-BB74-CB4ECCCC4060}"/>
          </ac:picMkLst>
        </pc:picChg>
        <pc:picChg chg="mod topLvl">
          <ac:chgData name="Scott Maryan" userId="3e113a36-8ba2-4f51-92ed-d0625c00ad4b" providerId="ADAL" clId="{739EE9FA-6B86-4009-8812-333365324CDA}" dt="2019-12-16T13:49:19.751" v="0" actId="165"/>
          <ac:picMkLst>
            <pc:docMk/>
            <pc:sldMk cId="1913734237" sldId="774"/>
            <ac:picMk id="419" creationId="{6F667385-FFF2-B848-A802-44EC5178EF89}"/>
          </ac:picMkLst>
        </pc:picChg>
        <pc:picChg chg="mod topLvl">
          <ac:chgData name="Scott Maryan" userId="3e113a36-8ba2-4f51-92ed-d0625c00ad4b" providerId="ADAL" clId="{739EE9FA-6B86-4009-8812-333365324CDA}" dt="2019-12-16T13:49:19.751" v="0" actId="165"/>
          <ac:picMkLst>
            <pc:docMk/>
            <pc:sldMk cId="1913734237" sldId="774"/>
            <ac:picMk id="420" creationId="{A69F7FEB-1A90-074E-A0E8-21B25FD0790C}"/>
          </ac:picMkLst>
        </pc:picChg>
        <pc:cxnChg chg="mod topLvl">
          <ac:chgData name="Scott Maryan" userId="3e113a36-8ba2-4f51-92ed-d0625c00ad4b" providerId="ADAL" clId="{739EE9FA-6B86-4009-8812-333365324CDA}" dt="2019-12-16T13:49:19.751" v="0" actId="165"/>
          <ac:cxnSpMkLst>
            <pc:docMk/>
            <pc:sldMk cId="1913734237" sldId="774"/>
            <ac:cxnSpMk id="2031" creationId="{2556D9F3-87C2-524D-A4FC-2817D9C82ADB}"/>
          </ac:cxnSpMkLst>
        </pc:cxnChg>
        <pc:cxnChg chg="mod topLvl">
          <ac:chgData name="Scott Maryan" userId="3e113a36-8ba2-4f51-92ed-d0625c00ad4b" providerId="ADAL" clId="{739EE9FA-6B86-4009-8812-333365324CDA}" dt="2019-12-16T13:49:19.751" v="0" actId="165"/>
          <ac:cxnSpMkLst>
            <pc:docMk/>
            <pc:sldMk cId="1913734237" sldId="774"/>
            <ac:cxnSpMk id="2033" creationId="{F66C35B9-F195-1B44-B34A-5E331C79BB94}"/>
          </ac:cxnSpMkLst>
        </pc:cxnChg>
        <pc:cxnChg chg="mod topLvl">
          <ac:chgData name="Scott Maryan" userId="3e113a36-8ba2-4f51-92ed-d0625c00ad4b" providerId="ADAL" clId="{739EE9FA-6B86-4009-8812-333365324CDA}" dt="2019-12-16T13:51:48.610" v="1" actId="1076"/>
          <ac:cxnSpMkLst>
            <pc:docMk/>
            <pc:sldMk cId="1913734237" sldId="774"/>
            <ac:cxnSpMk id="2035" creationId="{F51BCC2E-D24B-4346-9201-D489908B8FE7}"/>
          </ac:cxnSpMkLst>
        </pc:cxnChg>
        <pc:cxnChg chg="mod topLvl">
          <ac:chgData name="Scott Maryan" userId="3e113a36-8ba2-4f51-92ed-d0625c00ad4b" providerId="ADAL" clId="{739EE9FA-6B86-4009-8812-333365324CDA}" dt="2019-12-16T13:49:19.751" v="0" actId="165"/>
          <ac:cxnSpMkLst>
            <pc:docMk/>
            <pc:sldMk cId="1913734237" sldId="774"/>
            <ac:cxnSpMk id="2037" creationId="{B65C5FAD-EF43-E442-8649-62DB63B0767B}"/>
          </ac:cxnSpMkLst>
        </pc:cxnChg>
        <pc:cxnChg chg="mod topLvl">
          <ac:chgData name="Scott Maryan" userId="3e113a36-8ba2-4f51-92ed-d0625c00ad4b" providerId="ADAL" clId="{739EE9FA-6B86-4009-8812-333365324CDA}" dt="2019-12-16T13:49:19.751" v="0" actId="165"/>
          <ac:cxnSpMkLst>
            <pc:docMk/>
            <pc:sldMk cId="1913734237" sldId="774"/>
            <ac:cxnSpMk id="2039" creationId="{C6CADEB0-3D40-CA4B-BE5F-5ABC2041800A}"/>
          </ac:cxnSpMkLst>
        </pc:cxnChg>
        <pc:cxnChg chg="mod topLvl">
          <ac:chgData name="Scott Maryan" userId="3e113a36-8ba2-4f51-92ed-d0625c00ad4b" providerId="ADAL" clId="{739EE9FA-6B86-4009-8812-333365324CDA}" dt="2019-12-16T13:49:19.751" v="0" actId="165"/>
          <ac:cxnSpMkLst>
            <pc:docMk/>
            <pc:sldMk cId="1913734237" sldId="774"/>
            <ac:cxnSpMk id="2041" creationId="{05354071-E421-BF4E-BDD4-500E3EDA9FC7}"/>
          </ac:cxnSpMkLst>
        </pc:cxnChg>
      </pc:sldChg>
    </pc:docChg>
  </pc:docChgLst>
  <pc:docChgLst>
    <pc:chgData name="Monica Rong" userId="2a3ff70b-c825-437d-8925-748cb7fb43e7" providerId="ADAL" clId="{5538F6C2-A7A7-3140-93CF-0A7BD52E44A9}"/>
    <pc:docChg chg="modSld">
      <pc:chgData name="Monica Rong" userId="2a3ff70b-c825-437d-8925-748cb7fb43e7" providerId="ADAL" clId="{5538F6C2-A7A7-3140-93CF-0A7BD52E44A9}" dt="2019-11-07T14:46:21.701" v="7" actId="1035"/>
      <pc:docMkLst>
        <pc:docMk/>
      </pc:docMkLst>
      <pc:sldChg chg="modSp">
        <pc:chgData name="Monica Rong" userId="2a3ff70b-c825-437d-8925-748cb7fb43e7" providerId="ADAL" clId="{5538F6C2-A7A7-3140-93CF-0A7BD52E44A9}" dt="2019-11-07T14:46:21.701" v="7" actId="1035"/>
        <pc:sldMkLst>
          <pc:docMk/>
          <pc:sldMk cId="3693019555" sldId="256"/>
        </pc:sldMkLst>
        <pc:grpChg chg="mod">
          <ac:chgData name="Monica Rong" userId="2a3ff70b-c825-437d-8925-748cb7fb43e7" providerId="ADAL" clId="{5538F6C2-A7A7-3140-93CF-0A7BD52E44A9}" dt="2019-11-07T14:46:21.701" v="7" actId="1035"/>
          <ac:grpSpMkLst>
            <pc:docMk/>
            <pc:sldMk cId="3693019555" sldId="256"/>
            <ac:grpSpMk id="42" creationId="{E39EF0F5-698D-CA46-ACB8-B15B793B53CF}"/>
          </ac:grpSpMkLst>
        </pc:grpChg>
        <pc:grpChg chg="mod">
          <ac:chgData name="Monica Rong" userId="2a3ff70b-c825-437d-8925-748cb7fb43e7" providerId="ADAL" clId="{5538F6C2-A7A7-3140-93CF-0A7BD52E44A9}" dt="2019-11-07T14:46:21.701" v="7" actId="1035"/>
          <ac:grpSpMkLst>
            <pc:docMk/>
            <pc:sldMk cId="3693019555" sldId="256"/>
            <ac:grpSpMk id="46" creationId="{EC62C37E-DC39-2046-9045-8E1C63E1557A}"/>
          </ac:grpSpMkLst>
        </pc:grpChg>
        <pc:grpChg chg="mod">
          <ac:chgData name="Monica Rong" userId="2a3ff70b-c825-437d-8925-748cb7fb43e7" providerId="ADAL" clId="{5538F6C2-A7A7-3140-93CF-0A7BD52E44A9}" dt="2019-11-07T14:46:21.701" v="7" actId="1035"/>
          <ac:grpSpMkLst>
            <pc:docMk/>
            <pc:sldMk cId="3693019555" sldId="256"/>
            <ac:grpSpMk id="50" creationId="{D66B6269-8D68-294D-AA6E-DE86D4B06FFC}"/>
          </ac:grpSpMkLst>
        </pc:grpChg>
        <pc:grpChg chg="mod">
          <ac:chgData name="Monica Rong" userId="2a3ff70b-c825-437d-8925-748cb7fb43e7" providerId="ADAL" clId="{5538F6C2-A7A7-3140-93CF-0A7BD52E44A9}" dt="2019-11-07T14:46:21.701" v="7" actId="1035"/>
          <ac:grpSpMkLst>
            <pc:docMk/>
            <pc:sldMk cId="3693019555" sldId="256"/>
            <ac:grpSpMk id="54" creationId="{5A0B2EC6-9D23-AA45-97E8-3A14D2DA2C02}"/>
          </ac:grpSpMkLst>
        </pc:grpChg>
        <pc:grpChg chg="mod">
          <ac:chgData name="Monica Rong" userId="2a3ff70b-c825-437d-8925-748cb7fb43e7" providerId="ADAL" clId="{5538F6C2-A7A7-3140-93CF-0A7BD52E44A9}" dt="2019-11-07T14:46:21.701" v="7" actId="1035"/>
          <ac:grpSpMkLst>
            <pc:docMk/>
            <pc:sldMk cId="3693019555" sldId="256"/>
            <ac:grpSpMk id="58" creationId="{BF2E458E-3FFB-3F42-A490-E78D6A052403}"/>
          </ac:grpSpMkLst>
        </pc:grpChg>
      </pc:sldChg>
    </pc:docChg>
  </pc:docChgLst>
  <pc:docChgLst>
    <pc:chgData name="Monica Rong" userId="S::monica.rong@puzzel.com::2a3ff70b-c825-437d-8925-748cb7fb43e7" providerId="AD" clId="Web-{473F2801-47B3-5CB3-3853-2ADFE3B801AE}"/>
    <pc:docChg chg="modSld">
      <pc:chgData name="Monica Rong" userId="S::monica.rong@puzzel.com::2a3ff70b-c825-437d-8925-748cb7fb43e7" providerId="AD" clId="Web-{473F2801-47B3-5CB3-3853-2ADFE3B801AE}" dt="2019-05-15T10:29:24.748" v="49" actId="1076"/>
      <pc:docMkLst>
        <pc:docMk/>
      </pc:docMkLst>
      <pc:sldChg chg="addSp delSp modSp">
        <pc:chgData name="Monica Rong" userId="S::monica.rong@puzzel.com::2a3ff70b-c825-437d-8925-748cb7fb43e7" providerId="AD" clId="Web-{473F2801-47B3-5CB3-3853-2ADFE3B801AE}" dt="2019-05-15T10:28:32.889" v="48" actId="1076"/>
        <pc:sldMkLst>
          <pc:docMk/>
          <pc:sldMk cId="1954173271" sldId="1791"/>
        </pc:sldMkLst>
        <pc:picChg chg="add del mod">
          <ac:chgData name="Monica Rong" userId="S::monica.rong@puzzel.com::2a3ff70b-c825-437d-8925-748cb7fb43e7" providerId="AD" clId="Web-{473F2801-47B3-5CB3-3853-2ADFE3B801AE}" dt="2019-05-15T10:28:21.108" v="46"/>
          <ac:picMkLst>
            <pc:docMk/>
            <pc:sldMk cId="1954173271" sldId="1791"/>
            <ac:picMk id="2" creationId="{3E7E894E-1450-4C41-BF77-5EF34F364FA1}"/>
          </ac:picMkLst>
        </pc:picChg>
        <pc:picChg chg="mod">
          <ac:chgData name="Monica Rong" userId="S::monica.rong@puzzel.com::2a3ff70b-c825-437d-8925-748cb7fb43e7" providerId="AD" clId="Web-{473F2801-47B3-5CB3-3853-2ADFE3B801AE}" dt="2019-05-15T10:28:14.780" v="44" actId="1076"/>
          <ac:picMkLst>
            <pc:docMk/>
            <pc:sldMk cId="1954173271" sldId="1791"/>
            <ac:picMk id="171" creationId="{A9843D8B-21A3-474D-A980-F5B3315EF8B0}"/>
          </ac:picMkLst>
        </pc:picChg>
        <pc:picChg chg="add del mod">
          <ac:chgData name="Monica Rong" userId="S::monica.rong@puzzel.com::2a3ff70b-c825-437d-8925-748cb7fb43e7" providerId="AD" clId="Web-{473F2801-47B3-5CB3-3853-2ADFE3B801AE}" dt="2019-05-15T10:28:32.889" v="48" actId="1076"/>
          <ac:picMkLst>
            <pc:docMk/>
            <pc:sldMk cId="1954173271" sldId="1791"/>
            <ac:picMk id="178" creationId="{72FE36DD-2B31-47A8-B042-27B516E10ED1}"/>
          </ac:picMkLst>
        </pc:picChg>
        <pc:picChg chg="mod">
          <ac:chgData name="Monica Rong" userId="S::monica.rong@puzzel.com::2a3ff70b-c825-437d-8925-748cb7fb43e7" providerId="AD" clId="Web-{473F2801-47B3-5CB3-3853-2ADFE3B801AE}" dt="2019-05-15T10:28:09.545" v="41" actId="1076"/>
          <ac:picMkLst>
            <pc:docMk/>
            <pc:sldMk cId="1954173271" sldId="1791"/>
            <ac:picMk id="179" creationId="{79F903C9-F0FB-4913-9B53-7191B1CD3104}"/>
          </ac:picMkLst>
        </pc:picChg>
      </pc:sldChg>
      <pc:sldChg chg="addSp delSp modSp">
        <pc:chgData name="Monica Rong" userId="S::monica.rong@puzzel.com::2a3ff70b-c825-437d-8925-748cb7fb43e7" providerId="AD" clId="Web-{473F2801-47B3-5CB3-3853-2ADFE3B801AE}" dt="2019-05-15T10:29:24.748" v="49" actId="1076"/>
        <pc:sldMkLst>
          <pc:docMk/>
          <pc:sldMk cId="975558886" sldId="1794"/>
        </pc:sldMkLst>
        <pc:picChg chg="add mod">
          <ac:chgData name="Monica Rong" userId="S::monica.rong@puzzel.com::2a3ff70b-c825-437d-8925-748cb7fb43e7" providerId="AD" clId="Web-{473F2801-47B3-5CB3-3853-2ADFE3B801AE}" dt="2019-05-15T10:29:24.748" v="49" actId="1076"/>
          <ac:picMkLst>
            <pc:docMk/>
            <pc:sldMk cId="975558886" sldId="1794"/>
            <ac:picMk id="2" creationId="{2DE24F39-506A-403E-AE69-29758B94AE4E}"/>
          </ac:picMkLst>
        </pc:picChg>
        <pc:picChg chg="mod">
          <ac:chgData name="Monica Rong" userId="S::monica.rong@puzzel.com::2a3ff70b-c825-437d-8925-748cb7fb43e7" providerId="AD" clId="Web-{473F2801-47B3-5CB3-3853-2ADFE3B801AE}" dt="2019-05-15T10:23:08.062" v="25" actId="1076"/>
          <ac:picMkLst>
            <pc:docMk/>
            <pc:sldMk cId="975558886" sldId="1794"/>
            <ac:picMk id="117" creationId="{79EBB628-BF25-4FCF-9FEE-987F7AB1A560}"/>
          </ac:picMkLst>
        </pc:picChg>
        <pc:picChg chg="mod">
          <ac:chgData name="Monica Rong" userId="S::monica.rong@puzzel.com::2a3ff70b-c825-437d-8925-748cb7fb43e7" providerId="AD" clId="Web-{473F2801-47B3-5CB3-3853-2ADFE3B801AE}" dt="2019-05-15T10:23:38.062" v="27" actId="1076"/>
          <ac:picMkLst>
            <pc:docMk/>
            <pc:sldMk cId="975558886" sldId="1794"/>
            <ac:picMk id="122" creationId="{92A5E9D0-8768-4C0C-A0A0-467C7EF5D743}"/>
          </ac:picMkLst>
        </pc:picChg>
        <pc:picChg chg="mod">
          <ac:chgData name="Monica Rong" userId="S::monica.rong@puzzel.com::2a3ff70b-c825-437d-8925-748cb7fb43e7" providerId="AD" clId="Web-{473F2801-47B3-5CB3-3853-2ADFE3B801AE}" dt="2019-05-15T10:23:08.046" v="24" actId="1076"/>
          <ac:picMkLst>
            <pc:docMk/>
            <pc:sldMk cId="975558886" sldId="1794"/>
            <ac:picMk id="124" creationId="{BD568556-DD44-4D5C-B783-CBCF6A298C81}"/>
          </ac:picMkLst>
        </pc:picChg>
        <pc:picChg chg="mod">
          <ac:chgData name="Monica Rong" userId="S::monica.rong@puzzel.com::2a3ff70b-c825-437d-8925-748cb7fb43e7" providerId="AD" clId="Web-{473F2801-47B3-5CB3-3853-2ADFE3B801AE}" dt="2019-05-15T10:22:15.046" v="13" actId="1076"/>
          <ac:picMkLst>
            <pc:docMk/>
            <pc:sldMk cId="975558886" sldId="1794"/>
            <ac:picMk id="138" creationId="{995749FE-CF11-4D4D-8D43-298140DBE11D}"/>
          </ac:picMkLst>
        </pc:picChg>
        <pc:picChg chg="mod">
          <ac:chgData name="Monica Rong" userId="S::monica.rong@puzzel.com::2a3ff70b-c825-437d-8925-748cb7fb43e7" providerId="AD" clId="Web-{473F2801-47B3-5CB3-3853-2ADFE3B801AE}" dt="2019-05-15T10:23:25.734" v="26" actId="1076"/>
          <ac:picMkLst>
            <pc:docMk/>
            <pc:sldMk cId="975558886" sldId="1794"/>
            <ac:picMk id="139" creationId="{D336B946-A33A-4699-AAC1-CAD647319D73}"/>
          </ac:picMkLst>
        </pc:picChg>
        <pc:picChg chg="mod">
          <ac:chgData name="Monica Rong" userId="S::monica.rong@puzzel.com::2a3ff70b-c825-437d-8925-748cb7fb43e7" providerId="AD" clId="Web-{473F2801-47B3-5CB3-3853-2ADFE3B801AE}" dt="2019-05-15T10:22:40.593" v="16" actId="1076"/>
          <ac:picMkLst>
            <pc:docMk/>
            <pc:sldMk cId="975558886" sldId="1794"/>
            <ac:picMk id="144" creationId="{B0EF43A7-35AC-4D02-9F8A-DC03437A3E5B}"/>
          </ac:picMkLst>
        </pc:picChg>
        <pc:picChg chg="del">
          <ac:chgData name="Monica Rong" userId="S::monica.rong@puzzel.com::2a3ff70b-c825-437d-8925-748cb7fb43e7" providerId="AD" clId="Web-{473F2801-47B3-5CB3-3853-2ADFE3B801AE}" dt="2019-05-15T10:17:17.750" v="0"/>
          <ac:picMkLst>
            <pc:docMk/>
            <pc:sldMk cId="975558886" sldId="1794"/>
            <ac:picMk id="150" creationId="{598D55CB-9D50-410F-9EE3-B03203CF2133}"/>
          </ac:picMkLst>
        </pc:picChg>
      </pc:sldChg>
    </pc:docChg>
  </pc:docChgLst>
  <pc:docChgLst>
    <pc:chgData name="Monica Rong" userId="2a3ff70b-c825-437d-8925-748cb7fb43e7" providerId="ADAL" clId="{8D9F8BAD-62A9-AE4E-BADE-0FCF858F1869}"/>
    <pc:docChg chg="custSel modSld">
      <pc:chgData name="Monica Rong" userId="2a3ff70b-c825-437d-8925-748cb7fb43e7" providerId="ADAL" clId="{8D9F8BAD-62A9-AE4E-BADE-0FCF858F1869}" dt="2019-05-15T10:31:52.486" v="5" actId="1076"/>
      <pc:docMkLst>
        <pc:docMk/>
      </pc:docMkLst>
      <pc:sldChg chg="addSp delSp modSp">
        <pc:chgData name="Monica Rong" userId="2a3ff70b-c825-437d-8925-748cb7fb43e7" providerId="ADAL" clId="{8D9F8BAD-62A9-AE4E-BADE-0FCF858F1869}" dt="2019-05-15T10:31:52.486" v="5" actId="1076"/>
        <pc:sldMkLst>
          <pc:docMk/>
          <pc:sldMk cId="1954173271" sldId="1791"/>
        </pc:sldMkLst>
        <pc:picChg chg="add mod">
          <ac:chgData name="Monica Rong" userId="2a3ff70b-c825-437d-8925-748cb7fb43e7" providerId="ADAL" clId="{8D9F8BAD-62A9-AE4E-BADE-0FCF858F1869}" dt="2019-05-15T10:31:52.486" v="5" actId="1076"/>
          <ac:picMkLst>
            <pc:docMk/>
            <pc:sldMk cId="1954173271" sldId="1791"/>
            <ac:picMk id="35" creationId="{6AAF37E3-2EA1-E047-9F70-5A2648DCCDD8}"/>
          </ac:picMkLst>
        </pc:picChg>
        <pc:picChg chg="mod">
          <ac:chgData name="Monica Rong" userId="2a3ff70b-c825-437d-8925-748cb7fb43e7" providerId="ADAL" clId="{8D9F8BAD-62A9-AE4E-BADE-0FCF858F1869}" dt="2019-05-15T10:31:45.966" v="2" actId="1076"/>
          <ac:picMkLst>
            <pc:docMk/>
            <pc:sldMk cId="1954173271" sldId="1791"/>
            <ac:picMk id="171" creationId="{A9843D8B-21A3-474D-A980-F5B3315EF8B0}"/>
          </ac:picMkLst>
        </pc:picChg>
        <pc:picChg chg="mod">
          <ac:chgData name="Monica Rong" userId="2a3ff70b-c825-437d-8925-748cb7fb43e7" providerId="ADAL" clId="{8D9F8BAD-62A9-AE4E-BADE-0FCF858F1869}" dt="2019-05-15T10:31:48.187" v="3" actId="1076"/>
          <ac:picMkLst>
            <pc:docMk/>
            <pc:sldMk cId="1954173271" sldId="1791"/>
            <ac:picMk id="172" creationId="{3AF11000-E079-464A-8343-BFE1A6DDED37}"/>
          </ac:picMkLst>
        </pc:picChg>
        <pc:picChg chg="del">
          <ac:chgData name="Monica Rong" userId="2a3ff70b-c825-437d-8925-748cb7fb43e7" providerId="ADAL" clId="{8D9F8BAD-62A9-AE4E-BADE-0FCF858F1869}" dt="2019-05-15T10:31:42.154" v="1" actId="478"/>
          <ac:picMkLst>
            <pc:docMk/>
            <pc:sldMk cId="1954173271" sldId="1791"/>
            <ac:picMk id="178" creationId="{72FE36DD-2B31-47A8-B042-27B516E10ED1}"/>
          </ac:picMkLst>
        </pc:picChg>
      </pc:sldChg>
      <pc:sldChg chg="modSp">
        <pc:chgData name="Monica Rong" userId="2a3ff70b-c825-437d-8925-748cb7fb43e7" providerId="ADAL" clId="{8D9F8BAD-62A9-AE4E-BADE-0FCF858F1869}" dt="2019-05-15T10:31:08.163" v="0" actId="5736"/>
        <pc:sldMkLst>
          <pc:docMk/>
          <pc:sldMk cId="975558886" sldId="1794"/>
        </pc:sldMkLst>
        <pc:picChg chg="mod">
          <ac:chgData name="Monica Rong" userId="2a3ff70b-c825-437d-8925-748cb7fb43e7" providerId="ADAL" clId="{8D9F8BAD-62A9-AE4E-BADE-0FCF858F1869}" dt="2019-05-15T10:31:08.163" v="0" actId="5736"/>
          <ac:picMkLst>
            <pc:docMk/>
            <pc:sldMk cId="975558886" sldId="1794"/>
            <ac:picMk id="2" creationId="{2DE24F39-506A-403E-AE69-29758B94AE4E}"/>
          </ac:picMkLst>
        </pc:picChg>
      </pc:sldChg>
    </pc:docChg>
  </pc:docChgLst>
  <pc:docChgLst>
    <pc:chgData name="Monica Rong" userId="2a3ff70b-c825-437d-8925-748cb7fb43e7" providerId="ADAL" clId="{C0EC57E5-F0EE-C640-B0EB-CAE0DA6DAA39}"/>
    <pc:docChg chg="undo redo custSel addSld delSld modSld modSection">
      <pc:chgData name="Monica Rong" userId="2a3ff70b-c825-437d-8925-748cb7fb43e7" providerId="ADAL" clId="{C0EC57E5-F0EE-C640-B0EB-CAE0DA6DAA39}" dt="2019-03-11T17:44:38.221" v="352"/>
      <pc:docMkLst>
        <pc:docMk/>
      </pc:docMkLst>
      <pc:sldChg chg="modSp">
        <pc:chgData name="Monica Rong" userId="2a3ff70b-c825-437d-8925-748cb7fb43e7" providerId="ADAL" clId="{C0EC57E5-F0EE-C640-B0EB-CAE0DA6DAA39}" dt="2019-02-18T14:10:20.861" v="153" actId="20577"/>
        <pc:sldMkLst>
          <pc:docMk/>
          <pc:sldMk cId="3693019555" sldId="256"/>
        </pc:sldMkLst>
        <pc:spChg chg="mod">
          <ac:chgData name="Monica Rong" userId="2a3ff70b-c825-437d-8925-748cb7fb43e7" providerId="ADAL" clId="{C0EC57E5-F0EE-C640-B0EB-CAE0DA6DAA39}" dt="2019-02-18T14:10:20.861" v="153" actId="20577"/>
          <ac:spMkLst>
            <pc:docMk/>
            <pc:sldMk cId="3693019555" sldId="256"/>
            <ac:spMk id="71" creationId="{8F06DEFB-C9EE-AC47-9D8F-D00B36326D90}"/>
          </ac:spMkLst>
        </pc:spChg>
        <pc:spChg chg="mod">
          <ac:chgData name="Monica Rong" userId="2a3ff70b-c825-437d-8925-748cb7fb43e7" providerId="ADAL" clId="{C0EC57E5-F0EE-C640-B0EB-CAE0DA6DAA39}" dt="2019-02-18T11:16:26.671" v="145" actId="313"/>
          <ac:spMkLst>
            <pc:docMk/>
            <pc:sldMk cId="3693019555" sldId="256"/>
            <ac:spMk id="76" creationId="{981A093A-CC09-D645-8366-5BD756854971}"/>
          </ac:spMkLst>
        </pc:spChg>
      </pc:sldChg>
      <pc:sldChg chg="addSp delSp modSp add">
        <pc:chgData name="Monica Rong" userId="2a3ff70b-c825-437d-8925-748cb7fb43e7" providerId="ADAL" clId="{C0EC57E5-F0EE-C640-B0EB-CAE0DA6DAA39}" dt="2019-02-26T20:10:49.651" v="291"/>
        <pc:sldMkLst>
          <pc:docMk/>
          <pc:sldMk cId="2914385253" sldId="257"/>
        </pc:sldMkLst>
        <pc:spChg chg="mod">
          <ac:chgData name="Monica Rong" userId="2a3ff70b-c825-437d-8925-748cb7fb43e7" providerId="ADAL" clId="{C0EC57E5-F0EE-C640-B0EB-CAE0DA6DAA39}" dt="2019-02-26T20:10:35.170" v="288" actId="368"/>
          <ac:spMkLst>
            <pc:docMk/>
            <pc:sldMk cId="2914385253" sldId="257"/>
            <ac:spMk id="2" creationId="{CE77888F-7444-41B0-9E38-887CFC16C004}"/>
          </ac:spMkLst>
        </pc:spChg>
        <pc:spChg chg="add del mod">
          <ac:chgData name="Monica Rong" userId="2a3ff70b-c825-437d-8925-748cb7fb43e7" providerId="ADAL" clId="{C0EC57E5-F0EE-C640-B0EB-CAE0DA6DAA39}" dt="2019-02-26T20:10:37.462" v="289"/>
          <ac:spMkLst>
            <pc:docMk/>
            <pc:sldMk cId="2914385253" sldId="257"/>
            <ac:spMk id="5" creationId="{52E30E0F-0309-A24D-B14D-DF91A1560485}"/>
          </ac:spMkLst>
        </pc:spChg>
        <pc:spChg chg="add del mod">
          <ac:chgData name="Monica Rong" userId="2a3ff70b-c825-437d-8925-748cb7fb43e7" providerId="ADAL" clId="{C0EC57E5-F0EE-C640-B0EB-CAE0DA6DAA39}" dt="2019-02-26T20:10:49.651" v="291"/>
          <ac:spMkLst>
            <pc:docMk/>
            <pc:sldMk cId="2914385253" sldId="257"/>
            <ac:spMk id="15" creationId="{278F5935-51DB-5848-AE02-1E58C1E7AF7E}"/>
          </ac:spMkLst>
        </pc:spChg>
        <pc:picChg chg="mod">
          <ac:chgData name="Monica Rong" userId="2a3ff70b-c825-437d-8925-748cb7fb43e7" providerId="ADAL" clId="{C0EC57E5-F0EE-C640-B0EB-CAE0DA6DAA39}" dt="2019-02-26T20:10:21.969" v="286" actId="1076"/>
          <ac:picMkLst>
            <pc:docMk/>
            <pc:sldMk cId="2914385253" sldId="257"/>
            <ac:picMk id="3" creationId="{00000000-0000-0000-0000-000000000000}"/>
          </ac:picMkLst>
        </pc:picChg>
        <pc:picChg chg="mod">
          <ac:chgData name="Monica Rong" userId="2a3ff70b-c825-437d-8925-748cb7fb43e7" providerId="ADAL" clId="{C0EC57E5-F0EE-C640-B0EB-CAE0DA6DAA39}" dt="2019-02-26T20:09:24.583" v="268" actId="1076"/>
          <ac:picMkLst>
            <pc:docMk/>
            <pc:sldMk cId="2914385253" sldId="257"/>
            <ac:picMk id="6" creationId="{00000000-0000-0000-0000-000000000000}"/>
          </ac:picMkLst>
        </pc:picChg>
        <pc:picChg chg="mod">
          <ac:chgData name="Monica Rong" userId="2a3ff70b-c825-437d-8925-748cb7fb43e7" providerId="ADAL" clId="{C0EC57E5-F0EE-C640-B0EB-CAE0DA6DAA39}" dt="2019-02-26T20:09:41.169" v="274" actId="14100"/>
          <ac:picMkLst>
            <pc:docMk/>
            <pc:sldMk cId="2914385253" sldId="257"/>
            <ac:picMk id="7" creationId="{00000000-0000-0000-0000-000000000000}"/>
          </ac:picMkLst>
        </pc:picChg>
        <pc:picChg chg="mod">
          <ac:chgData name="Monica Rong" userId="2a3ff70b-c825-437d-8925-748cb7fb43e7" providerId="ADAL" clId="{C0EC57E5-F0EE-C640-B0EB-CAE0DA6DAA39}" dt="2019-02-26T20:09:38.002" v="273" actId="14100"/>
          <ac:picMkLst>
            <pc:docMk/>
            <pc:sldMk cId="2914385253" sldId="257"/>
            <ac:picMk id="8" creationId="{00000000-0000-0000-0000-000000000000}"/>
          </ac:picMkLst>
        </pc:picChg>
        <pc:picChg chg="mod">
          <ac:chgData name="Monica Rong" userId="2a3ff70b-c825-437d-8925-748cb7fb43e7" providerId="ADAL" clId="{C0EC57E5-F0EE-C640-B0EB-CAE0DA6DAA39}" dt="2019-02-26T20:09:45.173" v="275" actId="14100"/>
          <ac:picMkLst>
            <pc:docMk/>
            <pc:sldMk cId="2914385253" sldId="257"/>
            <ac:picMk id="9" creationId="{00000000-0000-0000-0000-000000000000}"/>
          </ac:picMkLst>
        </pc:picChg>
        <pc:picChg chg="mod">
          <ac:chgData name="Monica Rong" userId="2a3ff70b-c825-437d-8925-748cb7fb43e7" providerId="ADAL" clId="{C0EC57E5-F0EE-C640-B0EB-CAE0DA6DAA39}" dt="2019-02-26T20:10:15.199" v="283" actId="1076"/>
          <ac:picMkLst>
            <pc:docMk/>
            <pc:sldMk cId="2914385253" sldId="257"/>
            <ac:picMk id="11" creationId="{00000000-0000-0000-0000-000000000000}"/>
          </ac:picMkLst>
        </pc:picChg>
        <pc:picChg chg="mod">
          <ac:chgData name="Monica Rong" userId="2a3ff70b-c825-437d-8925-748cb7fb43e7" providerId="ADAL" clId="{C0EC57E5-F0EE-C640-B0EB-CAE0DA6DAA39}" dt="2019-02-26T20:09:00.359" v="257" actId="1076"/>
          <ac:picMkLst>
            <pc:docMk/>
            <pc:sldMk cId="2914385253" sldId="257"/>
            <ac:picMk id="12" creationId="{00000000-0000-0000-0000-000000000000}"/>
          </ac:picMkLst>
        </pc:picChg>
        <pc:picChg chg="mod">
          <ac:chgData name="Monica Rong" userId="2a3ff70b-c825-437d-8925-748cb7fb43e7" providerId="ADAL" clId="{C0EC57E5-F0EE-C640-B0EB-CAE0DA6DAA39}" dt="2019-02-26T20:09:28.857" v="270" actId="1076"/>
          <ac:picMkLst>
            <pc:docMk/>
            <pc:sldMk cId="2914385253" sldId="257"/>
            <ac:picMk id="13" creationId="{B89DD59B-A841-4339-9A37-E408085F11AD}"/>
          </ac:picMkLst>
        </pc:picChg>
        <pc:picChg chg="mod">
          <ac:chgData name="Monica Rong" userId="2a3ff70b-c825-437d-8925-748cb7fb43e7" providerId="ADAL" clId="{C0EC57E5-F0EE-C640-B0EB-CAE0DA6DAA39}" dt="2019-02-26T20:08:53.278" v="253" actId="1076"/>
          <ac:picMkLst>
            <pc:docMk/>
            <pc:sldMk cId="2914385253" sldId="257"/>
            <ac:picMk id="14" creationId="{00000000-0000-0000-0000-000000000000}"/>
          </ac:picMkLst>
        </pc:picChg>
        <pc:picChg chg="mod">
          <ac:chgData name="Monica Rong" userId="2a3ff70b-c825-437d-8925-748cb7fb43e7" providerId="ADAL" clId="{C0EC57E5-F0EE-C640-B0EB-CAE0DA6DAA39}" dt="2019-02-26T20:09:07.986" v="261" actId="1076"/>
          <ac:picMkLst>
            <pc:docMk/>
            <pc:sldMk cId="2914385253" sldId="257"/>
            <ac:picMk id="17" creationId="{00000000-0000-0000-0000-000000000000}"/>
          </ac:picMkLst>
        </pc:picChg>
        <pc:picChg chg="mod">
          <ac:chgData name="Monica Rong" userId="2a3ff70b-c825-437d-8925-748cb7fb43e7" providerId="ADAL" clId="{C0EC57E5-F0EE-C640-B0EB-CAE0DA6DAA39}" dt="2019-02-26T20:09:35.211" v="272" actId="1076"/>
          <ac:picMkLst>
            <pc:docMk/>
            <pc:sldMk cId="2914385253" sldId="257"/>
            <ac:picMk id="18" creationId="{138E41A1-F41E-43A0-B0D8-F38820DEA75A}"/>
          </ac:picMkLst>
        </pc:picChg>
        <pc:picChg chg="mod">
          <ac:chgData name="Monica Rong" userId="2a3ff70b-c825-437d-8925-748cb7fb43e7" providerId="ADAL" clId="{C0EC57E5-F0EE-C640-B0EB-CAE0DA6DAA39}" dt="2019-02-26T20:09:01.859" v="258" actId="1076"/>
          <ac:picMkLst>
            <pc:docMk/>
            <pc:sldMk cId="2914385253" sldId="257"/>
            <ac:picMk id="24" creationId="{1625B21D-BFE4-4E46-92B1-BFC13AEE965A}"/>
          </ac:picMkLst>
        </pc:picChg>
        <pc:picChg chg="mod">
          <ac:chgData name="Monica Rong" userId="2a3ff70b-c825-437d-8925-748cb7fb43e7" providerId="ADAL" clId="{C0EC57E5-F0EE-C640-B0EB-CAE0DA6DAA39}" dt="2019-02-26T20:08:55.620" v="254" actId="1076"/>
          <ac:picMkLst>
            <pc:docMk/>
            <pc:sldMk cId="2914385253" sldId="257"/>
            <ac:picMk id="25" creationId="{D2B83540-11D9-4132-80F5-E8632E36343A}"/>
          </ac:picMkLst>
        </pc:picChg>
        <pc:picChg chg="mod">
          <ac:chgData name="Monica Rong" userId="2a3ff70b-c825-437d-8925-748cb7fb43e7" providerId="ADAL" clId="{C0EC57E5-F0EE-C640-B0EB-CAE0DA6DAA39}" dt="2019-02-26T20:10:19.481" v="285" actId="1076"/>
          <ac:picMkLst>
            <pc:docMk/>
            <pc:sldMk cId="2914385253" sldId="257"/>
            <ac:picMk id="26" creationId="{03FC2467-54AB-414E-972C-BB164354CCD3}"/>
          </ac:picMkLst>
        </pc:picChg>
        <pc:picChg chg="mod">
          <ac:chgData name="Monica Rong" userId="2a3ff70b-c825-437d-8925-748cb7fb43e7" providerId="ADAL" clId="{C0EC57E5-F0EE-C640-B0EB-CAE0DA6DAA39}" dt="2019-02-26T20:08:50.684" v="252" actId="1076"/>
          <ac:picMkLst>
            <pc:docMk/>
            <pc:sldMk cId="2914385253" sldId="257"/>
            <ac:picMk id="28" creationId="{E0983846-25FD-405D-B780-C12B6C25DC4C}"/>
          </ac:picMkLst>
        </pc:picChg>
        <pc:picChg chg="add del mod">
          <ac:chgData name="Monica Rong" userId="2a3ff70b-c825-437d-8925-748cb7fb43e7" providerId="ADAL" clId="{C0EC57E5-F0EE-C640-B0EB-CAE0DA6DAA39}" dt="2019-02-26T20:10:10.823" v="282" actId="478"/>
          <ac:picMkLst>
            <pc:docMk/>
            <pc:sldMk cId="2914385253" sldId="257"/>
            <ac:picMk id="30" creationId="{1C8EAB5E-0FA7-46E8-B42C-5BC2188F901E}"/>
          </ac:picMkLst>
        </pc:picChg>
        <pc:picChg chg="mod">
          <ac:chgData name="Monica Rong" userId="2a3ff70b-c825-437d-8925-748cb7fb43e7" providerId="ADAL" clId="{C0EC57E5-F0EE-C640-B0EB-CAE0DA6DAA39}" dt="2019-02-26T20:09:28.857" v="270" actId="1076"/>
          <ac:picMkLst>
            <pc:docMk/>
            <pc:sldMk cId="2914385253" sldId="257"/>
            <ac:picMk id="31" creationId="{C484CD67-4FBF-4509-9C86-83BF546C4834}"/>
          </ac:picMkLst>
        </pc:picChg>
        <pc:picChg chg="mod">
          <ac:chgData name="Monica Rong" userId="2a3ff70b-c825-437d-8925-748cb7fb43e7" providerId="ADAL" clId="{C0EC57E5-F0EE-C640-B0EB-CAE0DA6DAA39}" dt="2019-02-26T20:09:06.852" v="260" actId="1076"/>
          <ac:picMkLst>
            <pc:docMk/>
            <pc:sldMk cId="2914385253" sldId="257"/>
            <ac:picMk id="39" creationId="{00000000-0000-0000-0000-000000000000}"/>
          </ac:picMkLst>
        </pc:picChg>
        <pc:picChg chg="mod">
          <ac:chgData name="Monica Rong" userId="2a3ff70b-c825-437d-8925-748cb7fb43e7" providerId="ADAL" clId="{C0EC57E5-F0EE-C640-B0EB-CAE0DA6DAA39}" dt="2019-02-26T20:08:27.659" v="243" actId="1076"/>
          <ac:picMkLst>
            <pc:docMk/>
            <pc:sldMk cId="2914385253" sldId="257"/>
            <ac:picMk id="41" creationId="{A8B580AF-7EF7-A941-8058-3D06569D6D5C}"/>
          </ac:picMkLst>
        </pc:picChg>
        <pc:picChg chg="mod">
          <ac:chgData name="Monica Rong" userId="2a3ff70b-c825-437d-8925-748cb7fb43e7" providerId="ADAL" clId="{C0EC57E5-F0EE-C640-B0EB-CAE0DA6DAA39}" dt="2019-02-26T20:10:26.759" v="287" actId="1076"/>
          <ac:picMkLst>
            <pc:docMk/>
            <pc:sldMk cId="2914385253" sldId="257"/>
            <ac:picMk id="42" creationId="{00000000-0000-0000-0000-000000000000}"/>
          </ac:picMkLst>
        </pc:picChg>
        <pc:picChg chg="mod">
          <ac:chgData name="Monica Rong" userId="2a3ff70b-c825-437d-8925-748cb7fb43e7" providerId="ADAL" clId="{C0EC57E5-F0EE-C640-B0EB-CAE0DA6DAA39}" dt="2019-02-26T20:09:22.086" v="267" actId="1076"/>
          <ac:picMkLst>
            <pc:docMk/>
            <pc:sldMk cId="2914385253" sldId="257"/>
            <ac:picMk id="43" creationId="{3046F1B7-9E25-F24E-91A1-4C9919225C59}"/>
          </ac:picMkLst>
        </pc:picChg>
        <pc:picChg chg="mod">
          <ac:chgData name="Monica Rong" userId="2a3ff70b-c825-437d-8925-748cb7fb43e7" providerId="ADAL" clId="{C0EC57E5-F0EE-C640-B0EB-CAE0DA6DAA39}" dt="2019-02-26T20:09:19.443" v="266" actId="1076"/>
          <ac:picMkLst>
            <pc:docMk/>
            <pc:sldMk cId="2914385253" sldId="257"/>
            <ac:picMk id="44" creationId="{F0D0DA1F-110C-D247-A397-04363C6B7ADD}"/>
          </ac:picMkLst>
        </pc:picChg>
        <pc:picChg chg="mod">
          <ac:chgData name="Monica Rong" userId="2a3ff70b-c825-437d-8925-748cb7fb43e7" providerId="ADAL" clId="{C0EC57E5-F0EE-C640-B0EB-CAE0DA6DAA39}" dt="2019-02-26T20:09:03.548" v="259" actId="1076"/>
          <ac:picMkLst>
            <pc:docMk/>
            <pc:sldMk cId="2914385253" sldId="257"/>
            <ac:picMk id="50" creationId="{C05360BD-408C-F644-A9BA-A26BBBACCA6C}"/>
          </ac:picMkLst>
        </pc:picChg>
        <pc:picChg chg="mod">
          <ac:chgData name="Monica Rong" userId="2a3ff70b-c825-437d-8925-748cb7fb43e7" providerId="ADAL" clId="{C0EC57E5-F0EE-C640-B0EB-CAE0DA6DAA39}" dt="2019-02-26T20:08:46.932" v="250" actId="1076"/>
          <ac:picMkLst>
            <pc:docMk/>
            <pc:sldMk cId="2914385253" sldId="257"/>
            <ac:picMk id="51" creationId="{42334110-9848-B04A-B0DB-7B807F9E4E76}"/>
          </ac:picMkLst>
        </pc:picChg>
        <pc:picChg chg="mod">
          <ac:chgData name="Monica Rong" userId="2a3ff70b-c825-437d-8925-748cb7fb43e7" providerId="ADAL" clId="{C0EC57E5-F0EE-C640-B0EB-CAE0DA6DAA39}" dt="2019-02-26T20:08:49.347" v="251" actId="1076"/>
          <ac:picMkLst>
            <pc:docMk/>
            <pc:sldMk cId="2914385253" sldId="257"/>
            <ac:picMk id="53" creationId="{C47419A0-6FF2-EC43-8A97-7817A54402F6}"/>
          </ac:picMkLst>
        </pc:picChg>
      </pc:sldChg>
      <pc:sldChg chg="modSp">
        <pc:chgData name="Monica Rong" userId="2a3ff70b-c825-437d-8925-748cb7fb43e7" providerId="ADAL" clId="{C0EC57E5-F0EE-C640-B0EB-CAE0DA6DAA39}" dt="2019-02-18T14:11:00.511" v="168" actId="1038"/>
        <pc:sldMkLst>
          <pc:docMk/>
          <pc:sldMk cId="3116232573" sldId="698"/>
        </pc:sldMkLst>
        <pc:spChg chg="mod">
          <ac:chgData name="Monica Rong" userId="2a3ff70b-c825-437d-8925-748cb7fb43e7" providerId="ADAL" clId="{C0EC57E5-F0EE-C640-B0EB-CAE0DA6DAA39}" dt="2019-02-18T14:10:15.110" v="152" actId="20577"/>
          <ac:spMkLst>
            <pc:docMk/>
            <pc:sldMk cId="3116232573" sldId="698"/>
            <ac:spMk id="31" creationId="{15C8A616-AB17-3441-8FAB-0AC10BC2B53B}"/>
          </ac:spMkLst>
        </pc:spChg>
        <pc:picChg chg="mod">
          <ac:chgData name="Monica Rong" userId="2a3ff70b-c825-437d-8925-748cb7fb43e7" providerId="ADAL" clId="{C0EC57E5-F0EE-C640-B0EB-CAE0DA6DAA39}" dt="2019-02-18T14:11:00.511" v="168" actId="1038"/>
          <ac:picMkLst>
            <pc:docMk/>
            <pc:sldMk cId="3116232573" sldId="698"/>
            <ac:picMk id="4" creationId="{F73CEDE3-2247-D542-8555-A57460886C54}"/>
          </ac:picMkLst>
        </pc:picChg>
      </pc:sldChg>
      <pc:sldChg chg="modSp">
        <pc:chgData name="Monica Rong" userId="2a3ff70b-c825-437d-8925-748cb7fb43e7" providerId="ADAL" clId="{C0EC57E5-F0EE-C640-B0EB-CAE0DA6DAA39}" dt="2019-02-18T14:39:12.303" v="203" actId="20577"/>
        <pc:sldMkLst>
          <pc:docMk/>
          <pc:sldMk cId="3538146011" sldId="706"/>
        </pc:sldMkLst>
        <pc:spChg chg="mod">
          <ac:chgData name="Monica Rong" userId="2a3ff70b-c825-437d-8925-748cb7fb43e7" providerId="ADAL" clId="{C0EC57E5-F0EE-C640-B0EB-CAE0DA6DAA39}" dt="2019-02-18T14:39:12.303" v="203" actId="20577"/>
          <ac:spMkLst>
            <pc:docMk/>
            <pc:sldMk cId="3538146011" sldId="706"/>
            <ac:spMk id="414" creationId="{00000000-0000-0000-0000-000000000000}"/>
          </ac:spMkLst>
        </pc:spChg>
      </pc:sldChg>
      <pc:sldChg chg="modSp">
        <pc:chgData name="Monica Rong" userId="2a3ff70b-c825-437d-8925-748cb7fb43e7" providerId="ADAL" clId="{C0EC57E5-F0EE-C640-B0EB-CAE0DA6DAA39}" dt="2019-02-18T14:36:32.201" v="176" actId="1037"/>
        <pc:sldMkLst>
          <pc:docMk/>
          <pc:sldMk cId="1913734237" sldId="774"/>
        </pc:sldMkLst>
        <pc:spChg chg="mod">
          <ac:chgData name="Monica Rong" userId="2a3ff70b-c825-437d-8925-748cb7fb43e7" providerId="ADAL" clId="{C0EC57E5-F0EE-C640-B0EB-CAE0DA6DAA39}" dt="2019-02-18T14:36:28.155" v="175" actId="14100"/>
          <ac:spMkLst>
            <pc:docMk/>
            <pc:sldMk cId="1913734237" sldId="774"/>
            <ac:spMk id="458" creationId="{A3311AA3-14CE-D640-A89F-B413A404D53C}"/>
          </ac:spMkLst>
        </pc:spChg>
        <pc:spChg chg="mod">
          <ac:chgData name="Monica Rong" userId="2a3ff70b-c825-437d-8925-748cb7fb43e7" providerId="ADAL" clId="{C0EC57E5-F0EE-C640-B0EB-CAE0DA6DAA39}" dt="2019-02-18T14:36:22.833" v="174" actId="14100"/>
          <ac:spMkLst>
            <pc:docMk/>
            <pc:sldMk cId="1913734237" sldId="774"/>
            <ac:spMk id="460" creationId="{73A47AE4-A19E-D74C-BB74-E700DF7BD0BD}"/>
          </ac:spMkLst>
        </pc:spChg>
        <pc:grpChg chg="mod">
          <ac:chgData name="Monica Rong" userId="2a3ff70b-c825-437d-8925-748cb7fb43e7" providerId="ADAL" clId="{C0EC57E5-F0EE-C640-B0EB-CAE0DA6DAA39}" dt="2019-02-18T14:36:32.201" v="176" actId="1037"/>
          <ac:grpSpMkLst>
            <pc:docMk/>
            <pc:sldMk cId="1913734237" sldId="774"/>
            <ac:grpSpMk id="7" creationId="{45B8A568-BD1D-4A7C-A02E-BDC99FD4F4C8}"/>
          </ac:grpSpMkLst>
        </pc:grpChg>
      </pc:sldChg>
      <pc:sldChg chg="addSp delSp modSp">
        <pc:chgData name="Monica Rong" userId="2a3ff70b-c825-437d-8925-748cb7fb43e7" providerId="ADAL" clId="{C0EC57E5-F0EE-C640-B0EB-CAE0DA6DAA39}" dt="2019-02-18T09:19:37.321" v="43" actId="732"/>
        <pc:sldMkLst>
          <pc:docMk/>
          <pc:sldMk cId="370432559" sldId="1542"/>
        </pc:sldMkLst>
        <pc:picChg chg="del mod">
          <ac:chgData name="Monica Rong" userId="2a3ff70b-c825-437d-8925-748cb7fb43e7" providerId="ADAL" clId="{C0EC57E5-F0EE-C640-B0EB-CAE0DA6DAA39}" dt="2019-02-18T09:18:07.488" v="30" actId="478"/>
          <ac:picMkLst>
            <pc:docMk/>
            <pc:sldMk cId="370432559" sldId="1542"/>
            <ac:picMk id="3" creationId="{0914F0B1-9980-6745-B2BB-76EB0D2F2961}"/>
          </ac:picMkLst>
        </pc:picChg>
        <pc:picChg chg="add del mod">
          <ac:chgData name="Monica Rong" userId="2a3ff70b-c825-437d-8925-748cb7fb43e7" providerId="ADAL" clId="{C0EC57E5-F0EE-C640-B0EB-CAE0DA6DAA39}" dt="2019-02-18T09:13:36.769" v="7"/>
          <ac:picMkLst>
            <pc:docMk/>
            <pc:sldMk cId="370432559" sldId="1542"/>
            <ac:picMk id="4" creationId="{A4F44927-5C00-344C-A768-2B96F01C4D40}"/>
          </ac:picMkLst>
        </pc:picChg>
        <pc:picChg chg="add del">
          <ac:chgData name="Monica Rong" userId="2a3ff70b-c825-437d-8925-748cb7fb43e7" providerId="ADAL" clId="{C0EC57E5-F0EE-C640-B0EB-CAE0DA6DAA39}" dt="2019-02-18T09:13:39.272" v="9" actId="478"/>
          <ac:picMkLst>
            <pc:docMk/>
            <pc:sldMk cId="370432559" sldId="1542"/>
            <ac:picMk id="5" creationId="{8A9C27EB-10E6-F241-BF6A-7DDF0A234E2A}"/>
          </ac:picMkLst>
        </pc:picChg>
        <pc:picChg chg="mod">
          <ac:chgData name="Monica Rong" userId="2a3ff70b-c825-437d-8925-748cb7fb43e7" providerId="ADAL" clId="{C0EC57E5-F0EE-C640-B0EB-CAE0DA6DAA39}" dt="2019-02-18T09:19:11.037" v="41" actId="555"/>
          <ac:picMkLst>
            <pc:docMk/>
            <pc:sldMk cId="370432559" sldId="1542"/>
            <ac:picMk id="7" creationId="{ED797EBE-8A3A-5048-95BB-E38D82093EFE}"/>
          </ac:picMkLst>
        </pc:picChg>
        <pc:picChg chg="add del mod">
          <ac:chgData name="Monica Rong" userId="2a3ff70b-c825-437d-8925-748cb7fb43e7" providerId="ADAL" clId="{C0EC57E5-F0EE-C640-B0EB-CAE0DA6DAA39}" dt="2019-02-18T09:16:28.433" v="25" actId="478"/>
          <ac:picMkLst>
            <pc:docMk/>
            <pc:sldMk cId="370432559" sldId="1542"/>
            <ac:picMk id="8" creationId="{2A368670-7D2B-E94E-BFF7-7AC1948B0AC4}"/>
          </ac:picMkLst>
        </pc:picChg>
        <pc:picChg chg="add mod modCrop">
          <ac:chgData name="Monica Rong" userId="2a3ff70b-c825-437d-8925-748cb7fb43e7" providerId="ADAL" clId="{C0EC57E5-F0EE-C640-B0EB-CAE0DA6DAA39}" dt="2019-02-18T09:19:34.177" v="42" actId="732"/>
          <ac:picMkLst>
            <pc:docMk/>
            <pc:sldMk cId="370432559" sldId="1542"/>
            <ac:picMk id="10" creationId="{A9CA6E7F-0BB0-DD4B-914C-570E3EB8EAD9}"/>
          </ac:picMkLst>
        </pc:picChg>
        <pc:picChg chg="add mod modCrop">
          <ac:chgData name="Monica Rong" userId="2a3ff70b-c825-437d-8925-748cb7fb43e7" providerId="ADAL" clId="{C0EC57E5-F0EE-C640-B0EB-CAE0DA6DAA39}" dt="2019-02-18T09:19:37.321" v="43" actId="732"/>
          <ac:picMkLst>
            <pc:docMk/>
            <pc:sldMk cId="370432559" sldId="1542"/>
            <ac:picMk id="12" creationId="{079BD4D6-530E-6A43-8ABB-8F5E76D8EB9B}"/>
          </ac:picMkLst>
        </pc:picChg>
      </pc:sldChg>
      <pc:sldChg chg="addSp delSp modSp modAnim">
        <pc:chgData name="Monica Rong" userId="2a3ff70b-c825-437d-8925-748cb7fb43e7" providerId="ADAL" clId="{C0EC57E5-F0EE-C640-B0EB-CAE0DA6DAA39}" dt="2019-03-11T17:44:38.221" v="352"/>
        <pc:sldMkLst>
          <pc:docMk/>
          <pc:sldMk cId="3279136491" sldId="1549"/>
        </pc:sldMkLst>
        <pc:grpChg chg="mod">
          <ac:chgData name="Monica Rong" userId="2a3ff70b-c825-437d-8925-748cb7fb43e7" providerId="ADAL" clId="{C0EC57E5-F0EE-C640-B0EB-CAE0DA6DAA39}" dt="2019-02-18T11:03:53.476" v="135" actId="1076"/>
          <ac:grpSpMkLst>
            <pc:docMk/>
            <pc:sldMk cId="3279136491" sldId="1549"/>
            <ac:grpSpMk id="2" creationId="{03EE302E-CF8E-F340-9C44-D318275A0E13}"/>
          </ac:grpSpMkLst>
        </pc:grpChg>
        <pc:picChg chg="add del mod">
          <ac:chgData name="Monica Rong" userId="2a3ff70b-c825-437d-8925-748cb7fb43e7" providerId="ADAL" clId="{C0EC57E5-F0EE-C640-B0EB-CAE0DA6DAA39}" dt="2019-02-18T11:03:43.666" v="132" actId="478"/>
          <ac:picMkLst>
            <pc:docMk/>
            <pc:sldMk cId="3279136491" sldId="1549"/>
            <ac:picMk id="6" creationId="{4DC6BAD0-7416-CC40-9506-29CC45EE7070}"/>
          </ac:picMkLst>
        </pc:picChg>
        <pc:picChg chg="add mod">
          <ac:chgData name="Monica Rong" userId="2a3ff70b-c825-437d-8925-748cb7fb43e7" providerId="ADAL" clId="{C0EC57E5-F0EE-C640-B0EB-CAE0DA6DAA39}" dt="2019-02-18T11:03:59.328" v="142" actId="1035"/>
          <ac:picMkLst>
            <pc:docMk/>
            <pc:sldMk cId="3279136491" sldId="1549"/>
            <ac:picMk id="17" creationId="{B9DB264E-E567-D940-AB6F-347D2498883D}"/>
          </ac:picMkLst>
        </pc:picChg>
      </pc:sldChg>
      <pc:sldChg chg="addSp delSp modSp">
        <pc:chgData name="Monica Rong" userId="2a3ff70b-c825-437d-8925-748cb7fb43e7" providerId="ADAL" clId="{C0EC57E5-F0EE-C640-B0EB-CAE0DA6DAA39}" dt="2019-02-28T13:41:51.160" v="344" actId="1076"/>
        <pc:sldMkLst>
          <pc:docMk/>
          <pc:sldMk cId="4194788988" sldId="1563"/>
        </pc:sldMkLst>
        <pc:spChg chg="mod">
          <ac:chgData name="Monica Rong" userId="2a3ff70b-c825-437d-8925-748cb7fb43e7" providerId="ADAL" clId="{C0EC57E5-F0EE-C640-B0EB-CAE0DA6DAA39}" dt="2019-02-28T13:40:30.276" v="323" actId="20577"/>
          <ac:spMkLst>
            <pc:docMk/>
            <pc:sldMk cId="4194788988" sldId="1563"/>
            <ac:spMk id="72" creationId="{6C5483DE-8DB1-499A-9C29-703F02466B3B}"/>
          </ac:spMkLst>
        </pc:spChg>
        <pc:picChg chg="add mod">
          <ac:chgData name="Monica Rong" userId="2a3ff70b-c825-437d-8925-748cb7fb43e7" providerId="ADAL" clId="{C0EC57E5-F0EE-C640-B0EB-CAE0DA6DAA39}" dt="2019-02-28T13:41:30.550" v="332" actId="1076"/>
          <ac:picMkLst>
            <pc:docMk/>
            <pc:sldMk cId="4194788988" sldId="1563"/>
            <ac:picMk id="32" creationId="{75E14064-D97A-0440-ADF2-45379BF97A3F}"/>
          </ac:picMkLst>
        </pc:picChg>
        <pc:picChg chg="add mod">
          <ac:chgData name="Monica Rong" userId="2a3ff70b-c825-437d-8925-748cb7fb43e7" providerId="ADAL" clId="{C0EC57E5-F0EE-C640-B0EB-CAE0DA6DAA39}" dt="2019-02-28T13:41:34.408" v="334" actId="1076"/>
          <ac:picMkLst>
            <pc:docMk/>
            <pc:sldMk cId="4194788988" sldId="1563"/>
            <ac:picMk id="33" creationId="{11066640-D32A-1C45-AC79-CECEB63499AA}"/>
          </ac:picMkLst>
        </pc:picChg>
        <pc:picChg chg="add mod">
          <ac:chgData name="Monica Rong" userId="2a3ff70b-c825-437d-8925-748cb7fb43e7" providerId="ADAL" clId="{C0EC57E5-F0EE-C640-B0EB-CAE0DA6DAA39}" dt="2019-02-28T13:41:28.147" v="331" actId="1076"/>
          <ac:picMkLst>
            <pc:docMk/>
            <pc:sldMk cId="4194788988" sldId="1563"/>
            <ac:picMk id="34" creationId="{38233D8E-ED54-264A-A513-8F0A27D9F328}"/>
          </ac:picMkLst>
        </pc:picChg>
        <pc:picChg chg="add mod">
          <ac:chgData name="Monica Rong" userId="2a3ff70b-c825-437d-8925-748cb7fb43e7" providerId="ADAL" clId="{C0EC57E5-F0EE-C640-B0EB-CAE0DA6DAA39}" dt="2019-02-28T13:41:32.605" v="333" actId="1076"/>
          <ac:picMkLst>
            <pc:docMk/>
            <pc:sldMk cId="4194788988" sldId="1563"/>
            <ac:picMk id="35" creationId="{969877D0-4592-E74E-B2F2-5F4FF657A1A1}"/>
          </ac:picMkLst>
        </pc:picChg>
        <pc:picChg chg="del">
          <ac:chgData name="Monica Rong" userId="2a3ff70b-c825-437d-8925-748cb7fb43e7" providerId="ADAL" clId="{C0EC57E5-F0EE-C640-B0EB-CAE0DA6DAA39}" dt="2019-02-28T08:45:10.816" v="298" actId="478"/>
          <ac:picMkLst>
            <pc:docMk/>
            <pc:sldMk cId="4194788988" sldId="1563"/>
            <ac:picMk id="44" creationId="{A8DA8E6F-789D-4F0C-BD96-81AB831DABA7}"/>
          </ac:picMkLst>
        </pc:picChg>
        <pc:picChg chg="mod">
          <ac:chgData name="Monica Rong" userId="2a3ff70b-c825-437d-8925-748cb7fb43e7" providerId="ADAL" clId="{C0EC57E5-F0EE-C640-B0EB-CAE0DA6DAA39}" dt="2019-02-28T08:45:13.283" v="299" actId="1076"/>
          <ac:picMkLst>
            <pc:docMk/>
            <pc:sldMk cId="4194788988" sldId="1563"/>
            <ac:picMk id="46" creationId="{47511638-2916-416B-A01E-978CA86F28DB}"/>
          </ac:picMkLst>
        </pc:picChg>
        <pc:picChg chg="mod">
          <ac:chgData name="Monica Rong" userId="2a3ff70b-c825-437d-8925-748cb7fb43e7" providerId="ADAL" clId="{C0EC57E5-F0EE-C640-B0EB-CAE0DA6DAA39}" dt="2019-02-28T08:45:16.363" v="300" actId="1076"/>
          <ac:picMkLst>
            <pc:docMk/>
            <pc:sldMk cId="4194788988" sldId="1563"/>
            <ac:picMk id="48" creationId="{EFB93478-7653-4DDD-981F-C189C06C464D}"/>
          </ac:picMkLst>
        </pc:picChg>
        <pc:picChg chg="del">
          <ac:chgData name="Monica Rong" userId="2a3ff70b-c825-437d-8925-748cb7fb43e7" providerId="ADAL" clId="{C0EC57E5-F0EE-C640-B0EB-CAE0DA6DAA39}" dt="2019-02-28T08:44:47.716" v="293" actId="478"/>
          <ac:picMkLst>
            <pc:docMk/>
            <pc:sldMk cId="4194788988" sldId="1563"/>
            <ac:picMk id="50" creationId="{E5E2E642-F62C-44E4-90CE-4AA7A2E77965}"/>
          </ac:picMkLst>
        </pc:picChg>
        <pc:picChg chg="del">
          <ac:chgData name="Monica Rong" userId="2a3ff70b-c825-437d-8925-748cb7fb43e7" providerId="ADAL" clId="{C0EC57E5-F0EE-C640-B0EB-CAE0DA6DAA39}" dt="2019-02-28T08:44:47.716" v="293" actId="478"/>
          <ac:picMkLst>
            <pc:docMk/>
            <pc:sldMk cId="4194788988" sldId="1563"/>
            <ac:picMk id="52" creationId="{8B0FB92B-ED6B-49D8-BA30-D3D36A7FEB18}"/>
          </ac:picMkLst>
        </pc:picChg>
        <pc:picChg chg="del mod">
          <ac:chgData name="Monica Rong" userId="2a3ff70b-c825-437d-8925-748cb7fb43e7" providerId="ADAL" clId="{C0EC57E5-F0EE-C640-B0EB-CAE0DA6DAA39}" dt="2019-02-28T13:40:41.222" v="324" actId="478"/>
          <ac:picMkLst>
            <pc:docMk/>
            <pc:sldMk cId="4194788988" sldId="1563"/>
            <ac:picMk id="54" creationId="{351405B2-61EE-498A-A05E-2CE4CADE2A4D}"/>
          </ac:picMkLst>
        </pc:picChg>
        <pc:picChg chg="del">
          <ac:chgData name="Monica Rong" userId="2a3ff70b-c825-437d-8925-748cb7fb43e7" providerId="ADAL" clId="{C0EC57E5-F0EE-C640-B0EB-CAE0DA6DAA39}" dt="2019-02-28T08:44:47.716" v="293" actId="478"/>
          <ac:picMkLst>
            <pc:docMk/>
            <pc:sldMk cId="4194788988" sldId="1563"/>
            <ac:picMk id="56" creationId="{39D2D0EC-5C1D-4802-B80C-D8F156D4B732}"/>
          </ac:picMkLst>
        </pc:picChg>
        <pc:picChg chg="del">
          <ac:chgData name="Monica Rong" userId="2a3ff70b-c825-437d-8925-748cb7fb43e7" providerId="ADAL" clId="{C0EC57E5-F0EE-C640-B0EB-CAE0DA6DAA39}" dt="2019-02-28T08:44:47.716" v="293" actId="478"/>
          <ac:picMkLst>
            <pc:docMk/>
            <pc:sldMk cId="4194788988" sldId="1563"/>
            <ac:picMk id="58" creationId="{482D9479-D015-423C-A74B-A1EE36D1A8DD}"/>
          </ac:picMkLst>
        </pc:picChg>
        <pc:picChg chg="mod">
          <ac:chgData name="Monica Rong" userId="2a3ff70b-c825-437d-8925-748cb7fb43e7" providerId="ADAL" clId="{C0EC57E5-F0EE-C640-B0EB-CAE0DA6DAA39}" dt="2019-02-28T13:41:49.022" v="342" actId="1076"/>
          <ac:picMkLst>
            <pc:docMk/>
            <pc:sldMk cId="4194788988" sldId="1563"/>
            <ac:picMk id="60" creationId="{17AE3D97-1568-4264-BA41-8FCBF8791D07}"/>
          </ac:picMkLst>
        </pc:picChg>
        <pc:picChg chg="mod">
          <ac:chgData name="Monica Rong" userId="2a3ff70b-c825-437d-8925-748cb7fb43e7" providerId="ADAL" clId="{C0EC57E5-F0EE-C640-B0EB-CAE0DA6DAA39}" dt="2019-02-28T13:41:51.160" v="344" actId="1076"/>
          <ac:picMkLst>
            <pc:docMk/>
            <pc:sldMk cId="4194788988" sldId="1563"/>
            <ac:picMk id="62" creationId="{2042537E-8FD3-44C7-A6C7-2FD7481D1772}"/>
          </ac:picMkLst>
        </pc:picChg>
        <pc:picChg chg="mod">
          <ac:chgData name="Monica Rong" userId="2a3ff70b-c825-437d-8925-748cb7fb43e7" providerId="ADAL" clId="{C0EC57E5-F0EE-C640-B0EB-CAE0DA6DAA39}" dt="2019-02-28T13:41:50.156" v="343" actId="1076"/>
          <ac:picMkLst>
            <pc:docMk/>
            <pc:sldMk cId="4194788988" sldId="1563"/>
            <ac:picMk id="78" creationId="{0523C9B6-BC5E-4A34-9CF9-803F8E821E6A}"/>
          </ac:picMkLst>
        </pc:picChg>
        <pc:picChg chg="del">
          <ac:chgData name="Monica Rong" userId="2a3ff70b-c825-437d-8925-748cb7fb43e7" providerId="ADAL" clId="{C0EC57E5-F0EE-C640-B0EB-CAE0DA6DAA39}" dt="2019-02-28T13:41:36.159" v="335" actId="478"/>
          <ac:picMkLst>
            <pc:docMk/>
            <pc:sldMk cId="4194788988" sldId="1563"/>
            <ac:picMk id="79" creationId="{2C592ED1-A4BC-48A0-894E-AEBC1566E3B0}"/>
          </ac:picMkLst>
        </pc:picChg>
        <pc:picChg chg="mod">
          <ac:chgData name="Monica Rong" userId="2a3ff70b-c825-437d-8925-748cb7fb43e7" providerId="ADAL" clId="{C0EC57E5-F0EE-C640-B0EB-CAE0DA6DAA39}" dt="2019-02-28T13:41:43.472" v="338" actId="1076"/>
          <ac:picMkLst>
            <pc:docMk/>
            <pc:sldMk cId="4194788988" sldId="1563"/>
            <ac:picMk id="80" creationId="{06F0AA0A-F4A7-4D34-8F12-8C2D9A1991B2}"/>
          </ac:picMkLst>
        </pc:picChg>
        <pc:picChg chg="mod">
          <ac:chgData name="Monica Rong" userId="2a3ff70b-c825-437d-8925-748cb7fb43e7" providerId="ADAL" clId="{C0EC57E5-F0EE-C640-B0EB-CAE0DA6DAA39}" dt="2019-02-28T13:41:47.542" v="341" actId="1076"/>
          <ac:picMkLst>
            <pc:docMk/>
            <pc:sldMk cId="4194788988" sldId="1563"/>
            <ac:picMk id="82" creationId="{6E0F6D5C-B795-40F9-8F37-42ADEA0553E0}"/>
          </ac:picMkLst>
        </pc:picChg>
      </pc:sldChg>
      <pc:sldChg chg="modSp">
        <pc:chgData name="Monica Rong" userId="2a3ff70b-c825-437d-8925-748cb7fb43e7" providerId="ADAL" clId="{C0EC57E5-F0EE-C640-B0EB-CAE0DA6DAA39}" dt="2019-02-18T14:10:29.798" v="154" actId="20577"/>
        <pc:sldMkLst>
          <pc:docMk/>
          <pc:sldMk cId="183412449" sldId="1706"/>
        </pc:sldMkLst>
        <pc:spChg chg="mod">
          <ac:chgData name="Monica Rong" userId="2a3ff70b-c825-437d-8925-748cb7fb43e7" providerId="ADAL" clId="{C0EC57E5-F0EE-C640-B0EB-CAE0DA6DAA39}" dt="2019-02-18T14:10:29.798" v="154" actId="20577"/>
          <ac:spMkLst>
            <pc:docMk/>
            <pc:sldMk cId="183412449" sldId="1706"/>
            <ac:spMk id="83" creationId="{D53756F3-1030-42C6-8FAB-4386EDE7CE71}"/>
          </ac:spMkLst>
        </pc:spChg>
        <pc:spChg chg="mod">
          <ac:chgData name="Monica Rong" userId="2a3ff70b-c825-437d-8925-748cb7fb43e7" providerId="ADAL" clId="{C0EC57E5-F0EE-C640-B0EB-CAE0DA6DAA39}" dt="2019-02-18T11:16:47.809" v="150" actId="20577"/>
          <ac:spMkLst>
            <pc:docMk/>
            <pc:sldMk cId="183412449" sldId="1706"/>
            <ac:spMk id="93" creationId="{EC4E0A16-EF44-4156-8401-F7DB6C883EB0}"/>
          </ac:spMkLst>
        </pc:spChg>
      </pc:sldChg>
      <pc:sldChg chg="modSp">
        <pc:chgData name="Monica Rong" userId="2a3ff70b-c825-437d-8925-748cb7fb43e7" providerId="ADAL" clId="{C0EC57E5-F0EE-C640-B0EB-CAE0DA6DAA39}" dt="2019-02-27T08:15:16.180" v="292" actId="14826"/>
        <pc:sldMkLst>
          <pc:docMk/>
          <pc:sldMk cId="3506763584" sldId="1789"/>
        </pc:sldMkLst>
        <pc:picChg chg="mod">
          <ac:chgData name="Monica Rong" userId="2a3ff70b-c825-437d-8925-748cb7fb43e7" providerId="ADAL" clId="{C0EC57E5-F0EE-C640-B0EB-CAE0DA6DAA39}" dt="2019-02-27T08:15:16.180" v="292" actId="14826"/>
          <ac:picMkLst>
            <pc:docMk/>
            <pc:sldMk cId="3506763584" sldId="1789"/>
            <ac:picMk id="6" creationId="{D5213EEB-7B0C-7A4A-8CEA-B7EE7A73CE18}"/>
          </ac:picMkLst>
        </pc:picChg>
      </pc:sldChg>
      <pc:sldChg chg="delSp modSp">
        <pc:chgData name="Monica Rong" userId="2a3ff70b-c825-437d-8925-748cb7fb43e7" providerId="ADAL" clId="{C0EC57E5-F0EE-C640-B0EB-CAE0DA6DAA39}" dt="2019-02-28T08:46:11.654" v="310" actId="1076"/>
        <pc:sldMkLst>
          <pc:docMk/>
          <pc:sldMk cId="1954173271" sldId="1791"/>
        </pc:sldMkLst>
        <pc:picChg chg="del">
          <ac:chgData name="Monica Rong" userId="2a3ff70b-c825-437d-8925-748cb7fb43e7" providerId="ADAL" clId="{C0EC57E5-F0EE-C640-B0EB-CAE0DA6DAA39}" dt="2019-02-28T08:45:51.495" v="301" actId="478"/>
          <ac:picMkLst>
            <pc:docMk/>
            <pc:sldMk cId="1954173271" sldId="1791"/>
            <ac:picMk id="166" creationId="{0E3FBE3E-B740-411E-A57C-49232ED403AB}"/>
          </ac:picMkLst>
        </pc:picChg>
        <pc:picChg chg="mod">
          <ac:chgData name="Monica Rong" userId="2a3ff70b-c825-437d-8925-748cb7fb43e7" providerId="ADAL" clId="{C0EC57E5-F0EE-C640-B0EB-CAE0DA6DAA39}" dt="2019-02-28T08:46:11.654" v="310" actId="1076"/>
          <ac:picMkLst>
            <pc:docMk/>
            <pc:sldMk cId="1954173271" sldId="1791"/>
            <ac:picMk id="171" creationId="{A9843D8B-21A3-474D-A980-F5B3315EF8B0}"/>
          </ac:picMkLst>
        </pc:picChg>
        <pc:picChg chg="mod">
          <ac:chgData name="Monica Rong" userId="2a3ff70b-c825-437d-8925-748cb7fb43e7" providerId="ADAL" clId="{C0EC57E5-F0EE-C640-B0EB-CAE0DA6DAA39}" dt="2019-02-28T08:46:03.032" v="305" actId="1076"/>
          <ac:picMkLst>
            <pc:docMk/>
            <pc:sldMk cId="1954173271" sldId="1791"/>
            <ac:picMk id="172" creationId="{3AF11000-E079-464A-8343-BFE1A6DDED37}"/>
          </ac:picMkLst>
        </pc:picChg>
        <pc:picChg chg="mod">
          <ac:chgData name="Monica Rong" userId="2a3ff70b-c825-437d-8925-748cb7fb43e7" providerId="ADAL" clId="{C0EC57E5-F0EE-C640-B0EB-CAE0DA6DAA39}" dt="2019-02-28T08:46:10.005" v="309" actId="1076"/>
          <ac:picMkLst>
            <pc:docMk/>
            <pc:sldMk cId="1954173271" sldId="1791"/>
            <ac:picMk id="173" creationId="{E9A7059D-88C1-4889-8015-7BC06DF39B12}"/>
          </ac:picMkLst>
        </pc:picChg>
        <pc:picChg chg="mod">
          <ac:chgData name="Monica Rong" userId="2a3ff70b-c825-437d-8925-748cb7fb43e7" providerId="ADAL" clId="{C0EC57E5-F0EE-C640-B0EB-CAE0DA6DAA39}" dt="2019-02-28T08:46:07.157" v="308" actId="1076"/>
          <ac:picMkLst>
            <pc:docMk/>
            <pc:sldMk cId="1954173271" sldId="1791"/>
            <ac:picMk id="174" creationId="{F56B9375-0EA7-41AD-AA41-F99D82993DBD}"/>
          </ac:picMkLst>
        </pc:picChg>
        <pc:picChg chg="mod">
          <ac:chgData name="Monica Rong" userId="2a3ff70b-c825-437d-8925-748cb7fb43e7" providerId="ADAL" clId="{C0EC57E5-F0EE-C640-B0EB-CAE0DA6DAA39}" dt="2019-02-28T08:46:00.551" v="304" actId="1076"/>
          <ac:picMkLst>
            <pc:docMk/>
            <pc:sldMk cId="1954173271" sldId="1791"/>
            <ac:picMk id="184" creationId="{8EBB4C9A-7782-42E0-A8B1-136CEF45A204}"/>
          </ac:picMkLst>
        </pc:picChg>
      </pc:sldChg>
      <pc:sldChg chg="addSp delSp modSp">
        <pc:chgData name="Monica Rong" userId="2a3ff70b-c825-437d-8925-748cb7fb43e7" providerId="ADAL" clId="{C0EC57E5-F0EE-C640-B0EB-CAE0DA6DAA39}" dt="2019-02-26T20:10:46.657" v="290"/>
        <pc:sldMkLst>
          <pc:docMk/>
          <pc:sldMk cId="220335691" sldId="1792"/>
        </pc:sldMkLst>
        <pc:spChg chg="add del mod">
          <ac:chgData name="Monica Rong" userId="2a3ff70b-c825-437d-8925-748cb7fb43e7" providerId="ADAL" clId="{C0EC57E5-F0EE-C640-B0EB-CAE0DA6DAA39}" dt="2019-02-26T20:10:46.657" v="290"/>
          <ac:spMkLst>
            <pc:docMk/>
            <pc:sldMk cId="220335691" sldId="1792"/>
            <ac:spMk id="2" creationId="{6F594433-3930-9C41-BC75-EA6BCCD97AD8}"/>
          </ac:spMkLst>
        </pc:sp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40" creationId="{E6D6AE4C-6B19-45F8-ABBB-21576B415D30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42" creationId="{80C444D8-615D-4154-911A-7EBA371EA786}"/>
          </ac:picMkLst>
        </pc:picChg>
        <pc:picChg chg="mod">
          <ac:chgData name="Monica Rong" userId="2a3ff70b-c825-437d-8925-748cb7fb43e7" providerId="ADAL" clId="{C0EC57E5-F0EE-C640-B0EB-CAE0DA6DAA39}" dt="2019-02-18T10:15:08.842" v="124" actId="1036"/>
          <ac:picMkLst>
            <pc:docMk/>
            <pc:sldMk cId="220335691" sldId="1792"/>
            <ac:picMk id="43" creationId="{2000D1E5-DE9F-46E5-867F-A54F480AC8A9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44" creationId="{B888BAF2-3179-4530-ADFC-F7D8EEE70FFB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46" creationId="{25C77D0B-A827-47E1-9D14-6E599CEAB546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48" creationId="{EB19F43B-C93F-43AC-B49B-C6DA1EA68E94}"/>
          </ac:picMkLst>
        </pc:picChg>
        <pc:picChg chg="del">
          <ac:chgData name="Monica Rong" userId="2a3ff70b-c825-437d-8925-748cb7fb43e7" providerId="ADAL" clId="{C0EC57E5-F0EE-C640-B0EB-CAE0DA6DAA39}" dt="2019-02-18T10:13:13.941" v="44" actId="478"/>
          <ac:picMkLst>
            <pc:docMk/>
            <pc:sldMk cId="220335691" sldId="1792"/>
            <ac:picMk id="50" creationId="{FB5A104B-90AB-4789-8560-844536DE5297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52" creationId="{F2B846CB-567E-47A7-91CE-2C3F797D3CA4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54" creationId="{689AD110-4E07-4310-96A7-5B1A24C0A62D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56" creationId="{25CDECD5-C5EA-4C7F-B79B-162638C43738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58" creationId="{0876F35B-75B3-4989-A7E3-42A8B44CC742}"/>
          </ac:picMkLst>
        </pc:picChg>
        <pc:picChg chg="mod">
          <ac:chgData name="Monica Rong" userId="2a3ff70b-c825-437d-8925-748cb7fb43e7" providerId="ADAL" clId="{C0EC57E5-F0EE-C640-B0EB-CAE0DA6DAA39}" dt="2019-02-18T10:15:08.842" v="124" actId="1036"/>
          <ac:picMkLst>
            <pc:docMk/>
            <pc:sldMk cId="220335691" sldId="1792"/>
            <ac:picMk id="60" creationId="{41FB7B2C-6162-4742-96DF-B1F1993E0683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62" creationId="{A6739100-E611-4C16-80BC-110C7C75233A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64" creationId="{01494DB5-3F2D-4E67-82DB-010780869B44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66" creationId="{6C0D6D06-87D0-49B8-8234-419B230EBEB2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68" creationId="{371A226A-F1FF-4CD9-A07F-E210DD816D51}"/>
          </ac:picMkLst>
        </pc:picChg>
        <pc:picChg chg="mod">
          <ac:chgData name="Monica Rong" userId="2a3ff70b-c825-437d-8925-748cb7fb43e7" providerId="ADAL" clId="{C0EC57E5-F0EE-C640-B0EB-CAE0DA6DAA39}" dt="2019-02-18T10:15:08.842" v="124" actId="1036"/>
          <ac:picMkLst>
            <pc:docMk/>
            <pc:sldMk cId="220335691" sldId="1792"/>
            <ac:picMk id="69" creationId="{ABD74DAA-CD9F-464B-8930-84412030F358}"/>
          </ac:picMkLst>
        </pc:picChg>
        <pc:picChg chg="del">
          <ac:chgData name="Monica Rong" userId="2a3ff70b-c825-437d-8925-748cb7fb43e7" providerId="ADAL" clId="{C0EC57E5-F0EE-C640-B0EB-CAE0DA6DAA39}" dt="2019-02-18T10:13:21.066" v="45" actId="478"/>
          <ac:picMkLst>
            <pc:docMk/>
            <pc:sldMk cId="220335691" sldId="1792"/>
            <ac:picMk id="70" creationId="{90366C1D-C035-47A7-9501-F871B373C8D5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71" creationId="{E92FA814-CFBC-4D56-8062-9389F64EF774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72" creationId="{924E59D5-E3E3-46C8-8CC7-BC8DB02CBE77}"/>
          </ac:picMkLst>
        </pc:picChg>
        <pc:picChg chg="mod">
          <ac:chgData name="Monica Rong" userId="2a3ff70b-c825-437d-8925-748cb7fb43e7" providerId="ADAL" clId="{C0EC57E5-F0EE-C640-B0EB-CAE0DA6DAA39}" dt="2019-02-18T10:15:08.842" v="124" actId="1036"/>
          <ac:picMkLst>
            <pc:docMk/>
            <pc:sldMk cId="220335691" sldId="1792"/>
            <ac:picMk id="73" creationId="{CFDC25D6-A443-4601-B363-BC476C06604D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74" creationId="{29CE1EFC-CF1A-4FD9-81F9-B7AA9D2D0BD5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75" creationId="{001F7EB9-4C75-453E-90AC-75D65F7E5469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76" creationId="{75B157B7-7548-4E46-AC92-562979CB2542}"/>
          </ac:picMkLst>
        </pc:picChg>
        <pc:picChg chg="del">
          <ac:chgData name="Monica Rong" userId="2a3ff70b-c825-437d-8925-748cb7fb43e7" providerId="ADAL" clId="{C0EC57E5-F0EE-C640-B0EB-CAE0DA6DAA39}" dt="2019-02-18T10:13:28.596" v="46" actId="478"/>
          <ac:picMkLst>
            <pc:docMk/>
            <pc:sldMk cId="220335691" sldId="1792"/>
            <ac:picMk id="77" creationId="{28D6798B-A94C-4C60-9FC7-B664F588AECC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78" creationId="{717CE3E1-F3C4-4EDE-9155-98C0D3F470DE}"/>
          </ac:picMkLst>
        </pc:picChg>
        <pc:picChg chg="mod">
          <ac:chgData name="Monica Rong" userId="2a3ff70b-c825-437d-8925-748cb7fb43e7" providerId="ADAL" clId="{C0EC57E5-F0EE-C640-B0EB-CAE0DA6DAA39}" dt="2019-02-18T10:15:08.842" v="124" actId="1036"/>
          <ac:picMkLst>
            <pc:docMk/>
            <pc:sldMk cId="220335691" sldId="1792"/>
            <ac:picMk id="79" creationId="{CEFF1909-D8E8-4EB6-B509-2806BA394D10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80" creationId="{0BCC94DE-F08F-4619-B766-77807F3EFCFC}"/>
          </ac:picMkLst>
        </pc:picChg>
        <pc:picChg chg="mod">
          <ac:chgData name="Monica Rong" userId="2a3ff70b-c825-437d-8925-748cb7fb43e7" providerId="ADAL" clId="{C0EC57E5-F0EE-C640-B0EB-CAE0DA6DAA39}" dt="2019-02-18T10:14:48.648" v="98" actId="1037"/>
          <ac:picMkLst>
            <pc:docMk/>
            <pc:sldMk cId="220335691" sldId="1792"/>
            <ac:picMk id="81" creationId="{2D527242-7275-4F44-BA6F-93ED1379BB99}"/>
          </ac:picMkLst>
        </pc:picChg>
      </pc:sldChg>
      <pc:sldChg chg="addSp delSp modSp">
        <pc:chgData name="Monica Rong" userId="2a3ff70b-c825-437d-8925-748cb7fb43e7" providerId="ADAL" clId="{C0EC57E5-F0EE-C640-B0EB-CAE0DA6DAA39}" dt="2019-02-26T09:45:08.546" v="213" actId="1076"/>
        <pc:sldMkLst>
          <pc:docMk/>
          <pc:sldMk cId="643938873" sldId="1796"/>
        </pc:sldMkLst>
        <pc:picChg chg="add mod">
          <ac:chgData name="Monica Rong" userId="2a3ff70b-c825-437d-8925-748cb7fb43e7" providerId="ADAL" clId="{C0EC57E5-F0EE-C640-B0EB-CAE0DA6DAA39}" dt="2019-02-26T09:45:08.546" v="213" actId="1076"/>
          <ac:picMkLst>
            <pc:docMk/>
            <pc:sldMk cId="643938873" sldId="1796"/>
            <ac:picMk id="4" creationId="{B6C04F7A-EA0E-654D-BF69-624B896BDCBC}"/>
          </ac:picMkLst>
        </pc:picChg>
        <pc:picChg chg="del">
          <ac:chgData name="Monica Rong" userId="2a3ff70b-c825-437d-8925-748cb7fb43e7" providerId="ADAL" clId="{C0EC57E5-F0EE-C640-B0EB-CAE0DA6DAA39}" dt="2019-02-26T09:44:57.769" v="209" actId="478"/>
          <ac:picMkLst>
            <pc:docMk/>
            <pc:sldMk cId="643938873" sldId="1796"/>
            <ac:picMk id="49" creationId="{0E9B5DE7-D99C-C344-8041-64B2B7E11DC5}"/>
          </ac:picMkLst>
        </pc:picChg>
      </pc:sldChg>
    </pc:docChg>
  </pc:docChgLst>
  <pc:docChgLst>
    <pc:chgData name="Monica Rong" userId="S::monica.rong@puzzel.com::2a3ff70b-c825-437d-8925-748cb7fb43e7" providerId="AD" clId="Web-{CE4BE61C-DBEA-2058-DCF6-776BBF602222}"/>
    <pc:docChg chg="modSld">
      <pc:chgData name="Monica Rong" userId="S::monica.rong@puzzel.com::2a3ff70b-c825-437d-8925-748cb7fb43e7" providerId="AD" clId="Web-{CE4BE61C-DBEA-2058-DCF6-776BBF602222}" dt="2019-11-07T14:44:08.496" v="0" actId="1076"/>
      <pc:docMkLst>
        <pc:docMk/>
      </pc:docMkLst>
      <pc:sldChg chg="modSp">
        <pc:chgData name="Monica Rong" userId="S::monica.rong@puzzel.com::2a3ff70b-c825-437d-8925-748cb7fb43e7" providerId="AD" clId="Web-{CE4BE61C-DBEA-2058-DCF6-776BBF602222}" dt="2019-11-07T14:44:08.496" v="0" actId="1076"/>
        <pc:sldMkLst>
          <pc:docMk/>
          <pc:sldMk cId="3693019555" sldId="256"/>
        </pc:sldMkLst>
        <pc:grpChg chg="mod">
          <ac:chgData name="Monica Rong" userId="S::monica.rong@puzzel.com::2a3ff70b-c825-437d-8925-748cb7fb43e7" providerId="AD" clId="Web-{CE4BE61C-DBEA-2058-DCF6-776BBF602222}" dt="2019-11-07T14:44:08.496" v="0" actId="1076"/>
          <ac:grpSpMkLst>
            <pc:docMk/>
            <pc:sldMk cId="3693019555" sldId="256"/>
            <ac:grpSpMk id="46" creationId="{EC62C37E-DC39-2046-9045-8E1C63E1557A}"/>
          </ac:grpSpMkLst>
        </pc:grpChg>
      </pc:sldChg>
    </pc:docChg>
  </pc:docChgLst>
  <pc:docChgLst>
    <pc:chgData name="Monica Rong" userId="S::monica.rong@puzzel.com::2a3ff70b-c825-437d-8925-748cb7fb43e7" providerId="AD" clId="Web-{9F628F78-9A49-65CC-F8D9-99B4DFEDBC8C}"/>
    <pc:docChg chg="modSld">
      <pc:chgData name="Monica Rong" userId="S::monica.rong@puzzel.com::2a3ff70b-c825-437d-8925-748cb7fb43e7" providerId="AD" clId="Web-{9F628F78-9A49-65CC-F8D9-99B4DFEDBC8C}" dt="2019-03-12T19:41:48.955" v="1" actId="1076"/>
      <pc:docMkLst>
        <pc:docMk/>
      </pc:docMkLst>
      <pc:sldChg chg="modSp">
        <pc:chgData name="Monica Rong" userId="S::monica.rong@puzzel.com::2a3ff70b-c825-437d-8925-748cb7fb43e7" providerId="AD" clId="Web-{9F628F78-9A49-65CC-F8D9-99B4DFEDBC8C}" dt="2019-03-12T19:41:48.955" v="1" actId="1076"/>
        <pc:sldMkLst>
          <pc:docMk/>
          <pc:sldMk cId="2914385253" sldId="257"/>
        </pc:sldMkLst>
        <pc:picChg chg="mod">
          <ac:chgData name="Monica Rong" userId="S::monica.rong@puzzel.com::2a3ff70b-c825-437d-8925-748cb7fb43e7" providerId="AD" clId="Web-{9F628F78-9A49-65CC-F8D9-99B4DFEDBC8C}" dt="2019-03-12T19:41:48.955" v="1" actId="1076"/>
          <ac:picMkLst>
            <pc:docMk/>
            <pc:sldMk cId="2914385253" sldId="257"/>
            <ac:picMk id="3" creationId="{00000000-0000-0000-0000-000000000000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889F46B-E95B-45D8-9109-579D6E501253}" type="datetimeFigureOut">
              <a:rPr lang="nb-NO" smtClean="0"/>
              <a:t>17.12.2019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3E2A151-2A58-42ED-A2CA-0C0AC9B80ED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50992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7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847862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1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216395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2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824628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3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847660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952E3C9E-E2C7-4AC4-9287-5F007824A586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4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492811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6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607946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Bytte bildet med bo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7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226189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2023">
              <a:defRPr/>
            </a:pPr>
            <a:fld id="{474D6AC7-61F9-A747-86DE-1FC0A9D74BE6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42023">
                <a:defRPr/>
              </a:pPr>
              <a:t>40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963284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1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749406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3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452311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4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346426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9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2461869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5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6716445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54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03130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Tech</a:t>
            </a:r>
          </a:p>
          <a:p>
            <a:r>
              <a:rPr lang="nb-NO" err="1"/>
              <a:t>Signicat</a:t>
            </a:r>
            <a:r>
              <a:rPr lang="nb-NO"/>
              <a:t>-</a:t>
            </a:r>
          </a:p>
          <a:p>
            <a:r>
              <a:rPr lang="nb-NO" err="1"/>
              <a:t>Zendesk</a:t>
            </a:r>
            <a:r>
              <a:rPr lang="nb-NO"/>
              <a:t>-</a:t>
            </a:r>
          </a:p>
          <a:p>
            <a:r>
              <a:rPr lang="nb-NO"/>
              <a:t>Microsoft-</a:t>
            </a:r>
          </a:p>
          <a:p>
            <a:r>
              <a:rPr lang="nb-NO"/>
              <a:t>Oracle-</a:t>
            </a:r>
          </a:p>
          <a:p>
            <a:r>
              <a:rPr lang="nb-NO"/>
              <a:t>SuperOffice-</a:t>
            </a:r>
          </a:p>
          <a:p>
            <a:r>
              <a:rPr lang="nb-NO"/>
              <a:t>Touch-</a:t>
            </a:r>
          </a:p>
          <a:p>
            <a:r>
              <a:rPr lang="nb-NO"/>
              <a:t>Vipps-</a:t>
            </a:r>
          </a:p>
          <a:p>
            <a:r>
              <a:rPr lang="nb-NO" err="1"/>
              <a:t>Boost</a:t>
            </a:r>
            <a:r>
              <a:rPr lang="nb-NO"/>
              <a:t>-</a:t>
            </a:r>
          </a:p>
          <a:p>
            <a:r>
              <a:rPr lang="nb-NO" err="1"/>
              <a:t>Teleopti</a:t>
            </a:r>
            <a:r>
              <a:rPr lang="nb-NO"/>
              <a:t>-</a:t>
            </a:r>
          </a:p>
          <a:p>
            <a:endParaRPr lang="nb-NO"/>
          </a:p>
          <a:p>
            <a:r>
              <a:rPr lang="nb-NO" err="1"/>
              <a:t>Reseller</a:t>
            </a:r>
            <a:endParaRPr lang="nb-NO"/>
          </a:p>
          <a:p>
            <a:r>
              <a:rPr lang="nb-NO" err="1"/>
              <a:t>Sulono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57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4628926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58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0480523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59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5277140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61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5416917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62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40142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18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231644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023">
              <a:defRPr/>
            </a:pPr>
            <a:fld id="{952E3C9E-E2C7-4AC4-9287-5F007824A586}" type="slidenum">
              <a:rPr lang="en-US">
                <a:solidFill>
                  <a:prstClr val="black"/>
                </a:solidFill>
                <a:latin typeface="Calibri"/>
              </a:rPr>
              <a:pPr defTabSz="942023">
                <a:defRPr/>
              </a:pPr>
              <a:t>20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77556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023">
              <a:defRPr/>
            </a:pPr>
            <a:fld id="{952E3C9E-E2C7-4AC4-9287-5F007824A586}" type="slidenum">
              <a:rPr lang="en-US">
                <a:solidFill>
                  <a:prstClr val="black"/>
                </a:solidFill>
                <a:latin typeface="Calibri"/>
              </a:rPr>
              <a:pPr defTabSz="942023">
                <a:defRPr/>
              </a:pPr>
              <a:t>2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432673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952E3C9E-E2C7-4AC4-9287-5F007824A586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26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309188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27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172426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952E3C9E-E2C7-4AC4-9287-5F007824A586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2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517901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43E2A151-2A58-42ED-A2CA-0C0AC9B80EDB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0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331742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.bin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5401559" y="0"/>
            <a:ext cx="6790441" cy="6858000"/>
          </a:xfrm>
          <a:prstGeom prst="rect">
            <a:avLst/>
          </a:prstGeom>
          <a:blipFill>
            <a:blip r:embed="rId2"/>
            <a:srcRect/>
            <a:stretch>
              <a:fillRect l="14854" t="-41386" r="-93842" b="-6175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1155" y="5856866"/>
            <a:ext cx="2961494" cy="56272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6499" y="1105853"/>
            <a:ext cx="6875463" cy="1230023"/>
          </a:xfrm>
          <a:prstGeom prst="rect">
            <a:avLst/>
          </a:prstGeom>
        </p:spPr>
        <p:txBody>
          <a:bodyPr anchor="b"/>
          <a:lstStyle>
            <a:lvl1pPr marL="0" indent="0">
              <a:buFontTx/>
              <a:buNone/>
              <a:defRPr sz="3600">
                <a:solidFill>
                  <a:srgbClr val="575D6B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>
                <a:solidFill>
                  <a:srgbClr val="575D6B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2pPr>
            <a:lvl3pPr marL="914400" indent="0">
              <a:buFontTx/>
              <a:buNone/>
              <a:defRPr>
                <a:solidFill>
                  <a:srgbClr val="575D6B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3pPr>
            <a:lvl4pPr marL="1371600" indent="0">
              <a:buFontTx/>
              <a:buNone/>
              <a:defRPr>
                <a:solidFill>
                  <a:srgbClr val="575D6B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4pPr>
            <a:lvl5pPr marL="1828800" indent="0">
              <a:buFontTx/>
              <a:buNone/>
              <a:defRPr>
                <a:solidFill>
                  <a:srgbClr val="575D6B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06413" y="2746320"/>
            <a:ext cx="5080000" cy="25303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70000"/>
              </a:lnSpc>
              <a:buFontTx/>
              <a:buNone/>
              <a:defRPr sz="1800" b="1">
                <a:solidFill>
                  <a:srgbClr val="909399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>
              <a:defRPr>
                <a:solidFill>
                  <a:srgbClr val="909399"/>
                </a:solidFill>
              </a:defRPr>
            </a:lvl2pPr>
            <a:lvl3pPr>
              <a:defRPr>
                <a:solidFill>
                  <a:srgbClr val="909399"/>
                </a:solidFill>
              </a:defRPr>
            </a:lvl3pPr>
            <a:lvl4pPr>
              <a:defRPr>
                <a:solidFill>
                  <a:srgbClr val="909399"/>
                </a:solidFill>
              </a:defRPr>
            </a:lvl4pPr>
            <a:lvl5pPr>
              <a:defRPr>
                <a:solidFill>
                  <a:srgbClr val="909399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68238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Ques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98169" y="0"/>
            <a:ext cx="4237996" cy="38837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708233" y="498921"/>
            <a:ext cx="3814580" cy="577966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0664" y="5651695"/>
            <a:ext cx="2961494" cy="562725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4824" y="2603597"/>
            <a:ext cx="5042208" cy="1902754"/>
          </a:xfrm>
          <a:prstGeom prst="rect">
            <a:avLst/>
          </a:prstGeom>
          <a:noFill/>
          <a:ln>
            <a:noFill/>
          </a:ln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6500" baseline="0"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Any </a:t>
            </a:r>
            <a:br>
              <a:rPr lang="en-GB" noProof="0"/>
            </a:br>
            <a:r>
              <a:rPr lang="en-GB" noProof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7366765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solidFill>
                  <a:schemeClr val="tx1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66282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/>
          <p:cNvSpPr>
            <a:spLocks noGrp="1"/>
          </p:cNvSpPr>
          <p:nvPr>
            <p:ph type="pic" sz="quarter" idx="11"/>
          </p:nvPr>
        </p:nvSpPr>
        <p:spPr>
          <a:xfrm>
            <a:off x="283464" y="997527"/>
            <a:ext cx="11612880" cy="4756728"/>
          </a:xfrm>
        </p:spPr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443483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5043340" y="0"/>
            <a:ext cx="7148660" cy="6858000"/>
          </a:xfrm>
          <a:prstGeom prst="rect">
            <a:avLst/>
          </a:prstGeom>
          <a:blipFill dpi="0" rotWithShape="1">
            <a:blip r:embed="rId2"/>
            <a:srcRect/>
            <a:stretch>
              <a:fillRect l="-2769" t="-14845" r="-44516" b="-3243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48844" y="1669981"/>
            <a:ext cx="10033000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599136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b Title and 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quarter" idx="11"/>
          </p:nvPr>
        </p:nvSpPr>
        <p:spPr>
          <a:xfrm>
            <a:off x="748844" y="1676786"/>
            <a:ext cx="10033000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323372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681278"/>
            <a:ext cx="10033000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301359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Subtitle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/>
          </p:nvPr>
        </p:nvSpPr>
        <p:spPr>
          <a:xfrm>
            <a:off x="750046" y="1694774"/>
            <a:ext cx="4900227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2"/>
          </p:nvPr>
        </p:nvSpPr>
        <p:spPr>
          <a:xfrm>
            <a:off x="6445491" y="1694774"/>
            <a:ext cx="4900227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883829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1"/>
          </p:nvPr>
        </p:nvSpPr>
        <p:spPr>
          <a:xfrm>
            <a:off x="770603" y="1048718"/>
            <a:ext cx="4900227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/>
          </p:nvPr>
        </p:nvSpPr>
        <p:spPr>
          <a:xfrm>
            <a:off x="6498416" y="1048718"/>
            <a:ext cx="4900227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743156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008258"/>
            <a:ext cx="10033000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12082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Brand 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90852" y="3519441"/>
            <a:ext cx="8412784" cy="1210595"/>
          </a:xfrm>
          <a:solidFill>
            <a:schemeClr val="bg1"/>
          </a:solidFill>
        </p:spPr>
        <p:txBody>
          <a:bodyPr lIns="0" anchor="b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6500" baseline="0">
                <a:solidFill>
                  <a:schemeClr val="accent5"/>
                </a:solidFill>
                <a:latin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10730" y="4978512"/>
            <a:ext cx="8392906" cy="730105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700"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0098157" y="6241774"/>
            <a:ext cx="1938130" cy="526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" name="Rectangle 2"/>
          <p:cNvSpPr/>
          <p:nvPr userDrawn="1"/>
        </p:nvSpPr>
        <p:spPr>
          <a:xfrm>
            <a:off x="8898903" y="3836709"/>
            <a:ext cx="3293097" cy="3021291"/>
          </a:xfrm>
          <a:prstGeom prst="rect">
            <a:avLst/>
          </a:prstGeom>
          <a:blipFill>
            <a:blip r:embed="rId2"/>
            <a:srcRect/>
            <a:stretch>
              <a:fillRect l="16602" t="2057" r="-48726" b="-5200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961452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bg2">
                  <a:lumMod val="90000"/>
                </a:schemeClr>
              </a:solidFill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6148252" y="901288"/>
            <a:ext cx="5236640" cy="1754326"/>
          </a:xfrm>
          <a:prstGeom prst="rect">
            <a:avLst/>
          </a:prstGeom>
          <a:noFill/>
        </p:spPr>
        <p:txBody>
          <a:bodyPr wrap="square" anchor="b" anchorCtr="0">
            <a:noAutofit/>
          </a:bodyPr>
          <a:lstStyle>
            <a:lvl1pPr>
              <a:lnSpc>
                <a:spcPct val="90000"/>
              </a:lnSpc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/>
          <a:srcRect l="46236" b="60195"/>
          <a:stretch/>
        </p:blipFill>
        <p:spPr>
          <a:xfrm>
            <a:off x="-1" y="1114197"/>
            <a:ext cx="4475109" cy="5743803"/>
          </a:xfrm>
          <a:prstGeom prst="rect">
            <a:avLst/>
          </a:prstGeom>
        </p:spPr>
      </p:pic>
      <p:sp>
        <p:nvSpPr>
          <p:cNvPr id="6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096000" y="2945379"/>
            <a:ext cx="5288892" cy="25158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1800" b="1">
                <a:solidFill>
                  <a:schemeClr val="bg1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>
              <a:defRPr>
                <a:solidFill>
                  <a:srgbClr val="909399"/>
                </a:solidFill>
              </a:defRPr>
            </a:lvl2pPr>
            <a:lvl3pPr>
              <a:defRPr>
                <a:solidFill>
                  <a:srgbClr val="909399"/>
                </a:solidFill>
              </a:defRPr>
            </a:lvl3pPr>
            <a:lvl4pPr>
              <a:defRPr>
                <a:solidFill>
                  <a:srgbClr val="909399"/>
                </a:solidFill>
              </a:defRPr>
            </a:lvl4pPr>
            <a:lvl5pPr>
              <a:defRPr>
                <a:solidFill>
                  <a:srgbClr val="909399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92106" y="5792693"/>
            <a:ext cx="3186563" cy="603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6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3280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9435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solidFill>
                  <a:schemeClr val="tx1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17051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/>
          <p:cNvSpPr>
            <a:spLocks noGrp="1"/>
          </p:cNvSpPr>
          <p:nvPr>
            <p:ph type="pic" sz="quarter" idx="11"/>
          </p:nvPr>
        </p:nvSpPr>
        <p:spPr>
          <a:xfrm>
            <a:off x="283464" y="997527"/>
            <a:ext cx="11612880" cy="4756728"/>
          </a:xfrm>
        </p:spPr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07276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5043340" y="0"/>
            <a:ext cx="7148660" cy="6858000"/>
          </a:xfrm>
          <a:prstGeom prst="rect">
            <a:avLst/>
          </a:prstGeom>
          <a:blipFill dpi="0" rotWithShape="1">
            <a:blip r:embed="rId2"/>
            <a:srcRect/>
            <a:stretch>
              <a:fillRect l="-2769" t="-14845" r="-44516" b="-3243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48844" y="1669981"/>
            <a:ext cx="10033000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49893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b Title and 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quarter" idx="11"/>
          </p:nvPr>
        </p:nvSpPr>
        <p:spPr>
          <a:xfrm>
            <a:off x="748844" y="1676786"/>
            <a:ext cx="10033000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25369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681278"/>
            <a:ext cx="10033000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9890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Subtitle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/>
          </p:nvPr>
        </p:nvSpPr>
        <p:spPr>
          <a:xfrm>
            <a:off x="750046" y="1694774"/>
            <a:ext cx="4900227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2"/>
          </p:nvPr>
        </p:nvSpPr>
        <p:spPr>
          <a:xfrm>
            <a:off x="6445491" y="1694774"/>
            <a:ext cx="4900227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00536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7663992" y="0"/>
            <a:ext cx="4528008" cy="4128940"/>
          </a:xfrm>
          <a:prstGeom prst="rect">
            <a:avLst/>
          </a:prstGeom>
          <a:blipFill>
            <a:blip r:embed="rId2"/>
            <a:srcRect/>
            <a:stretch>
              <a:fillRect l="-73247" t="-376914" r="-73715" b="182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740664" y="2612356"/>
            <a:ext cx="7773749" cy="2446824"/>
          </a:xfrm>
          <a:prstGeom prst="rect">
            <a:avLst/>
          </a:prstGeom>
          <a:noFill/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8500" baseline="0">
                <a:solidFill>
                  <a:srgbClr val="575D6B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53320" y="5961798"/>
            <a:ext cx="2961494" cy="562725"/>
          </a:xfrm>
          <a:prstGeom prst="rect">
            <a:avLst/>
          </a:prstGeom>
        </p:spPr>
      </p:pic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40664" y="5979216"/>
            <a:ext cx="5080000" cy="6076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0000"/>
              </a:lnSpc>
              <a:buFontTx/>
              <a:buNone/>
              <a:defRPr sz="1800" b="1">
                <a:solidFill>
                  <a:srgbClr val="909399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>
              <a:defRPr>
                <a:solidFill>
                  <a:srgbClr val="909399"/>
                </a:solidFill>
              </a:defRPr>
            </a:lvl2pPr>
            <a:lvl3pPr>
              <a:defRPr>
                <a:solidFill>
                  <a:srgbClr val="909399"/>
                </a:solidFill>
              </a:defRPr>
            </a:lvl3pPr>
            <a:lvl4pPr>
              <a:defRPr>
                <a:solidFill>
                  <a:srgbClr val="909399"/>
                </a:solidFill>
              </a:defRPr>
            </a:lvl4pPr>
            <a:lvl5pPr>
              <a:defRPr>
                <a:solidFill>
                  <a:srgbClr val="909399"/>
                </a:solidFill>
              </a:defRPr>
            </a:lvl5pPr>
          </a:lstStyle>
          <a:p>
            <a:pPr lvl="0"/>
            <a:r>
              <a:rPr lang="en-GB" noProof="0"/>
              <a:t>For the date</a:t>
            </a:r>
          </a:p>
          <a:p>
            <a:pPr lvl="0"/>
            <a:r>
              <a:rPr lang="en-GB" noProof="0"/>
              <a:t>And the presenter</a:t>
            </a:r>
          </a:p>
        </p:txBody>
      </p:sp>
    </p:spTree>
    <p:extLst>
      <p:ext uri="{BB962C8B-B14F-4D97-AF65-F5344CB8AC3E}">
        <p14:creationId xmlns:p14="http://schemas.microsoft.com/office/powerpoint/2010/main" val="15758823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1"/>
          </p:nvPr>
        </p:nvSpPr>
        <p:spPr>
          <a:xfrm>
            <a:off x="770603" y="1048718"/>
            <a:ext cx="4900227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/>
          </p:nvPr>
        </p:nvSpPr>
        <p:spPr>
          <a:xfrm>
            <a:off x="6498416" y="1048718"/>
            <a:ext cx="4900227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86368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008258"/>
            <a:ext cx="10033000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2193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Brand 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90852" y="3519441"/>
            <a:ext cx="8412784" cy="1210595"/>
          </a:xfrm>
          <a:solidFill>
            <a:schemeClr val="bg1"/>
          </a:solidFill>
        </p:spPr>
        <p:txBody>
          <a:bodyPr lIns="0" anchor="b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6500" baseline="0">
                <a:solidFill>
                  <a:schemeClr val="accent5"/>
                </a:solidFill>
                <a:latin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10730" y="4978512"/>
            <a:ext cx="8392906" cy="730105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700"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0098157" y="6241774"/>
            <a:ext cx="1938130" cy="526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" name="Rectangle 2"/>
          <p:cNvSpPr/>
          <p:nvPr userDrawn="1"/>
        </p:nvSpPr>
        <p:spPr>
          <a:xfrm>
            <a:off x="8898903" y="3836709"/>
            <a:ext cx="3293097" cy="3021291"/>
          </a:xfrm>
          <a:prstGeom prst="rect">
            <a:avLst/>
          </a:prstGeom>
          <a:blipFill>
            <a:blip r:embed="rId2"/>
            <a:srcRect/>
            <a:stretch>
              <a:fillRect l="16602" t="2057" r="-48726" b="-5200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959680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14744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79050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solidFill>
                  <a:schemeClr val="tx1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38275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/>
          <p:cNvSpPr>
            <a:spLocks noGrp="1"/>
          </p:cNvSpPr>
          <p:nvPr>
            <p:ph type="pic" sz="quarter" idx="11"/>
          </p:nvPr>
        </p:nvSpPr>
        <p:spPr>
          <a:xfrm>
            <a:off x="283464" y="997527"/>
            <a:ext cx="11612880" cy="4756728"/>
          </a:xfrm>
        </p:spPr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78715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5043340" y="0"/>
            <a:ext cx="7148660" cy="6858000"/>
          </a:xfrm>
          <a:prstGeom prst="rect">
            <a:avLst/>
          </a:prstGeom>
          <a:blipFill dpi="0" rotWithShape="1">
            <a:blip r:embed="rId2"/>
            <a:srcRect/>
            <a:stretch>
              <a:fillRect l="-2769" t="-14845" r="-44516" b="-3243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48844" y="1669981"/>
            <a:ext cx="10033000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13640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b Title and 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quarter" idx="11"/>
          </p:nvPr>
        </p:nvSpPr>
        <p:spPr>
          <a:xfrm>
            <a:off x="748844" y="1676786"/>
            <a:ext cx="10033000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80208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681278"/>
            <a:ext cx="10033000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21570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accent2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40663" y="757382"/>
            <a:ext cx="6703846" cy="5314234"/>
          </a:xfrm>
          <a:prstGeom prst="rect">
            <a:avLst/>
          </a:prstGeom>
          <a:noFill/>
        </p:spPr>
        <p:txBody>
          <a:bodyPr anchor="b" anchorCtr="0">
            <a:noAutofit/>
          </a:bodyPr>
          <a:lstStyle>
            <a:lvl1pPr>
              <a:defRPr sz="100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/>
          <a:srcRect l="-1" t="21226" r="73105" b="6810"/>
          <a:stretch/>
        </p:blipFill>
        <p:spPr>
          <a:xfrm>
            <a:off x="7749308" y="0"/>
            <a:ext cx="44426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253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Subtitle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/>
          </p:nvPr>
        </p:nvSpPr>
        <p:spPr>
          <a:xfrm>
            <a:off x="750046" y="1694774"/>
            <a:ext cx="4900227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2"/>
          </p:nvPr>
        </p:nvSpPr>
        <p:spPr>
          <a:xfrm>
            <a:off x="6445491" y="1694774"/>
            <a:ext cx="4900227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28922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1"/>
          </p:nvPr>
        </p:nvSpPr>
        <p:spPr>
          <a:xfrm>
            <a:off x="770603" y="1048718"/>
            <a:ext cx="4900227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/>
          </p:nvPr>
        </p:nvSpPr>
        <p:spPr>
          <a:xfrm>
            <a:off x="6498416" y="1048718"/>
            <a:ext cx="4900227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92246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008258"/>
            <a:ext cx="10033000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36549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Brand 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90852" y="3519441"/>
            <a:ext cx="8412784" cy="1210595"/>
          </a:xfrm>
          <a:solidFill>
            <a:schemeClr val="bg1"/>
          </a:solidFill>
        </p:spPr>
        <p:txBody>
          <a:bodyPr lIns="0" anchor="b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6500" baseline="0">
                <a:solidFill>
                  <a:schemeClr val="accent5"/>
                </a:solidFill>
                <a:latin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10730" y="4978512"/>
            <a:ext cx="8392906" cy="730105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700"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0098157" y="6241774"/>
            <a:ext cx="1938130" cy="526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" name="Rectangle 2"/>
          <p:cNvSpPr/>
          <p:nvPr userDrawn="1"/>
        </p:nvSpPr>
        <p:spPr>
          <a:xfrm>
            <a:off x="8898903" y="3836709"/>
            <a:ext cx="3293097" cy="3021291"/>
          </a:xfrm>
          <a:prstGeom prst="rect">
            <a:avLst/>
          </a:prstGeom>
          <a:blipFill>
            <a:blip r:embed="rId2"/>
            <a:srcRect/>
            <a:stretch>
              <a:fillRect l="16602" t="2057" r="-48726" b="-5200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0882433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5401559" y="0"/>
            <a:ext cx="6790441" cy="6858000"/>
          </a:xfrm>
          <a:prstGeom prst="rect">
            <a:avLst/>
          </a:prstGeom>
          <a:blipFill>
            <a:blip r:embed="rId2"/>
            <a:srcRect/>
            <a:stretch>
              <a:fillRect l="14854" t="-41386" r="-93842" b="-6175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1155" y="5856866"/>
            <a:ext cx="2961494" cy="56272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6499" y="1105853"/>
            <a:ext cx="6875463" cy="1230023"/>
          </a:xfrm>
          <a:prstGeom prst="rect">
            <a:avLst/>
          </a:prstGeom>
        </p:spPr>
        <p:txBody>
          <a:bodyPr anchor="b"/>
          <a:lstStyle>
            <a:lvl1pPr marL="0" indent="0">
              <a:buFontTx/>
              <a:buNone/>
              <a:defRPr sz="3600">
                <a:solidFill>
                  <a:srgbClr val="575D6B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>
                <a:solidFill>
                  <a:srgbClr val="575D6B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2pPr>
            <a:lvl3pPr marL="914400" indent="0">
              <a:buFontTx/>
              <a:buNone/>
              <a:defRPr>
                <a:solidFill>
                  <a:srgbClr val="575D6B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3pPr>
            <a:lvl4pPr marL="1371600" indent="0">
              <a:buFontTx/>
              <a:buNone/>
              <a:defRPr>
                <a:solidFill>
                  <a:srgbClr val="575D6B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4pPr>
            <a:lvl5pPr marL="1828800" indent="0">
              <a:buFontTx/>
              <a:buNone/>
              <a:defRPr>
                <a:solidFill>
                  <a:srgbClr val="575D6B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06413" y="2746320"/>
            <a:ext cx="5080000" cy="25303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70000"/>
              </a:lnSpc>
              <a:buFontTx/>
              <a:buNone/>
              <a:defRPr sz="1800" b="1">
                <a:solidFill>
                  <a:srgbClr val="909399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>
              <a:defRPr>
                <a:solidFill>
                  <a:srgbClr val="909399"/>
                </a:solidFill>
              </a:defRPr>
            </a:lvl2pPr>
            <a:lvl3pPr>
              <a:defRPr>
                <a:solidFill>
                  <a:srgbClr val="909399"/>
                </a:solidFill>
              </a:defRPr>
            </a:lvl3pPr>
            <a:lvl4pPr>
              <a:defRPr>
                <a:solidFill>
                  <a:srgbClr val="909399"/>
                </a:solidFill>
              </a:defRPr>
            </a:lvl4pPr>
            <a:lvl5pPr>
              <a:defRPr>
                <a:solidFill>
                  <a:srgbClr val="909399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23203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7663992" y="0"/>
            <a:ext cx="4528008" cy="4128940"/>
          </a:xfrm>
          <a:prstGeom prst="rect">
            <a:avLst/>
          </a:prstGeom>
          <a:blipFill>
            <a:blip r:embed="rId2"/>
            <a:srcRect/>
            <a:stretch>
              <a:fillRect l="-73247" t="-376914" r="-73715" b="182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740664" y="2612356"/>
            <a:ext cx="7773749" cy="2446824"/>
          </a:xfrm>
          <a:prstGeom prst="rect">
            <a:avLst/>
          </a:prstGeom>
          <a:noFill/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8500" baseline="0">
                <a:solidFill>
                  <a:srgbClr val="575D6B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53320" y="5961798"/>
            <a:ext cx="2961494" cy="562725"/>
          </a:xfrm>
          <a:prstGeom prst="rect">
            <a:avLst/>
          </a:prstGeom>
        </p:spPr>
      </p:pic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40664" y="5979216"/>
            <a:ext cx="5080000" cy="6076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0000"/>
              </a:lnSpc>
              <a:buFontTx/>
              <a:buNone/>
              <a:defRPr sz="1800" b="1">
                <a:solidFill>
                  <a:srgbClr val="909399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>
              <a:defRPr>
                <a:solidFill>
                  <a:srgbClr val="909399"/>
                </a:solidFill>
              </a:defRPr>
            </a:lvl2pPr>
            <a:lvl3pPr>
              <a:defRPr>
                <a:solidFill>
                  <a:srgbClr val="909399"/>
                </a:solidFill>
              </a:defRPr>
            </a:lvl3pPr>
            <a:lvl4pPr>
              <a:defRPr>
                <a:solidFill>
                  <a:srgbClr val="909399"/>
                </a:solidFill>
              </a:defRPr>
            </a:lvl4pPr>
            <a:lvl5pPr>
              <a:defRPr>
                <a:solidFill>
                  <a:srgbClr val="909399"/>
                </a:solidFill>
              </a:defRPr>
            </a:lvl5pPr>
          </a:lstStyle>
          <a:p>
            <a:pPr lvl="0"/>
            <a:r>
              <a:rPr lang="en-GB" noProof="0"/>
              <a:t>For the date</a:t>
            </a:r>
          </a:p>
          <a:p>
            <a:pPr lvl="0"/>
            <a:r>
              <a:rPr lang="en-GB" noProof="0"/>
              <a:t>And the presenter</a:t>
            </a:r>
          </a:p>
        </p:txBody>
      </p:sp>
    </p:spTree>
    <p:extLst>
      <p:ext uri="{BB962C8B-B14F-4D97-AF65-F5344CB8AC3E}">
        <p14:creationId xmlns:p14="http://schemas.microsoft.com/office/powerpoint/2010/main" val="17882401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accent2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40663" y="757382"/>
            <a:ext cx="6703846" cy="5314234"/>
          </a:xfrm>
          <a:prstGeom prst="rect">
            <a:avLst/>
          </a:prstGeom>
          <a:noFill/>
        </p:spPr>
        <p:txBody>
          <a:bodyPr anchor="b" anchorCtr="0">
            <a:noAutofit/>
          </a:bodyPr>
          <a:lstStyle>
            <a:lvl1pPr>
              <a:defRPr sz="100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/>
          <a:srcRect l="-1" t="21226" r="73105" b="6810"/>
          <a:stretch/>
        </p:blipFill>
        <p:spPr>
          <a:xfrm>
            <a:off x="7749308" y="0"/>
            <a:ext cx="44426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883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/>
          <a:srcRect t="79375" r="21866"/>
          <a:stretch/>
        </p:blipFill>
        <p:spPr>
          <a:xfrm>
            <a:off x="2753139" y="0"/>
            <a:ext cx="9438861" cy="4292551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740664" y="1005205"/>
            <a:ext cx="8384863" cy="5066411"/>
          </a:xfrm>
          <a:prstGeom prst="rect">
            <a:avLst/>
          </a:prstGeom>
          <a:noFill/>
        </p:spPr>
        <p:txBody>
          <a:bodyPr anchor="t" anchorCtr="0">
            <a:noAutofit/>
          </a:bodyPr>
          <a:lstStyle>
            <a:lvl1pPr>
              <a:defRPr sz="10000" baseline="0">
                <a:solidFill>
                  <a:srgbClr val="575D6B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018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tx2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40663" y="757382"/>
            <a:ext cx="6703846" cy="5314234"/>
          </a:xfrm>
          <a:prstGeom prst="rect">
            <a:avLst/>
          </a:prstGeom>
          <a:noFill/>
        </p:spPr>
        <p:txBody>
          <a:bodyPr anchor="b" anchorCtr="0">
            <a:noAutofit/>
          </a:bodyPr>
          <a:lstStyle>
            <a:lvl1pPr>
              <a:defRPr sz="100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6212264" y="0"/>
            <a:ext cx="5979736" cy="6858000"/>
          </a:xfrm>
          <a:prstGeom prst="rect">
            <a:avLst/>
          </a:prstGeom>
          <a:blipFill>
            <a:blip r:embed="rId2"/>
            <a:srcRect/>
            <a:stretch>
              <a:fillRect l="12453" t="-104659" r="-75166" b="-465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1844" y="226577"/>
            <a:ext cx="1146868" cy="33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9349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740664" y="548641"/>
            <a:ext cx="6999409" cy="4096512"/>
          </a:xfrm>
          <a:prstGeom prst="rect">
            <a:avLst/>
          </a:prstGeom>
          <a:noFill/>
        </p:spPr>
        <p:txBody>
          <a:bodyPr anchor="b" anchorCtr="0">
            <a:noAutofit/>
          </a:bodyPr>
          <a:lstStyle>
            <a:lvl1pPr>
              <a:defRPr sz="6000" baseline="0">
                <a:solidFill>
                  <a:srgbClr val="FF9900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740664" y="4973241"/>
            <a:ext cx="6999409" cy="1161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20000"/>
              </a:lnSpc>
              <a:buNone/>
              <a:defRPr sz="2000" baseline="0">
                <a:solidFill>
                  <a:srgbClr val="575D6B"/>
                </a:solidFill>
                <a:latin typeface="Arial Rounded MT 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5693790" y="0"/>
            <a:ext cx="6498210" cy="6858000"/>
          </a:xfrm>
          <a:prstGeom prst="rect">
            <a:avLst/>
          </a:prstGeom>
          <a:blipFill>
            <a:blip r:embed="rId3"/>
            <a:srcRect/>
            <a:stretch>
              <a:fillRect l="17263" t="-72723" r="-70195" b="-460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581091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/>
          <a:srcRect t="79375" r="21866"/>
          <a:stretch/>
        </p:blipFill>
        <p:spPr>
          <a:xfrm>
            <a:off x="2753139" y="0"/>
            <a:ext cx="9438861" cy="4292551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740664" y="1005205"/>
            <a:ext cx="8384863" cy="5066411"/>
          </a:xfrm>
          <a:prstGeom prst="rect">
            <a:avLst/>
          </a:prstGeom>
          <a:noFill/>
        </p:spPr>
        <p:txBody>
          <a:bodyPr anchor="t" anchorCtr="0">
            <a:noAutofit/>
          </a:bodyPr>
          <a:lstStyle>
            <a:lvl1pPr>
              <a:defRPr sz="10000" baseline="0">
                <a:solidFill>
                  <a:srgbClr val="575D6B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3174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740664" y="548641"/>
            <a:ext cx="6999409" cy="4096512"/>
          </a:xfrm>
          <a:prstGeom prst="rect">
            <a:avLst/>
          </a:prstGeom>
          <a:noFill/>
        </p:spPr>
        <p:txBody>
          <a:bodyPr anchor="b" anchorCtr="0">
            <a:noAutofit/>
          </a:bodyPr>
          <a:lstStyle>
            <a:lvl1pPr>
              <a:defRPr sz="6000" baseline="0">
                <a:solidFill>
                  <a:schemeClr val="accent3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740664" y="4973241"/>
            <a:ext cx="6999409" cy="1161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20000"/>
              </a:lnSpc>
              <a:buNone/>
              <a:defRPr sz="2000" baseline="0">
                <a:solidFill>
                  <a:schemeClr val="tx1"/>
                </a:solidFill>
                <a:latin typeface="Arial Rounded MT 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7211505" y="0"/>
            <a:ext cx="4980495" cy="6858000"/>
          </a:xfrm>
          <a:prstGeom prst="rect">
            <a:avLst/>
          </a:prstGeom>
          <a:blipFill>
            <a:blip r:embed="rId3"/>
            <a:srcRect/>
            <a:stretch>
              <a:fillRect l="8172" t="-21301" r="-35200" b="1053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9469411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740664" y="1915317"/>
            <a:ext cx="7773749" cy="992579"/>
          </a:xfrm>
          <a:prstGeom prst="rect">
            <a:avLst/>
          </a:prstGeom>
          <a:noFill/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6500" baseline="0">
                <a:solidFill>
                  <a:srgbClr val="575D6B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/>
          <a:srcRect t="79571" r="29014" b="1"/>
          <a:stretch/>
        </p:blipFill>
        <p:spPr>
          <a:xfrm>
            <a:off x="4732667" y="0"/>
            <a:ext cx="7459334" cy="3721466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40664" y="3113829"/>
            <a:ext cx="5080000" cy="2062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1800" b="1">
                <a:solidFill>
                  <a:srgbClr val="909399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>
              <a:defRPr>
                <a:solidFill>
                  <a:srgbClr val="909399"/>
                </a:solidFill>
              </a:defRPr>
            </a:lvl2pPr>
            <a:lvl3pPr>
              <a:defRPr>
                <a:solidFill>
                  <a:srgbClr val="909399"/>
                </a:solidFill>
              </a:defRPr>
            </a:lvl3pPr>
            <a:lvl4pPr>
              <a:defRPr>
                <a:solidFill>
                  <a:srgbClr val="909399"/>
                </a:solidFill>
              </a:defRPr>
            </a:lvl4pPr>
            <a:lvl5pPr>
              <a:defRPr>
                <a:solidFill>
                  <a:srgbClr val="90939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664" y="5651695"/>
            <a:ext cx="2961494" cy="56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300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Ques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43663" y="870285"/>
            <a:ext cx="3353315" cy="505537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5137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Ques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98169" y="0"/>
            <a:ext cx="4237996" cy="38837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708233" y="498921"/>
            <a:ext cx="3814580" cy="577966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0664" y="5651695"/>
            <a:ext cx="2961494" cy="562725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4824" y="2603597"/>
            <a:ext cx="5042208" cy="1902754"/>
          </a:xfrm>
          <a:prstGeom prst="rect">
            <a:avLst/>
          </a:prstGeom>
          <a:noFill/>
          <a:ln>
            <a:noFill/>
          </a:ln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6500" baseline="0"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Any </a:t>
            </a:r>
            <a:br>
              <a:rPr lang="en-GB" noProof="0"/>
            </a:br>
            <a:r>
              <a:rPr lang="en-GB" noProof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0991585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bg2">
                  <a:lumMod val="90000"/>
                </a:schemeClr>
              </a:solidFill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6148252" y="901288"/>
            <a:ext cx="5236640" cy="1754326"/>
          </a:xfrm>
          <a:prstGeom prst="rect">
            <a:avLst/>
          </a:prstGeom>
          <a:noFill/>
        </p:spPr>
        <p:txBody>
          <a:bodyPr wrap="square" anchor="b" anchorCtr="0">
            <a:noAutofit/>
          </a:bodyPr>
          <a:lstStyle>
            <a:lvl1pPr>
              <a:lnSpc>
                <a:spcPct val="90000"/>
              </a:lnSpc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/>
          <a:srcRect l="46236" b="60195"/>
          <a:stretch/>
        </p:blipFill>
        <p:spPr>
          <a:xfrm>
            <a:off x="-1" y="1114197"/>
            <a:ext cx="4475109" cy="5743803"/>
          </a:xfrm>
          <a:prstGeom prst="rect">
            <a:avLst/>
          </a:prstGeom>
        </p:spPr>
      </p:pic>
      <p:sp>
        <p:nvSpPr>
          <p:cNvPr id="6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096000" y="2945379"/>
            <a:ext cx="5288892" cy="25158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1800" b="1">
                <a:solidFill>
                  <a:schemeClr val="bg1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>
              <a:defRPr>
                <a:solidFill>
                  <a:srgbClr val="909399"/>
                </a:solidFill>
              </a:defRPr>
            </a:lvl2pPr>
            <a:lvl3pPr>
              <a:defRPr>
                <a:solidFill>
                  <a:srgbClr val="909399"/>
                </a:solidFill>
              </a:defRPr>
            </a:lvl3pPr>
            <a:lvl4pPr>
              <a:defRPr>
                <a:solidFill>
                  <a:srgbClr val="909399"/>
                </a:solidFill>
              </a:defRPr>
            </a:lvl4pPr>
            <a:lvl5pPr>
              <a:defRPr>
                <a:solidFill>
                  <a:srgbClr val="909399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92106" y="5792693"/>
            <a:ext cx="3186563" cy="603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0165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0" y="6617691"/>
            <a:ext cx="365336" cy="24688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265F6-E2D8-47B1-BCC0-75AAFE2248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62628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43278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b Title and 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498588"/>
            <a:ext cx="10033000" cy="45447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0" y="6617691"/>
            <a:ext cx="365336" cy="24688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265F6-E2D8-47B1-BCC0-75AAFE2248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752995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1245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1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00658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tx2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40663" y="757382"/>
            <a:ext cx="6703846" cy="5314234"/>
          </a:xfrm>
          <a:prstGeom prst="rect">
            <a:avLst/>
          </a:prstGeom>
          <a:noFill/>
        </p:spPr>
        <p:txBody>
          <a:bodyPr anchor="b" anchorCtr="0">
            <a:noAutofit/>
          </a:bodyPr>
          <a:lstStyle>
            <a:lvl1pPr>
              <a:defRPr sz="100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6212264" y="0"/>
            <a:ext cx="5979736" cy="6858000"/>
          </a:xfrm>
          <a:prstGeom prst="rect">
            <a:avLst/>
          </a:prstGeom>
          <a:blipFill>
            <a:blip r:embed="rId2"/>
            <a:srcRect/>
            <a:stretch>
              <a:fillRect l="12453" t="-104659" r="-75166" b="-465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1844" y="226577"/>
            <a:ext cx="1146868" cy="33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3895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10258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solidFill>
                  <a:schemeClr val="tx1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66630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/>
          <p:cNvSpPr>
            <a:spLocks noGrp="1"/>
          </p:cNvSpPr>
          <p:nvPr>
            <p:ph type="pic" sz="quarter" idx="11"/>
          </p:nvPr>
        </p:nvSpPr>
        <p:spPr>
          <a:xfrm>
            <a:off x="283464" y="997527"/>
            <a:ext cx="11612880" cy="4756728"/>
          </a:xfrm>
        </p:spPr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01976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5043340" y="0"/>
            <a:ext cx="7148660" cy="6858000"/>
          </a:xfrm>
          <a:prstGeom prst="rect">
            <a:avLst/>
          </a:prstGeom>
          <a:blipFill dpi="0" rotWithShape="1">
            <a:blip r:embed="rId2"/>
            <a:srcRect/>
            <a:stretch>
              <a:fillRect l="-2769" t="-14845" r="-44516" b="-3243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48844" y="1669981"/>
            <a:ext cx="10033000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602695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b Title and 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quarter" idx="11"/>
          </p:nvPr>
        </p:nvSpPr>
        <p:spPr>
          <a:xfrm>
            <a:off x="748844" y="1676786"/>
            <a:ext cx="10033000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52357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681278"/>
            <a:ext cx="10033000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896379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Subtitle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/>
          </p:nvPr>
        </p:nvSpPr>
        <p:spPr>
          <a:xfrm>
            <a:off x="750046" y="1694774"/>
            <a:ext cx="4900227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2"/>
          </p:nvPr>
        </p:nvSpPr>
        <p:spPr>
          <a:xfrm>
            <a:off x="6445491" y="1694774"/>
            <a:ext cx="4900227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71364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1"/>
          </p:nvPr>
        </p:nvSpPr>
        <p:spPr>
          <a:xfrm>
            <a:off x="770603" y="1048718"/>
            <a:ext cx="4900227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/>
          </p:nvPr>
        </p:nvSpPr>
        <p:spPr>
          <a:xfrm>
            <a:off x="6498416" y="1048718"/>
            <a:ext cx="4900227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68507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008258"/>
            <a:ext cx="10033000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94945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Brand 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90852" y="3519441"/>
            <a:ext cx="8412784" cy="1210595"/>
          </a:xfrm>
          <a:solidFill>
            <a:schemeClr val="bg1"/>
          </a:solidFill>
        </p:spPr>
        <p:txBody>
          <a:bodyPr lIns="0" anchor="b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6500" baseline="0">
                <a:solidFill>
                  <a:schemeClr val="accent5"/>
                </a:solidFill>
                <a:latin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10730" y="4978512"/>
            <a:ext cx="8392906" cy="730105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700"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0098157" y="6241774"/>
            <a:ext cx="1938130" cy="526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" name="Rectangle 2"/>
          <p:cNvSpPr/>
          <p:nvPr userDrawn="1"/>
        </p:nvSpPr>
        <p:spPr>
          <a:xfrm>
            <a:off x="8898903" y="3836709"/>
            <a:ext cx="3293097" cy="3021291"/>
          </a:xfrm>
          <a:prstGeom prst="rect">
            <a:avLst/>
          </a:prstGeom>
          <a:blipFill>
            <a:blip r:embed="rId2"/>
            <a:srcRect/>
            <a:stretch>
              <a:fillRect l="16602" t="2057" r="-48726" b="-5200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6454708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740664" y="548641"/>
            <a:ext cx="6999409" cy="4096512"/>
          </a:xfrm>
          <a:prstGeom prst="rect">
            <a:avLst/>
          </a:prstGeom>
          <a:noFill/>
        </p:spPr>
        <p:txBody>
          <a:bodyPr anchor="b" anchorCtr="0">
            <a:noAutofit/>
          </a:bodyPr>
          <a:lstStyle>
            <a:lvl1pPr>
              <a:defRPr sz="6000" baseline="0">
                <a:solidFill>
                  <a:srgbClr val="FF9900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740664" y="4973241"/>
            <a:ext cx="6999409" cy="1161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20000"/>
              </a:lnSpc>
              <a:buNone/>
              <a:defRPr sz="2000" baseline="0">
                <a:solidFill>
                  <a:srgbClr val="575D6B"/>
                </a:solidFill>
                <a:latin typeface="Arial Rounded MT 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5693790" y="0"/>
            <a:ext cx="6498210" cy="6858000"/>
          </a:xfrm>
          <a:prstGeom prst="rect">
            <a:avLst/>
          </a:prstGeom>
          <a:blipFill>
            <a:blip r:embed="rId3"/>
            <a:srcRect/>
            <a:stretch>
              <a:fillRect l="17263" t="-72723" r="-70195" b="-460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0527259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018436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399847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solidFill>
                  <a:schemeClr val="tx1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013403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/>
          <p:cNvSpPr>
            <a:spLocks noGrp="1"/>
          </p:cNvSpPr>
          <p:nvPr>
            <p:ph type="pic" sz="quarter" idx="11"/>
          </p:nvPr>
        </p:nvSpPr>
        <p:spPr>
          <a:xfrm>
            <a:off x="283464" y="997527"/>
            <a:ext cx="11612880" cy="4756728"/>
          </a:xfrm>
        </p:spPr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977801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5043340" y="0"/>
            <a:ext cx="7148660" cy="6858000"/>
          </a:xfrm>
          <a:prstGeom prst="rect">
            <a:avLst/>
          </a:prstGeom>
          <a:blipFill dpi="0" rotWithShape="1">
            <a:blip r:embed="rId2"/>
            <a:srcRect/>
            <a:stretch>
              <a:fillRect l="-2769" t="-14845" r="-44516" b="-3243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48844" y="1669981"/>
            <a:ext cx="10033000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23877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b Title and 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quarter" idx="11"/>
          </p:nvPr>
        </p:nvSpPr>
        <p:spPr>
          <a:xfrm>
            <a:off x="748844" y="1676786"/>
            <a:ext cx="10033000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695119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681278"/>
            <a:ext cx="10033000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728398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Subtitle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/>
          </p:nvPr>
        </p:nvSpPr>
        <p:spPr>
          <a:xfrm>
            <a:off x="750046" y="1694774"/>
            <a:ext cx="4900227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2"/>
          </p:nvPr>
        </p:nvSpPr>
        <p:spPr>
          <a:xfrm>
            <a:off x="6445491" y="1694774"/>
            <a:ext cx="4900227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61185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1"/>
          </p:nvPr>
        </p:nvSpPr>
        <p:spPr>
          <a:xfrm>
            <a:off x="770603" y="1048718"/>
            <a:ext cx="4900227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/>
          </p:nvPr>
        </p:nvSpPr>
        <p:spPr>
          <a:xfrm>
            <a:off x="6498416" y="1048718"/>
            <a:ext cx="4900227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578554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008258"/>
            <a:ext cx="10033000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43638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740664" y="548641"/>
            <a:ext cx="6999409" cy="4096512"/>
          </a:xfrm>
          <a:prstGeom prst="rect">
            <a:avLst/>
          </a:prstGeom>
          <a:noFill/>
        </p:spPr>
        <p:txBody>
          <a:bodyPr anchor="b" anchorCtr="0">
            <a:noAutofit/>
          </a:bodyPr>
          <a:lstStyle>
            <a:lvl1pPr>
              <a:defRPr sz="6000" baseline="0">
                <a:solidFill>
                  <a:schemeClr val="accent3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740664" y="4973241"/>
            <a:ext cx="6999409" cy="1161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20000"/>
              </a:lnSpc>
              <a:buNone/>
              <a:defRPr sz="2000" baseline="0">
                <a:solidFill>
                  <a:schemeClr val="tx1"/>
                </a:solidFill>
                <a:latin typeface="Arial Rounded MT 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7211505" y="0"/>
            <a:ext cx="4980495" cy="6858000"/>
          </a:xfrm>
          <a:prstGeom prst="rect">
            <a:avLst/>
          </a:prstGeom>
          <a:blipFill>
            <a:blip r:embed="rId3"/>
            <a:srcRect/>
            <a:stretch>
              <a:fillRect l="8172" t="-21301" r="-35200" b="1053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393230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Brand 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90852" y="3519441"/>
            <a:ext cx="8412784" cy="1210595"/>
          </a:xfrm>
          <a:solidFill>
            <a:schemeClr val="bg1"/>
          </a:solidFill>
        </p:spPr>
        <p:txBody>
          <a:bodyPr lIns="0" anchor="b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6500" baseline="0">
                <a:solidFill>
                  <a:schemeClr val="accent5"/>
                </a:solidFill>
                <a:latin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10730" y="4978512"/>
            <a:ext cx="8392906" cy="730105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700"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0098157" y="6241774"/>
            <a:ext cx="1938130" cy="526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" name="Rectangle 2"/>
          <p:cNvSpPr/>
          <p:nvPr userDrawn="1"/>
        </p:nvSpPr>
        <p:spPr>
          <a:xfrm>
            <a:off x="8898903" y="3836709"/>
            <a:ext cx="3293097" cy="3021291"/>
          </a:xfrm>
          <a:prstGeom prst="rect">
            <a:avLst/>
          </a:prstGeom>
          <a:blipFill>
            <a:blip r:embed="rId2"/>
            <a:srcRect/>
            <a:stretch>
              <a:fillRect l="16602" t="2057" r="-48726" b="-5200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9296116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5401559" y="0"/>
            <a:ext cx="6790441" cy="6858000"/>
          </a:xfrm>
          <a:prstGeom prst="rect">
            <a:avLst/>
          </a:prstGeom>
          <a:blipFill>
            <a:blip r:embed="rId2"/>
            <a:srcRect/>
            <a:stretch>
              <a:fillRect l="14854" t="-41386" r="-93842" b="-6175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1155" y="5856866"/>
            <a:ext cx="2961494" cy="56272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6499" y="1105853"/>
            <a:ext cx="6875463" cy="1230023"/>
          </a:xfrm>
          <a:prstGeom prst="rect">
            <a:avLst/>
          </a:prstGeom>
        </p:spPr>
        <p:txBody>
          <a:bodyPr anchor="b"/>
          <a:lstStyle>
            <a:lvl1pPr marL="0" indent="0">
              <a:buFontTx/>
              <a:buNone/>
              <a:defRPr sz="3600">
                <a:solidFill>
                  <a:srgbClr val="575D6B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>
                <a:solidFill>
                  <a:srgbClr val="575D6B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2pPr>
            <a:lvl3pPr marL="914400" indent="0">
              <a:buFontTx/>
              <a:buNone/>
              <a:defRPr>
                <a:solidFill>
                  <a:srgbClr val="575D6B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3pPr>
            <a:lvl4pPr marL="1371600" indent="0">
              <a:buFontTx/>
              <a:buNone/>
              <a:defRPr>
                <a:solidFill>
                  <a:srgbClr val="575D6B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4pPr>
            <a:lvl5pPr marL="1828800" indent="0">
              <a:buFontTx/>
              <a:buNone/>
              <a:defRPr>
                <a:solidFill>
                  <a:srgbClr val="575D6B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06413" y="2746320"/>
            <a:ext cx="5080000" cy="25303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70000"/>
              </a:lnSpc>
              <a:buFontTx/>
              <a:buNone/>
              <a:defRPr sz="1800" b="1">
                <a:solidFill>
                  <a:srgbClr val="909399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>
              <a:defRPr>
                <a:solidFill>
                  <a:srgbClr val="909399"/>
                </a:solidFill>
              </a:defRPr>
            </a:lvl2pPr>
            <a:lvl3pPr>
              <a:defRPr>
                <a:solidFill>
                  <a:srgbClr val="909399"/>
                </a:solidFill>
              </a:defRPr>
            </a:lvl3pPr>
            <a:lvl4pPr>
              <a:defRPr>
                <a:solidFill>
                  <a:srgbClr val="909399"/>
                </a:solidFill>
              </a:defRPr>
            </a:lvl4pPr>
            <a:lvl5pPr>
              <a:defRPr>
                <a:solidFill>
                  <a:srgbClr val="909399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067990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ight plain s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3841673" y="1915317"/>
            <a:ext cx="7773749" cy="992579"/>
          </a:xfrm>
          <a:prstGeom prst="rect">
            <a:avLst/>
          </a:prstGeom>
          <a:noFill/>
        </p:spPr>
        <p:txBody>
          <a:bodyPr anchor="b" anchorCtr="0">
            <a:noAutofit/>
          </a:bodyPr>
          <a:lstStyle>
            <a:lvl1pPr algn="r">
              <a:lnSpc>
                <a:spcPct val="90000"/>
              </a:lnSpc>
              <a:defRPr sz="6500" baseline="0">
                <a:solidFill>
                  <a:srgbClr val="575D6B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535422" y="3113829"/>
            <a:ext cx="5080000" cy="2062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10000"/>
              </a:lnSpc>
              <a:buFontTx/>
              <a:buNone/>
              <a:defRPr sz="1800" b="1">
                <a:solidFill>
                  <a:srgbClr val="909399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>
              <a:defRPr>
                <a:solidFill>
                  <a:srgbClr val="909399"/>
                </a:solidFill>
              </a:defRPr>
            </a:lvl2pPr>
            <a:lvl3pPr>
              <a:defRPr>
                <a:solidFill>
                  <a:srgbClr val="909399"/>
                </a:solidFill>
              </a:defRPr>
            </a:lvl3pPr>
            <a:lvl4pPr>
              <a:defRPr>
                <a:solidFill>
                  <a:srgbClr val="909399"/>
                </a:solidFill>
              </a:defRPr>
            </a:lvl4pPr>
            <a:lvl5pPr>
              <a:defRPr>
                <a:solidFill>
                  <a:srgbClr val="90939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1900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eft plain side - no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0DAA80E-56A6-BA4B-B65F-429E3B4E8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0664" y="1915317"/>
            <a:ext cx="7773749" cy="992579"/>
          </a:xfrm>
          <a:prstGeom prst="rect">
            <a:avLst/>
          </a:prstGeom>
          <a:noFill/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6500" baseline="0">
                <a:solidFill>
                  <a:srgbClr val="575D6B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376C7D20-ECC7-4346-A056-DAE291281A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0664" y="3113829"/>
            <a:ext cx="5080000" cy="2062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1800" b="1">
                <a:solidFill>
                  <a:srgbClr val="909399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>
              <a:defRPr>
                <a:solidFill>
                  <a:srgbClr val="909399"/>
                </a:solidFill>
              </a:defRPr>
            </a:lvl2pPr>
            <a:lvl3pPr>
              <a:defRPr>
                <a:solidFill>
                  <a:srgbClr val="909399"/>
                </a:solidFill>
              </a:defRPr>
            </a:lvl3pPr>
            <a:lvl4pPr>
              <a:defRPr>
                <a:solidFill>
                  <a:srgbClr val="909399"/>
                </a:solidFill>
              </a:defRPr>
            </a:lvl4pPr>
            <a:lvl5pPr>
              <a:defRPr>
                <a:solidFill>
                  <a:srgbClr val="90939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42894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750407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905219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solidFill>
                  <a:schemeClr val="tx1"/>
                </a:solidFill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851893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/>
          <p:cNvSpPr>
            <a:spLocks noGrp="1"/>
          </p:cNvSpPr>
          <p:nvPr>
            <p:ph type="pic" sz="quarter" idx="11"/>
          </p:nvPr>
        </p:nvSpPr>
        <p:spPr>
          <a:xfrm>
            <a:off x="283464" y="997527"/>
            <a:ext cx="11612880" cy="4756728"/>
          </a:xfrm>
        </p:spPr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094368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5043340" y="0"/>
            <a:ext cx="7148660" cy="6858000"/>
          </a:xfrm>
          <a:prstGeom prst="rect">
            <a:avLst/>
          </a:prstGeom>
          <a:blipFill dpi="0" rotWithShape="1">
            <a:blip r:embed="rId2"/>
            <a:srcRect/>
            <a:stretch>
              <a:fillRect l="-2769" t="-14845" r="-44516" b="-3243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48844" y="1669981"/>
            <a:ext cx="10033000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241214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b Title and 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quarter" idx="11"/>
          </p:nvPr>
        </p:nvSpPr>
        <p:spPr>
          <a:xfrm>
            <a:off x="748844" y="1676786"/>
            <a:ext cx="10033000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23892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740664" y="1915317"/>
            <a:ext cx="7773749" cy="992579"/>
          </a:xfrm>
          <a:prstGeom prst="rect">
            <a:avLst/>
          </a:prstGeom>
          <a:noFill/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6500" baseline="0">
                <a:solidFill>
                  <a:srgbClr val="575D6B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/>
          <a:srcRect t="79571" r="29014" b="1"/>
          <a:stretch/>
        </p:blipFill>
        <p:spPr>
          <a:xfrm>
            <a:off x="4732667" y="0"/>
            <a:ext cx="7459334" cy="3721466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40664" y="3113829"/>
            <a:ext cx="5080000" cy="2062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1800" b="1">
                <a:solidFill>
                  <a:srgbClr val="909399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>
              <a:defRPr>
                <a:solidFill>
                  <a:srgbClr val="909399"/>
                </a:solidFill>
              </a:defRPr>
            </a:lvl2pPr>
            <a:lvl3pPr>
              <a:defRPr>
                <a:solidFill>
                  <a:srgbClr val="909399"/>
                </a:solidFill>
              </a:defRPr>
            </a:lvl3pPr>
            <a:lvl4pPr>
              <a:defRPr>
                <a:solidFill>
                  <a:srgbClr val="909399"/>
                </a:solidFill>
              </a:defRPr>
            </a:lvl4pPr>
            <a:lvl5pPr>
              <a:defRPr>
                <a:solidFill>
                  <a:srgbClr val="90939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664" y="5651695"/>
            <a:ext cx="2961494" cy="56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2309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681278"/>
            <a:ext cx="10033000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12987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Subtitle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/>
          </p:nvPr>
        </p:nvSpPr>
        <p:spPr>
          <a:xfrm>
            <a:off x="750046" y="1694774"/>
            <a:ext cx="4900227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2"/>
          </p:nvPr>
        </p:nvSpPr>
        <p:spPr>
          <a:xfrm>
            <a:off x="6445491" y="1694774"/>
            <a:ext cx="4900227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583318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1"/>
          </p:nvPr>
        </p:nvSpPr>
        <p:spPr>
          <a:xfrm>
            <a:off x="770603" y="1048718"/>
            <a:ext cx="4900227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/>
          </p:nvPr>
        </p:nvSpPr>
        <p:spPr>
          <a:xfrm>
            <a:off x="6498416" y="1048718"/>
            <a:ext cx="4900227" cy="4544702"/>
          </a:xfrm>
        </p:spPr>
        <p:txBody>
          <a:bodyPr/>
          <a:lstStyle>
            <a:lvl1pPr marL="184150" indent="-184150">
              <a:buFont typeface="Arial" charset="0"/>
              <a:buChar char="•"/>
              <a:defRPr/>
            </a:lvl1pPr>
            <a:lvl2pPr marL="623888" indent="-166688">
              <a:buClr>
                <a:srgbClr val="575D6B"/>
              </a:buClr>
              <a:buFont typeface="Arial" charset="0"/>
              <a:buChar char="•"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698852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008258"/>
            <a:ext cx="10033000" cy="4544702"/>
          </a:xfrm>
        </p:spPr>
        <p:txBody>
          <a:bodyPr/>
          <a:lstStyle>
            <a:lvl1pPr marL="184150" indent="-184150">
              <a:lnSpc>
                <a:spcPct val="100000"/>
              </a:lnSpc>
              <a:buFont typeface="Arial" charset="0"/>
              <a:buChar char="•"/>
              <a:defRPr/>
            </a:lvl1pPr>
            <a:lvl2pPr marL="623888" indent="-166688">
              <a:lnSpc>
                <a:spcPct val="100000"/>
              </a:lnSpc>
              <a:buClr>
                <a:srgbClr val="575D6B"/>
              </a:buClr>
              <a:buFont typeface="Arial" charset="0"/>
              <a:buChar char="•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67345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Brand 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90852" y="3519441"/>
            <a:ext cx="8412784" cy="1210595"/>
          </a:xfrm>
          <a:solidFill>
            <a:schemeClr val="bg1"/>
          </a:solidFill>
        </p:spPr>
        <p:txBody>
          <a:bodyPr lIns="0" anchor="b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6500" baseline="0">
                <a:solidFill>
                  <a:schemeClr val="accent5"/>
                </a:solidFill>
                <a:latin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10730" y="4978512"/>
            <a:ext cx="8392906" cy="730105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700"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0098157" y="6241774"/>
            <a:ext cx="1938130" cy="526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" name="Rectangle 2"/>
          <p:cNvSpPr/>
          <p:nvPr userDrawn="1"/>
        </p:nvSpPr>
        <p:spPr>
          <a:xfrm>
            <a:off x="8898903" y="3836709"/>
            <a:ext cx="3293097" cy="3021291"/>
          </a:xfrm>
          <a:prstGeom prst="rect">
            <a:avLst/>
          </a:prstGeom>
          <a:blipFill>
            <a:blip r:embed="rId2"/>
            <a:srcRect/>
            <a:stretch>
              <a:fillRect l="16602" t="2057" r="-48726" b="-5200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0316881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/>
          <a:srcRect t="79375" r="21866"/>
          <a:stretch/>
        </p:blipFill>
        <p:spPr>
          <a:xfrm>
            <a:off x="2753139" y="0"/>
            <a:ext cx="9438861" cy="4292551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740664" y="1005205"/>
            <a:ext cx="8384863" cy="5066411"/>
          </a:xfrm>
          <a:prstGeom prst="rect">
            <a:avLst/>
          </a:prstGeom>
          <a:noFill/>
        </p:spPr>
        <p:txBody>
          <a:bodyPr anchor="t" anchorCtr="0">
            <a:noAutofit/>
          </a:bodyPr>
          <a:lstStyle>
            <a:lvl1pPr>
              <a:defRPr sz="10000" baseline="0">
                <a:solidFill>
                  <a:srgbClr val="575D6B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8773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40135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377268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8175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/>
          <p:cNvSpPr>
            <a:spLocks noGrp="1"/>
          </p:cNvSpPr>
          <p:nvPr>
            <p:ph type="pic" sz="quarter" idx="11"/>
          </p:nvPr>
        </p:nvSpPr>
        <p:spPr>
          <a:xfrm>
            <a:off x="283464" y="997527"/>
            <a:ext cx="11612880" cy="4756728"/>
          </a:xfrm>
        </p:spPr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61521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Ques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43663" y="870285"/>
            <a:ext cx="3353315" cy="505537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848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5043340" y="0"/>
            <a:ext cx="7148660" cy="6858000"/>
          </a:xfrm>
          <a:prstGeom prst="rect">
            <a:avLst/>
          </a:prstGeom>
          <a:blipFill dpi="0" rotWithShape="1">
            <a:blip r:embed="rId2"/>
            <a:srcRect/>
            <a:stretch>
              <a:fillRect l="-2769" t="-14845" r="-44516" b="-3243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498588"/>
            <a:ext cx="10033000" cy="45447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654875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b Title and 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498588"/>
            <a:ext cx="10033000" cy="45447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167876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735525" y="983368"/>
            <a:ext cx="8721725" cy="730105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1700"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713473"/>
            <a:ext cx="10033000" cy="4544702"/>
          </a:xfrm>
        </p:spPr>
        <p:txBody>
          <a:bodyPr/>
          <a:lstStyle>
            <a:lvl2pPr>
              <a:buClr>
                <a:srgbClr val="575D6B"/>
              </a:buClr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4275519"/>
      </p:ext>
    </p:extLst>
  </p:cSld>
  <p:clrMapOvr>
    <a:masterClrMapping/>
  </p:clrMapOvr>
  <p:hf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Subtitle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824408" y="1612484"/>
            <a:ext cx="4903066" cy="4469534"/>
          </a:xfrm>
        </p:spPr>
        <p:txBody>
          <a:bodyPr lIns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1700"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361608" y="1612484"/>
            <a:ext cx="4612120" cy="4469534"/>
          </a:xfrm>
        </p:spPr>
        <p:txBody>
          <a:bodyPr lIns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1700"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20878" y="972973"/>
            <a:ext cx="10033353" cy="396679"/>
          </a:xfrm>
        </p:spPr>
        <p:txBody>
          <a:bodyPr lIns="0" anchor="t" anchorCtr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000" b="1" i="0" baseline="0">
                <a:latin typeface="Arial Rounded MT Bold" charset="0"/>
                <a:ea typeface="Arial Rounded MT Bold" charset="0"/>
                <a:cs typeface="Arial Rounded MT Bold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680779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824408" y="1034827"/>
            <a:ext cx="4903066" cy="5089136"/>
          </a:xfrm>
        </p:spPr>
        <p:txBody>
          <a:bodyPr lIns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1700"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361608" y="1034827"/>
            <a:ext cx="4612120" cy="5089136"/>
          </a:xfrm>
        </p:spPr>
        <p:txBody>
          <a:bodyPr lIns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1700"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09026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F6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1"/>
          </p:nvPr>
        </p:nvSpPr>
        <p:spPr>
          <a:xfrm>
            <a:off x="738235" y="1008258"/>
            <a:ext cx="10033000" cy="4544702"/>
          </a:xfrm>
        </p:spPr>
        <p:txBody>
          <a:bodyPr/>
          <a:lstStyle>
            <a:lvl2pPr>
              <a:buClr>
                <a:srgbClr val="575D6B"/>
              </a:buClr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374458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 Colou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Our </a:t>
            </a:r>
            <a:r>
              <a:rPr lang="en-US" err="1"/>
              <a:t>Colours</a:t>
            </a:r>
            <a:endParaRPr lang="en-US"/>
          </a:p>
        </p:txBody>
      </p:sp>
      <p:sp>
        <p:nvSpPr>
          <p:cNvPr id="7" name="Rounded Rectangle 6"/>
          <p:cNvSpPr/>
          <p:nvPr userDrawn="1"/>
        </p:nvSpPr>
        <p:spPr>
          <a:xfrm>
            <a:off x="4599432" y="2469882"/>
            <a:ext cx="612648" cy="61264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/>
          <p:cNvSpPr/>
          <p:nvPr userDrawn="1"/>
        </p:nvSpPr>
        <p:spPr>
          <a:xfrm>
            <a:off x="5536692" y="2469882"/>
            <a:ext cx="612648" cy="612648"/>
          </a:xfrm>
          <a:prstGeom prst="roundRect">
            <a:avLst/>
          </a:prstGeom>
          <a:solidFill>
            <a:srgbClr val="597A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 userDrawn="1"/>
        </p:nvSpPr>
        <p:spPr>
          <a:xfrm>
            <a:off x="6473952" y="2469882"/>
            <a:ext cx="612648" cy="612648"/>
          </a:xfrm>
          <a:prstGeom prst="roundRect">
            <a:avLst/>
          </a:prstGeom>
          <a:solidFill>
            <a:srgbClr val="40D3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 userDrawn="1"/>
        </p:nvSpPr>
        <p:spPr>
          <a:xfrm>
            <a:off x="7411212" y="2469882"/>
            <a:ext cx="612648" cy="612648"/>
          </a:xfrm>
          <a:prstGeom prst="round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 userDrawn="1"/>
        </p:nvSpPr>
        <p:spPr>
          <a:xfrm>
            <a:off x="8348472" y="2469882"/>
            <a:ext cx="612648" cy="612648"/>
          </a:xfrm>
          <a:prstGeom prst="roundRect">
            <a:avLst/>
          </a:prstGeom>
          <a:solidFill>
            <a:srgbClr val="B45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 userDrawn="1"/>
        </p:nvSpPr>
        <p:spPr>
          <a:xfrm>
            <a:off x="9285732" y="2469882"/>
            <a:ext cx="612648" cy="612648"/>
          </a:xfrm>
          <a:prstGeom prst="roundRect">
            <a:avLst/>
          </a:prstGeom>
          <a:solidFill>
            <a:srgbClr val="F2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987552" y="1803703"/>
            <a:ext cx="33375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aseline="0">
                <a:solidFill>
                  <a:srgbClr val="575D6B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ain </a:t>
            </a:r>
            <a:r>
              <a:rPr lang="en-US" sz="1600" baseline="0" err="1">
                <a:solidFill>
                  <a:srgbClr val="575D6B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colours</a:t>
            </a:r>
            <a:r>
              <a:rPr lang="en-US" sz="1600" baseline="0">
                <a:solidFill>
                  <a:srgbClr val="575D6B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 with tint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526280" y="1803703"/>
            <a:ext cx="4421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aseline="0">
                <a:solidFill>
                  <a:srgbClr val="575D6B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Supporting </a:t>
            </a:r>
            <a:r>
              <a:rPr lang="en-US" sz="1600" baseline="0" err="1">
                <a:solidFill>
                  <a:srgbClr val="575D6B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colours</a:t>
            </a:r>
            <a:r>
              <a:rPr lang="en-US" sz="1600" baseline="0">
                <a:solidFill>
                  <a:srgbClr val="575D6B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 with tints</a:t>
            </a:r>
          </a:p>
        </p:txBody>
      </p:sp>
      <p:sp>
        <p:nvSpPr>
          <p:cNvPr id="17" name="Rounded Rectangle 16"/>
          <p:cNvSpPr/>
          <p:nvPr userDrawn="1"/>
        </p:nvSpPr>
        <p:spPr>
          <a:xfrm>
            <a:off x="4599432" y="3488436"/>
            <a:ext cx="352044" cy="352044"/>
          </a:xfrm>
          <a:prstGeom prst="roundRect">
            <a:avLst/>
          </a:prstGeom>
          <a:solidFill>
            <a:srgbClr val="78CE41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/>
          <p:cNvSpPr/>
          <p:nvPr userDrawn="1"/>
        </p:nvSpPr>
        <p:spPr>
          <a:xfrm>
            <a:off x="5536692" y="3488436"/>
            <a:ext cx="352044" cy="352044"/>
          </a:xfrm>
          <a:prstGeom prst="roundRect">
            <a:avLst/>
          </a:prstGeom>
          <a:solidFill>
            <a:srgbClr val="597AE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ounded Rectangle 18"/>
          <p:cNvSpPr/>
          <p:nvPr userDrawn="1"/>
        </p:nvSpPr>
        <p:spPr>
          <a:xfrm>
            <a:off x="6473952" y="3488436"/>
            <a:ext cx="352044" cy="352044"/>
          </a:xfrm>
          <a:prstGeom prst="roundRect">
            <a:avLst/>
          </a:prstGeom>
          <a:solidFill>
            <a:srgbClr val="40D3C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/>
          <p:cNvSpPr/>
          <p:nvPr userDrawn="1"/>
        </p:nvSpPr>
        <p:spPr>
          <a:xfrm>
            <a:off x="7411212" y="3488436"/>
            <a:ext cx="352044" cy="352044"/>
          </a:xfrm>
          <a:prstGeom prst="roundRect">
            <a:avLst/>
          </a:prstGeom>
          <a:solidFill>
            <a:srgbClr val="FF99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20"/>
          <p:cNvSpPr/>
          <p:nvPr userDrawn="1"/>
        </p:nvSpPr>
        <p:spPr>
          <a:xfrm>
            <a:off x="8348472" y="3488436"/>
            <a:ext cx="352044" cy="352044"/>
          </a:xfrm>
          <a:prstGeom prst="roundRect">
            <a:avLst/>
          </a:prstGeom>
          <a:solidFill>
            <a:srgbClr val="B450D8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/>
          <p:cNvSpPr/>
          <p:nvPr userDrawn="1"/>
        </p:nvSpPr>
        <p:spPr>
          <a:xfrm>
            <a:off x="9285732" y="3488436"/>
            <a:ext cx="352044" cy="352044"/>
          </a:xfrm>
          <a:prstGeom prst="roundRect">
            <a:avLst/>
          </a:prstGeom>
          <a:solidFill>
            <a:srgbClr val="F23B3B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 userDrawn="1"/>
        </p:nvSpPr>
        <p:spPr>
          <a:xfrm>
            <a:off x="1099566" y="2469882"/>
            <a:ext cx="612648" cy="612648"/>
          </a:xfrm>
          <a:prstGeom prst="roundRect">
            <a:avLst/>
          </a:prstGeom>
          <a:solidFill>
            <a:srgbClr val="575D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ounded Rectangle 25"/>
          <p:cNvSpPr/>
          <p:nvPr userDrawn="1"/>
        </p:nvSpPr>
        <p:spPr>
          <a:xfrm>
            <a:off x="2036826" y="2469882"/>
            <a:ext cx="612648" cy="612648"/>
          </a:xfrm>
          <a:prstGeom prst="roundRect">
            <a:avLst/>
          </a:prstGeom>
          <a:solidFill>
            <a:srgbClr val="EB2E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ounded Rectangle 26"/>
          <p:cNvSpPr/>
          <p:nvPr userDrawn="1"/>
        </p:nvSpPr>
        <p:spPr>
          <a:xfrm>
            <a:off x="1099566" y="3488436"/>
            <a:ext cx="352044" cy="352044"/>
          </a:xfrm>
          <a:prstGeom prst="roundRect">
            <a:avLst/>
          </a:prstGeom>
          <a:solidFill>
            <a:srgbClr val="575D6B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ounded Rectangle 27"/>
          <p:cNvSpPr/>
          <p:nvPr userDrawn="1"/>
        </p:nvSpPr>
        <p:spPr>
          <a:xfrm>
            <a:off x="2036826" y="3488436"/>
            <a:ext cx="352044" cy="352044"/>
          </a:xfrm>
          <a:prstGeom prst="roundRect">
            <a:avLst/>
          </a:prstGeom>
          <a:solidFill>
            <a:srgbClr val="EB2E63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ounded Rectangle 28"/>
          <p:cNvSpPr/>
          <p:nvPr userDrawn="1"/>
        </p:nvSpPr>
        <p:spPr>
          <a:xfrm>
            <a:off x="4599432" y="4164090"/>
            <a:ext cx="352044" cy="352044"/>
          </a:xfrm>
          <a:prstGeom prst="roundRect">
            <a:avLst/>
          </a:prstGeom>
          <a:solidFill>
            <a:srgbClr val="78CE4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ounded Rectangle 29"/>
          <p:cNvSpPr/>
          <p:nvPr userDrawn="1"/>
        </p:nvSpPr>
        <p:spPr>
          <a:xfrm>
            <a:off x="5536692" y="4164090"/>
            <a:ext cx="352044" cy="352044"/>
          </a:xfrm>
          <a:prstGeom prst="roundRect">
            <a:avLst/>
          </a:prstGeom>
          <a:solidFill>
            <a:srgbClr val="597AE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ounded Rectangle 30"/>
          <p:cNvSpPr/>
          <p:nvPr userDrawn="1"/>
        </p:nvSpPr>
        <p:spPr>
          <a:xfrm>
            <a:off x="6473952" y="4164090"/>
            <a:ext cx="352044" cy="352044"/>
          </a:xfrm>
          <a:prstGeom prst="roundRect">
            <a:avLst/>
          </a:prstGeom>
          <a:solidFill>
            <a:srgbClr val="40D3C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ounded Rectangle 31"/>
          <p:cNvSpPr/>
          <p:nvPr userDrawn="1"/>
        </p:nvSpPr>
        <p:spPr>
          <a:xfrm>
            <a:off x="7411212" y="4164090"/>
            <a:ext cx="352044" cy="352044"/>
          </a:xfrm>
          <a:prstGeom prst="roundRect">
            <a:avLst/>
          </a:prstGeom>
          <a:solidFill>
            <a:srgbClr val="FF99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 userDrawn="1"/>
        </p:nvSpPr>
        <p:spPr>
          <a:xfrm>
            <a:off x="8348472" y="4164090"/>
            <a:ext cx="352044" cy="352044"/>
          </a:xfrm>
          <a:prstGeom prst="roundRect">
            <a:avLst/>
          </a:prstGeom>
          <a:solidFill>
            <a:srgbClr val="B450D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ounded Rectangle 33"/>
          <p:cNvSpPr/>
          <p:nvPr userDrawn="1"/>
        </p:nvSpPr>
        <p:spPr>
          <a:xfrm>
            <a:off x="9285732" y="4164090"/>
            <a:ext cx="352044" cy="352044"/>
          </a:xfrm>
          <a:prstGeom prst="roundRect">
            <a:avLst/>
          </a:prstGeom>
          <a:solidFill>
            <a:srgbClr val="F23B3B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ounded Rectangle 34"/>
          <p:cNvSpPr/>
          <p:nvPr userDrawn="1"/>
        </p:nvSpPr>
        <p:spPr>
          <a:xfrm>
            <a:off x="1099566" y="4164090"/>
            <a:ext cx="352044" cy="352044"/>
          </a:xfrm>
          <a:prstGeom prst="roundRect">
            <a:avLst/>
          </a:prstGeom>
          <a:solidFill>
            <a:srgbClr val="575D6B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 userDrawn="1"/>
        </p:nvSpPr>
        <p:spPr>
          <a:xfrm>
            <a:off x="2036826" y="4164090"/>
            <a:ext cx="352044" cy="352044"/>
          </a:xfrm>
          <a:prstGeom prst="roundRect">
            <a:avLst/>
          </a:prstGeom>
          <a:solidFill>
            <a:srgbClr val="EB2E63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45877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3DB8A9-0518-4D5D-98A2-A19E22E3C4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B34C6EF-E37B-48B3-B1B5-D21B617605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F12E50-F273-4F6B-9543-2662B0EBC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308BC-8B46-4975-A143-E58E2544FFE8}" type="datetimeFigureOut">
              <a:rPr lang="en-US" smtClean="0"/>
              <a:t>12/1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C2ABFC-5C3E-40CD-BB3E-6E485C915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C77440-6E3C-43A4-B4DB-1288C410F9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F96E9-BDD7-4191-8333-25BDB7C31B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51569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052759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0798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6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image" Target="../media/image6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theme" Target="../theme/theme8.xml"/><Relationship Id="rId18" Type="http://schemas.openxmlformats.org/officeDocument/2006/relationships/image" Target="../media/image6.emf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image" Target="../media/image16.emf"/><Relationship Id="rId2" Type="http://schemas.openxmlformats.org/officeDocument/2006/relationships/slideLayout" Target="../slideLayouts/slideLayout87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vmlDrawing" Target="../drawings/vmlDrawing1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83464" y="365125"/>
            <a:ext cx="11612880" cy="723011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GB" noProof="0"/>
              <a:t>Sections</a:t>
            </a:r>
          </a:p>
        </p:txBody>
      </p:sp>
    </p:spTree>
    <p:extLst>
      <p:ext uri="{BB962C8B-B14F-4D97-AF65-F5344CB8AC3E}">
        <p14:creationId xmlns:p14="http://schemas.microsoft.com/office/powerpoint/2010/main" val="1032367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Arial Rounded MT Bold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3464" y="1039853"/>
            <a:ext cx="10515600" cy="30624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857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2"/>
          </a:solidFill>
          <a:latin typeface="Arial Rounded MT Bold" charset="0"/>
          <a:ea typeface="+mj-ea"/>
          <a:cs typeface="+mj-cs"/>
        </a:defRPr>
      </a:lvl1pPr>
    </p:titleStyle>
    <p:bodyStyle>
      <a:lvl1pPr marL="184150" indent="-184150" algn="l" defTabSz="914400" rtl="0" eaLnBrk="1" latinLnBrk="0" hangingPunct="1">
        <a:lnSpc>
          <a:spcPct val="100000"/>
        </a:lnSpc>
        <a:spcBef>
          <a:spcPts val="1000"/>
        </a:spcBef>
        <a:buClr>
          <a:schemeClr val="tx2"/>
        </a:buClr>
        <a:buSzPct val="100000"/>
        <a:buFont typeface="Arial" charset="0"/>
        <a:buChar char="•"/>
        <a:tabLst/>
        <a:defRPr sz="17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1pPr>
      <a:lvl2pPr marL="623888" indent="-166688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90000"/>
        <a:buFont typeface="Arial" charset="0"/>
        <a:buChar char="•"/>
        <a:tabLst/>
        <a:defRPr sz="15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2pPr>
      <a:lvl3pPr marL="1071563" indent="-157163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3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3pPr>
      <a:lvl4pPr marL="1558925" indent="-187325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2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4pPr>
      <a:lvl5pPr marL="2000250" indent="-171450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1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3464" y="1039853"/>
            <a:ext cx="10515600" cy="30624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66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2"/>
          </a:solidFill>
          <a:latin typeface="Arial Rounded MT Bold" charset="0"/>
          <a:ea typeface="+mj-ea"/>
          <a:cs typeface="+mj-cs"/>
        </a:defRPr>
      </a:lvl1pPr>
    </p:titleStyle>
    <p:bodyStyle>
      <a:lvl1pPr marL="184150" indent="-184150" algn="l" defTabSz="914400" rtl="0" eaLnBrk="1" latinLnBrk="0" hangingPunct="1">
        <a:lnSpc>
          <a:spcPct val="100000"/>
        </a:lnSpc>
        <a:spcBef>
          <a:spcPts val="1000"/>
        </a:spcBef>
        <a:buClr>
          <a:schemeClr val="tx2"/>
        </a:buClr>
        <a:buSzPct val="100000"/>
        <a:buFont typeface="Arial" charset="0"/>
        <a:buChar char="•"/>
        <a:tabLst/>
        <a:defRPr sz="17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1pPr>
      <a:lvl2pPr marL="623888" indent="-166688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90000"/>
        <a:buFont typeface="Arial" charset="0"/>
        <a:buChar char="•"/>
        <a:tabLst/>
        <a:defRPr sz="15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2pPr>
      <a:lvl3pPr marL="1071563" indent="-157163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3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3pPr>
      <a:lvl4pPr marL="1558925" indent="-187325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2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4pPr>
      <a:lvl5pPr marL="2000250" indent="-171450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1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83464" y="365125"/>
            <a:ext cx="11612880" cy="723011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GB" noProof="0"/>
              <a:t>Sections</a:t>
            </a:r>
          </a:p>
        </p:txBody>
      </p:sp>
    </p:spTree>
    <p:extLst>
      <p:ext uri="{BB962C8B-B14F-4D97-AF65-F5344CB8AC3E}">
        <p14:creationId xmlns:p14="http://schemas.microsoft.com/office/powerpoint/2010/main" val="339496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42" r:id="rId12"/>
    <p:sldLayoutId id="2147483743" r:id="rId13"/>
    <p:sldLayoutId id="214748374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Arial Rounded MT Bold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3464" y="1039853"/>
            <a:ext cx="10515600" cy="30624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671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2"/>
          </a:solidFill>
          <a:latin typeface="Arial Rounded MT Bold" charset="0"/>
          <a:ea typeface="+mj-ea"/>
          <a:cs typeface="+mj-cs"/>
        </a:defRPr>
      </a:lvl1pPr>
    </p:titleStyle>
    <p:bodyStyle>
      <a:lvl1pPr marL="184150" indent="-184150" algn="l" defTabSz="914400" rtl="0" eaLnBrk="1" latinLnBrk="0" hangingPunct="1">
        <a:lnSpc>
          <a:spcPct val="100000"/>
        </a:lnSpc>
        <a:spcBef>
          <a:spcPts val="1000"/>
        </a:spcBef>
        <a:buClr>
          <a:schemeClr val="tx2"/>
        </a:buClr>
        <a:buSzPct val="100000"/>
        <a:buFont typeface="Arial" charset="0"/>
        <a:buChar char="•"/>
        <a:tabLst/>
        <a:defRPr sz="17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1pPr>
      <a:lvl2pPr marL="623888" indent="-166688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90000"/>
        <a:buFont typeface="Arial" charset="0"/>
        <a:buChar char="•"/>
        <a:tabLst/>
        <a:defRPr sz="15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2pPr>
      <a:lvl3pPr marL="1071563" indent="-157163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3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3pPr>
      <a:lvl4pPr marL="1558925" indent="-187325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2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4pPr>
      <a:lvl5pPr marL="2000250" indent="-171450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1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3464" y="1039853"/>
            <a:ext cx="10515600" cy="30624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947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2"/>
          </a:solidFill>
          <a:latin typeface="Arial Rounded MT Bold" charset="0"/>
          <a:ea typeface="+mj-ea"/>
          <a:cs typeface="+mj-cs"/>
        </a:defRPr>
      </a:lvl1pPr>
    </p:titleStyle>
    <p:bodyStyle>
      <a:lvl1pPr marL="184150" indent="-184150" algn="l" defTabSz="914400" rtl="0" eaLnBrk="1" latinLnBrk="0" hangingPunct="1">
        <a:lnSpc>
          <a:spcPct val="100000"/>
        </a:lnSpc>
        <a:spcBef>
          <a:spcPts val="1000"/>
        </a:spcBef>
        <a:buClr>
          <a:schemeClr val="tx2"/>
        </a:buClr>
        <a:buSzPct val="100000"/>
        <a:buFont typeface="Arial" charset="0"/>
        <a:buChar char="•"/>
        <a:tabLst/>
        <a:defRPr sz="17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1pPr>
      <a:lvl2pPr marL="623888" indent="-166688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90000"/>
        <a:buFont typeface="Arial" charset="0"/>
        <a:buChar char="•"/>
        <a:tabLst/>
        <a:defRPr sz="15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2pPr>
      <a:lvl3pPr marL="1071563" indent="-157163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3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3pPr>
      <a:lvl4pPr marL="1558925" indent="-187325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2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4pPr>
      <a:lvl5pPr marL="2000250" indent="-171450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1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3464" y="1039853"/>
            <a:ext cx="10515600" cy="30624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427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2"/>
          </a:solidFill>
          <a:latin typeface="Arial Rounded MT Bold" charset="0"/>
          <a:ea typeface="+mj-ea"/>
          <a:cs typeface="+mj-cs"/>
        </a:defRPr>
      </a:lvl1pPr>
    </p:titleStyle>
    <p:bodyStyle>
      <a:lvl1pPr marL="184150" indent="-184150" algn="l" defTabSz="914400" rtl="0" eaLnBrk="1" latinLnBrk="0" hangingPunct="1">
        <a:lnSpc>
          <a:spcPct val="100000"/>
        </a:lnSpc>
        <a:spcBef>
          <a:spcPts val="1000"/>
        </a:spcBef>
        <a:buClr>
          <a:schemeClr val="tx2"/>
        </a:buClr>
        <a:buSzPct val="100000"/>
        <a:buFont typeface="Arial" charset="0"/>
        <a:buChar char="•"/>
        <a:tabLst/>
        <a:defRPr sz="17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1pPr>
      <a:lvl2pPr marL="623888" indent="-166688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90000"/>
        <a:buFont typeface="Arial" charset="0"/>
        <a:buChar char="•"/>
        <a:tabLst/>
        <a:defRPr sz="15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2pPr>
      <a:lvl3pPr marL="1071563" indent="-157163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3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3pPr>
      <a:lvl4pPr marL="1558925" indent="-187325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2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4pPr>
      <a:lvl5pPr marL="2000250" indent="-171450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1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353" imgH="353" progId="TCLayout.ActiveDocument.1">
                  <p:embed/>
                </p:oleObj>
              </mc:Choice>
              <mc:Fallback>
                <p:oleObj name="think-cell Slide" r:id="rId16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3464" y="1039853"/>
            <a:ext cx="10515600" cy="30624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346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rgbClr val="EB2E63"/>
          </a:solidFill>
          <a:latin typeface="Arial Rounded MT Bold" charset="0"/>
          <a:ea typeface="+mj-ea"/>
          <a:cs typeface="+mj-cs"/>
        </a:defRPr>
      </a:lvl1pPr>
    </p:titleStyle>
    <p:bodyStyle>
      <a:lvl1pPr marL="184150" indent="-18415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Wingdings" charset="2"/>
        <a:buChar char="§"/>
        <a:tabLst/>
        <a:defRPr sz="1700" b="0" kern="1200" baseline="0">
          <a:solidFill>
            <a:srgbClr val="575D6B"/>
          </a:solidFill>
          <a:latin typeface="Franklin Gothic Book" charset="0"/>
          <a:ea typeface="Franklin Gothic Book" charset="0"/>
          <a:cs typeface="Franklin Gothic Book" charset="0"/>
        </a:defRPr>
      </a:lvl1pPr>
      <a:lvl2pPr marL="623888" indent="-166688" algn="l" defTabSz="914400" rtl="0" eaLnBrk="1" latinLnBrk="0" hangingPunct="1">
        <a:lnSpc>
          <a:spcPct val="90000"/>
        </a:lnSpc>
        <a:spcBef>
          <a:spcPts val="500"/>
        </a:spcBef>
        <a:buClr>
          <a:srgbClr val="575D6B"/>
        </a:buClr>
        <a:buSzPct val="90000"/>
        <a:buFont typeface="Wingdings" charset="2"/>
        <a:buChar char="§"/>
        <a:tabLst/>
        <a:defRPr sz="1500" b="0" kern="1200" baseline="0">
          <a:solidFill>
            <a:srgbClr val="575D6B"/>
          </a:solidFill>
          <a:latin typeface="Franklin Gothic Book" charset="0"/>
          <a:ea typeface="Franklin Gothic Book" charset="0"/>
          <a:cs typeface="Franklin Gothic Book" charset="0"/>
        </a:defRPr>
      </a:lvl2pPr>
      <a:lvl3pPr marL="1071563" indent="-157163" algn="l" defTabSz="914400" rtl="0" eaLnBrk="1" latinLnBrk="0" hangingPunct="1">
        <a:lnSpc>
          <a:spcPct val="9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300" b="0" kern="1200" baseline="0">
          <a:solidFill>
            <a:srgbClr val="575D6B"/>
          </a:solidFill>
          <a:latin typeface="Franklin Gothic Book" charset="0"/>
          <a:ea typeface="Franklin Gothic Book" charset="0"/>
          <a:cs typeface="Franklin Gothic Book" charset="0"/>
        </a:defRPr>
      </a:lvl3pPr>
      <a:lvl4pPr marL="1558925" indent="-187325" algn="l" defTabSz="914400" rtl="0" eaLnBrk="1" latinLnBrk="0" hangingPunct="1">
        <a:lnSpc>
          <a:spcPct val="9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200" b="0" kern="1200" baseline="0">
          <a:solidFill>
            <a:srgbClr val="575D6B"/>
          </a:solidFill>
          <a:latin typeface="Franklin Gothic Book" charset="0"/>
          <a:ea typeface="Franklin Gothic Book" charset="0"/>
          <a:cs typeface="Franklin Gothic Book" charset="0"/>
        </a:defRPr>
      </a:lvl4pPr>
      <a:lvl5pPr marL="2000250" indent="-171450" algn="l" defTabSz="914400" rtl="0" eaLnBrk="1" latinLnBrk="0" hangingPunct="1">
        <a:lnSpc>
          <a:spcPct val="9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100" b="0" kern="1200" baseline="0">
          <a:solidFill>
            <a:srgbClr val="575D6B"/>
          </a:solidFill>
          <a:latin typeface="Franklin Gothic Book" charset="0"/>
          <a:ea typeface="Franklin Gothic Book" charset="0"/>
          <a:cs typeface="Franklin Gothic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3464" y="1039853"/>
            <a:ext cx="10515600" cy="30624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781844" y="6311787"/>
            <a:ext cx="1146868" cy="33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949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2"/>
          </a:solidFill>
          <a:latin typeface="Arial Rounded MT Bold" charset="0"/>
          <a:ea typeface="+mj-ea"/>
          <a:cs typeface="+mj-cs"/>
        </a:defRPr>
      </a:lvl1pPr>
    </p:titleStyle>
    <p:bodyStyle>
      <a:lvl1pPr marL="184150" indent="-184150" algn="l" defTabSz="914400" rtl="0" eaLnBrk="1" latinLnBrk="0" hangingPunct="1">
        <a:lnSpc>
          <a:spcPct val="100000"/>
        </a:lnSpc>
        <a:spcBef>
          <a:spcPts val="1000"/>
        </a:spcBef>
        <a:buClr>
          <a:schemeClr val="tx2"/>
        </a:buClr>
        <a:buSzPct val="100000"/>
        <a:buFont typeface="Arial" charset="0"/>
        <a:buChar char="•"/>
        <a:tabLst/>
        <a:defRPr sz="17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1pPr>
      <a:lvl2pPr marL="623888" indent="-166688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90000"/>
        <a:buFont typeface="Arial" charset="0"/>
        <a:buChar char="•"/>
        <a:tabLst/>
        <a:defRPr sz="15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2pPr>
      <a:lvl3pPr marL="1071563" indent="-157163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3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3pPr>
      <a:lvl4pPr marL="1558925" indent="-187325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2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4pPr>
      <a:lvl5pPr marL="2000250" indent="-171450" algn="l" defTabSz="914400" rtl="0" eaLnBrk="1" latinLnBrk="0" hangingPunct="1">
        <a:lnSpc>
          <a:spcPct val="100000"/>
        </a:lnSpc>
        <a:spcBef>
          <a:spcPts val="500"/>
        </a:spcBef>
        <a:buClr>
          <a:srgbClr val="575D6B"/>
        </a:buClr>
        <a:buSzPct val="110000"/>
        <a:buFont typeface="AppleSymbols" charset="0"/>
        <a:buChar char="⎻"/>
        <a:tabLst/>
        <a:defRPr sz="1100" b="0" kern="1200" baseline="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name.name@puzzel.com" TargetMode="External"/><Relationship Id="rId7" Type="http://schemas.openxmlformats.org/officeDocument/2006/relationships/image" Target="../media/image39.png"/><Relationship Id="rId2" Type="http://schemas.openxmlformats.org/officeDocument/2006/relationships/hyperlink" Target="mailto:41915597/kristoffer.Lundnes@puzzel.com" TargetMode="External"/><Relationship Id="rId1" Type="http://schemas.openxmlformats.org/officeDocument/2006/relationships/slideLayout" Target="../slideLayouts/slideLayout44.xml"/><Relationship Id="rId6" Type="http://schemas.openxmlformats.org/officeDocument/2006/relationships/hyperlink" Target="https://twitter.com/Puzzelsolutions" TargetMode="External"/><Relationship Id="rId5" Type="http://schemas.openxmlformats.org/officeDocument/2006/relationships/image" Target="../media/image38.png"/><Relationship Id="rId4" Type="http://schemas.openxmlformats.org/officeDocument/2006/relationships/hyperlink" Target="https://www.linkedin.com/company/puzzel-solving-customer-interactions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kristoffer.Lundnes@puzzel.com" TargetMode="External"/><Relationship Id="rId7" Type="http://schemas.openxmlformats.org/officeDocument/2006/relationships/image" Target="../media/image41.png"/><Relationship Id="rId2" Type="http://schemas.openxmlformats.org/officeDocument/2006/relationships/hyperlink" Target="mailto:41915597/kristoffer.Lundnes@puzzel.com" TargetMode="External"/><Relationship Id="rId1" Type="http://schemas.openxmlformats.org/officeDocument/2006/relationships/slideLayout" Target="../slideLayouts/slideLayout38.xml"/><Relationship Id="rId6" Type="http://schemas.openxmlformats.org/officeDocument/2006/relationships/hyperlink" Target="https://twitter.com/Puzzelsolutions" TargetMode="External"/><Relationship Id="rId5" Type="http://schemas.openxmlformats.org/officeDocument/2006/relationships/image" Target="../media/image40.png"/><Relationship Id="rId4" Type="http://schemas.openxmlformats.org/officeDocument/2006/relationships/hyperlink" Target="https://www.linkedin.com/company/puzzel-solving-customer-interactions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kristoffer.Lundnes@puzzel.com" TargetMode="External"/><Relationship Id="rId7" Type="http://schemas.openxmlformats.org/officeDocument/2006/relationships/image" Target="../media/image39.png"/><Relationship Id="rId2" Type="http://schemas.openxmlformats.org/officeDocument/2006/relationships/hyperlink" Target="mailto:41915597/kristoffer.Lundnes@puzzel.com" TargetMode="External"/><Relationship Id="rId1" Type="http://schemas.openxmlformats.org/officeDocument/2006/relationships/slideLayout" Target="../slideLayouts/slideLayout43.xml"/><Relationship Id="rId6" Type="http://schemas.openxmlformats.org/officeDocument/2006/relationships/hyperlink" Target="https://twitter.com/Puzzelsolutions" TargetMode="External"/><Relationship Id="rId5" Type="http://schemas.openxmlformats.org/officeDocument/2006/relationships/image" Target="../media/image38.png"/><Relationship Id="rId4" Type="http://schemas.openxmlformats.org/officeDocument/2006/relationships/hyperlink" Target="https://www.linkedin.com/company/puzzel-solving-customer-interactions/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3.png"/><Relationship Id="rId7" Type="http://schemas.openxmlformats.org/officeDocument/2006/relationships/hyperlink" Target="http://www.google.com/url?sa=i&amp;rct=j&amp;q=&amp;esrc=s&amp;source=images&amp;cd=&amp;cad=rja&amp;uact=8&amp;ved=0ahUKEwi2xLuH1cDSAhUIslQKHe-fAf0QjRwIBw&amp;url=http://platinumpeoresources.com/&amp;psig=AFQjCNEd_Ao7w5w9V4bBom_KeK2pQ85-8Q&amp;ust=1488847950421653" TargetMode="Externa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3.png"/><Relationship Id="rId7" Type="http://schemas.openxmlformats.org/officeDocument/2006/relationships/hyperlink" Target="http://www.google.com/url?sa=i&amp;rct=j&amp;q=&amp;esrc=s&amp;source=images&amp;cd=&amp;cad=rja&amp;uact=8&amp;ved=0ahUKEwi2xLuH1cDSAhUIslQKHe-fAf0QjRwIBw&amp;url=http://platinumpeoresources.com/&amp;psig=AFQjCNEd_Ao7w5w9V4bBom_KeK2pQ85-8Q&amp;ust=1488847950421653" TargetMode="Externa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Relationship Id="rId9" Type="http://schemas.openxmlformats.org/officeDocument/2006/relationships/image" Target="../media/image4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puzzel.sharepoint.com/:f:/r/sites/HR/Document%20Library/Picture%20Library?csf=1&amp;e=A75mZ5" TargetMode="External"/><Relationship Id="rId1" Type="http://schemas.openxmlformats.org/officeDocument/2006/relationships/slideLayout" Target="../slideLayouts/slideLayout5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7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puzzel.sharepoint.com/:f:/r/sites/HR/Document%20Library/Picture%20Library?csf=1&amp;e=A75mZ5" TargetMode="External"/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6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jpeg"/><Relationship Id="rId3" Type="http://schemas.openxmlformats.org/officeDocument/2006/relationships/image" Target="../media/image62.tiff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65.jpeg"/><Relationship Id="rId5" Type="http://schemas.openxmlformats.org/officeDocument/2006/relationships/image" Target="../media/image64.jpeg"/><Relationship Id="rId10" Type="http://schemas.openxmlformats.org/officeDocument/2006/relationships/image" Target="../media/image61.png"/><Relationship Id="rId4" Type="http://schemas.openxmlformats.org/officeDocument/2006/relationships/image" Target="../media/image63.jpeg"/><Relationship Id="rId9" Type="http://schemas.openxmlformats.org/officeDocument/2006/relationships/image" Target="../media/image67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70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4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4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5.xml"/><Relationship Id="rId6" Type="http://schemas.openxmlformats.org/officeDocument/2006/relationships/image" Target="../media/image76.png"/><Relationship Id="rId11" Type="http://schemas.openxmlformats.org/officeDocument/2006/relationships/image" Target="../media/image81.png"/><Relationship Id="rId5" Type="http://schemas.openxmlformats.org/officeDocument/2006/relationships/image" Target="../media/image75.png"/><Relationship Id="rId10" Type="http://schemas.openxmlformats.org/officeDocument/2006/relationships/image" Target="../media/image80.png"/><Relationship Id="rId4" Type="http://schemas.openxmlformats.org/officeDocument/2006/relationships/image" Target="../media/image74.png"/><Relationship Id="rId9" Type="http://schemas.openxmlformats.org/officeDocument/2006/relationships/image" Target="../media/image7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77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hyperlink" Target="https://puzzel.sharepoint.com/:f:/r/salestoolbox/BrandAssets/Videos/Video%20-%20Introducing%20Puzzel?csf=1&amp;e=tTjzfX" TargetMode="External"/><Relationship Id="rId1" Type="http://schemas.openxmlformats.org/officeDocument/2006/relationships/slideLayout" Target="../slideLayouts/slideLayout7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puzzel.sharepoint.com/:f:/r/sites/HR/Document%20Library/Picture%20Library?csf=1&amp;e=A75mZ5" TargetMode="External"/><Relationship Id="rId1" Type="http://schemas.openxmlformats.org/officeDocument/2006/relationships/slideLayout" Target="../slideLayouts/slideLayout5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5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86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7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91.png"/><Relationship Id="rId11" Type="http://schemas.openxmlformats.org/officeDocument/2006/relationships/image" Target="../media/image96.png"/><Relationship Id="rId5" Type="http://schemas.openxmlformats.org/officeDocument/2006/relationships/image" Target="../media/image90.png"/><Relationship Id="rId10" Type="http://schemas.openxmlformats.org/officeDocument/2006/relationships/image" Target="../media/image95.png"/><Relationship Id="rId4" Type="http://schemas.openxmlformats.org/officeDocument/2006/relationships/image" Target="../media/image89.png"/><Relationship Id="rId9" Type="http://schemas.openxmlformats.org/officeDocument/2006/relationships/image" Target="../media/image94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93.png"/><Relationship Id="rId7" Type="http://schemas.openxmlformats.org/officeDocument/2006/relationships/image" Target="../media/image98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90.png"/><Relationship Id="rId11" Type="http://schemas.openxmlformats.org/officeDocument/2006/relationships/image" Target="../media/image102.png"/><Relationship Id="rId5" Type="http://schemas.openxmlformats.org/officeDocument/2006/relationships/image" Target="../media/image89.png"/><Relationship Id="rId10" Type="http://schemas.openxmlformats.org/officeDocument/2006/relationships/image" Target="../media/image101.png"/><Relationship Id="rId4" Type="http://schemas.openxmlformats.org/officeDocument/2006/relationships/image" Target="../media/image91.png"/><Relationship Id="rId9" Type="http://schemas.openxmlformats.org/officeDocument/2006/relationships/image" Target="../media/image10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75.xml"/><Relationship Id="rId4" Type="http://schemas.openxmlformats.org/officeDocument/2006/relationships/image" Target="../media/image10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Relationship Id="rId9" Type="http://schemas.openxmlformats.org/officeDocument/2006/relationships/image" Target="../media/image24.jpe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13" Type="http://schemas.openxmlformats.org/officeDocument/2006/relationships/image" Target="../media/image116.png"/><Relationship Id="rId3" Type="http://schemas.openxmlformats.org/officeDocument/2006/relationships/image" Target="../media/image106.png"/><Relationship Id="rId7" Type="http://schemas.openxmlformats.org/officeDocument/2006/relationships/image" Target="../media/image110.png"/><Relationship Id="rId12" Type="http://schemas.openxmlformats.org/officeDocument/2006/relationships/image" Target="../media/image115.png"/><Relationship Id="rId17" Type="http://schemas.openxmlformats.org/officeDocument/2006/relationships/image" Target="../media/image95.pn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119.png"/><Relationship Id="rId1" Type="http://schemas.openxmlformats.org/officeDocument/2006/relationships/slideLayout" Target="../slideLayouts/slideLayout75.xml"/><Relationship Id="rId6" Type="http://schemas.openxmlformats.org/officeDocument/2006/relationships/image" Target="../media/image109.png"/><Relationship Id="rId11" Type="http://schemas.openxmlformats.org/officeDocument/2006/relationships/image" Target="../media/image114.png"/><Relationship Id="rId5" Type="http://schemas.openxmlformats.org/officeDocument/2006/relationships/image" Target="../media/image108.png"/><Relationship Id="rId15" Type="http://schemas.openxmlformats.org/officeDocument/2006/relationships/image" Target="../media/image118.png"/><Relationship Id="rId10" Type="http://schemas.openxmlformats.org/officeDocument/2006/relationships/image" Target="../media/image113.png"/><Relationship Id="rId4" Type="http://schemas.openxmlformats.org/officeDocument/2006/relationships/image" Target="../media/image107.png"/><Relationship Id="rId9" Type="http://schemas.openxmlformats.org/officeDocument/2006/relationships/image" Target="../media/image112.png"/><Relationship Id="rId14" Type="http://schemas.openxmlformats.org/officeDocument/2006/relationships/image" Target="../media/image117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jpeg"/><Relationship Id="rId13" Type="http://schemas.openxmlformats.org/officeDocument/2006/relationships/image" Target="../media/image123.png"/><Relationship Id="rId18" Type="http://schemas.openxmlformats.org/officeDocument/2006/relationships/image" Target="../media/image128.png"/><Relationship Id="rId3" Type="http://schemas.openxmlformats.org/officeDocument/2006/relationships/tags" Target="../tags/tag6.xml"/><Relationship Id="rId7" Type="http://schemas.openxmlformats.org/officeDocument/2006/relationships/image" Target="../media/image16.emf"/><Relationship Id="rId12" Type="http://schemas.openxmlformats.org/officeDocument/2006/relationships/image" Target="../media/image122.svg"/><Relationship Id="rId17" Type="http://schemas.openxmlformats.org/officeDocument/2006/relationships/image" Target="../media/image127.emf"/><Relationship Id="rId2" Type="http://schemas.openxmlformats.org/officeDocument/2006/relationships/tags" Target="../tags/tag5.xml"/><Relationship Id="rId16" Type="http://schemas.openxmlformats.org/officeDocument/2006/relationships/image" Target="../media/image126.png"/><Relationship Id="rId20" Type="http://schemas.openxmlformats.org/officeDocument/2006/relationships/image" Target="../media/image129.png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21.png"/><Relationship Id="rId5" Type="http://schemas.openxmlformats.org/officeDocument/2006/relationships/notesSlide" Target="../notesSlides/notesSlide17.xml"/><Relationship Id="rId15" Type="http://schemas.openxmlformats.org/officeDocument/2006/relationships/image" Target="../media/image125.png"/><Relationship Id="rId10" Type="http://schemas.openxmlformats.org/officeDocument/2006/relationships/image" Target="../media/image102.png"/><Relationship Id="rId19" Type="http://schemas.openxmlformats.org/officeDocument/2006/relationships/image" Target="../media/image93.png"/><Relationship Id="rId4" Type="http://schemas.openxmlformats.org/officeDocument/2006/relationships/slideLayout" Target="../slideLayouts/slideLayout75.xml"/><Relationship Id="rId9" Type="http://schemas.openxmlformats.org/officeDocument/2006/relationships/image" Target="../media/image98.png"/><Relationship Id="rId14" Type="http://schemas.openxmlformats.org/officeDocument/2006/relationships/image" Target="../media/image124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75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4" Type="http://schemas.openxmlformats.org/officeDocument/2006/relationships/image" Target="../media/image9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emf"/><Relationship Id="rId7" Type="http://schemas.openxmlformats.org/officeDocument/2006/relationships/image" Target="../media/image13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133.emf"/><Relationship Id="rId5" Type="http://schemas.openxmlformats.org/officeDocument/2006/relationships/image" Target="../media/image132.emf"/><Relationship Id="rId4" Type="http://schemas.openxmlformats.org/officeDocument/2006/relationships/image" Target="../media/image131.emf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emf"/><Relationship Id="rId3" Type="http://schemas.openxmlformats.org/officeDocument/2006/relationships/image" Target="../media/image135.emf"/><Relationship Id="rId7" Type="http://schemas.openxmlformats.org/officeDocument/2006/relationships/image" Target="../media/image139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138.emf"/><Relationship Id="rId11" Type="http://schemas.openxmlformats.org/officeDocument/2006/relationships/image" Target="../media/image143.emf"/><Relationship Id="rId5" Type="http://schemas.openxmlformats.org/officeDocument/2006/relationships/image" Target="../media/image137.emf"/><Relationship Id="rId10" Type="http://schemas.openxmlformats.org/officeDocument/2006/relationships/image" Target="../media/image142.jpeg"/><Relationship Id="rId4" Type="http://schemas.openxmlformats.org/officeDocument/2006/relationships/image" Target="../media/image136.emf"/><Relationship Id="rId9" Type="http://schemas.openxmlformats.org/officeDocument/2006/relationships/image" Target="../media/image141.emf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png"/><Relationship Id="rId13" Type="http://schemas.openxmlformats.org/officeDocument/2006/relationships/image" Target="../media/image153.png"/><Relationship Id="rId3" Type="http://schemas.openxmlformats.org/officeDocument/2006/relationships/image" Target="../media/image144.png"/><Relationship Id="rId7" Type="http://schemas.openxmlformats.org/officeDocument/2006/relationships/image" Target="../media/image147.png"/><Relationship Id="rId12" Type="http://schemas.openxmlformats.org/officeDocument/2006/relationships/image" Target="../media/image15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146.png"/><Relationship Id="rId11" Type="http://schemas.openxmlformats.org/officeDocument/2006/relationships/image" Target="../media/image151.png"/><Relationship Id="rId5" Type="http://schemas.openxmlformats.org/officeDocument/2006/relationships/image" Target="../media/image145.png"/><Relationship Id="rId10" Type="http://schemas.openxmlformats.org/officeDocument/2006/relationships/image" Target="../media/image150.png"/><Relationship Id="rId4" Type="http://schemas.openxmlformats.org/officeDocument/2006/relationships/image" Target="../media/image107.png"/><Relationship Id="rId9" Type="http://schemas.openxmlformats.org/officeDocument/2006/relationships/image" Target="../media/image149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png"/><Relationship Id="rId3" Type="http://schemas.openxmlformats.org/officeDocument/2006/relationships/tags" Target="../tags/tag8.xml"/><Relationship Id="rId7" Type="http://schemas.openxmlformats.org/officeDocument/2006/relationships/image" Target="../media/image104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4.emf"/><Relationship Id="rId11" Type="http://schemas.openxmlformats.org/officeDocument/2006/relationships/image" Target="../media/image156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05.png"/><Relationship Id="rId4" Type="http://schemas.openxmlformats.org/officeDocument/2006/relationships/slideLayout" Target="../slideLayouts/slideLayout91.xml"/><Relationship Id="rId9" Type="http://schemas.openxmlformats.org/officeDocument/2006/relationships/image" Target="../media/image103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57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91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7.png"/><Relationship Id="rId3" Type="http://schemas.openxmlformats.org/officeDocument/2006/relationships/tags" Target="../tags/tag12.xml"/><Relationship Id="rId7" Type="http://schemas.openxmlformats.org/officeDocument/2006/relationships/image" Target="../media/image15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4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9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8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7.png"/><Relationship Id="rId13" Type="http://schemas.openxmlformats.org/officeDocument/2006/relationships/image" Target="../media/image172.png"/><Relationship Id="rId18" Type="http://schemas.openxmlformats.org/officeDocument/2006/relationships/image" Target="../media/image177.jpeg"/><Relationship Id="rId26" Type="http://schemas.openxmlformats.org/officeDocument/2006/relationships/image" Target="../media/image185.tiff"/><Relationship Id="rId3" Type="http://schemas.openxmlformats.org/officeDocument/2006/relationships/image" Target="../media/image162.jpeg"/><Relationship Id="rId21" Type="http://schemas.openxmlformats.org/officeDocument/2006/relationships/image" Target="../media/image180.png"/><Relationship Id="rId34" Type="http://schemas.openxmlformats.org/officeDocument/2006/relationships/image" Target="../media/image193.png"/><Relationship Id="rId7" Type="http://schemas.openxmlformats.org/officeDocument/2006/relationships/image" Target="../media/image166.png"/><Relationship Id="rId12" Type="http://schemas.openxmlformats.org/officeDocument/2006/relationships/image" Target="../media/image171.png"/><Relationship Id="rId17" Type="http://schemas.openxmlformats.org/officeDocument/2006/relationships/image" Target="../media/image176.png"/><Relationship Id="rId25" Type="http://schemas.openxmlformats.org/officeDocument/2006/relationships/image" Target="../media/image184.tiff"/><Relationship Id="rId33" Type="http://schemas.openxmlformats.org/officeDocument/2006/relationships/image" Target="../media/image192.png"/><Relationship Id="rId2" Type="http://schemas.openxmlformats.org/officeDocument/2006/relationships/image" Target="../media/image161.gif"/><Relationship Id="rId16" Type="http://schemas.openxmlformats.org/officeDocument/2006/relationships/image" Target="../media/image175.jpeg"/><Relationship Id="rId20" Type="http://schemas.openxmlformats.org/officeDocument/2006/relationships/image" Target="../media/image179.png"/><Relationship Id="rId29" Type="http://schemas.openxmlformats.org/officeDocument/2006/relationships/image" Target="../media/image188.png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165.png"/><Relationship Id="rId11" Type="http://schemas.openxmlformats.org/officeDocument/2006/relationships/image" Target="../media/image170.png"/><Relationship Id="rId24" Type="http://schemas.openxmlformats.org/officeDocument/2006/relationships/image" Target="../media/image183.tiff"/><Relationship Id="rId32" Type="http://schemas.openxmlformats.org/officeDocument/2006/relationships/image" Target="../media/image191.png"/><Relationship Id="rId5" Type="http://schemas.openxmlformats.org/officeDocument/2006/relationships/image" Target="../media/image164.svg"/><Relationship Id="rId15" Type="http://schemas.openxmlformats.org/officeDocument/2006/relationships/image" Target="../media/image174.png"/><Relationship Id="rId23" Type="http://schemas.openxmlformats.org/officeDocument/2006/relationships/image" Target="../media/image182.png"/><Relationship Id="rId28" Type="http://schemas.openxmlformats.org/officeDocument/2006/relationships/image" Target="../media/image187.tiff"/><Relationship Id="rId10" Type="http://schemas.openxmlformats.org/officeDocument/2006/relationships/image" Target="../media/image169.png"/><Relationship Id="rId19" Type="http://schemas.openxmlformats.org/officeDocument/2006/relationships/image" Target="../media/image178.jpeg"/><Relationship Id="rId31" Type="http://schemas.openxmlformats.org/officeDocument/2006/relationships/image" Target="../media/image190.png"/><Relationship Id="rId4" Type="http://schemas.openxmlformats.org/officeDocument/2006/relationships/image" Target="../media/image163.png"/><Relationship Id="rId9" Type="http://schemas.openxmlformats.org/officeDocument/2006/relationships/image" Target="../media/image168.png"/><Relationship Id="rId14" Type="http://schemas.openxmlformats.org/officeDocument/2006/relationships/image" Target="../media/image173.jpeg"/><Relationship Id="rId22" Type="http://schemas.openxmlformats.org/officeDocument/2006/relationships/image" Target="../media/image181.png"/><Relationship Id="rId27" Type="http://schemas.openxmlformats.org/officeDocument/2006/relationships/image" Target="../media/image186.tiff"/><Relationship Id="rId30" Type="http://schemas.openxmlformats.org/officeDocument/2006/relationships/image" Target="../media/image189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9.png"/><Relationship Id="rId13" Type="http://schemas.openxmlformats.org/officeDocument/2006/relationships/image" Target="../media/image203.png"/><Relationship Id="rId18" Type="http://schemas.openxmlformats.org/officeDocument/2006/relationships/image" Target="../media/image207.png"/><Relationship Id="rId26" Type="http://schemas.openxmlformats.org/officeDocument/2006/relationships/image" Target="../media/image190.png"/><Relationship Id="rId39" Type="http://schemas.openxmlformats.org/officeDocument/2006/relationships/image" Target="../media/image193.png"/><Relationship Id="rId3" Type="http://schemas.openxmlformats.org/officeDocument/2006/relationships/image" Target="../media/image195.png"/><Relationship Id="rId21" Type="http://schemas.openxmlformats.org/officeDocument/2006/relationships/image" Target="../media/image210.png"/><Relationship Id="rId34" Type="http://schemas.openxmlformats.org/officeDocument/2006/relationships/image" Target="../media/image178.jpeg"/><Relationship Id="rId7" Type="http://schemas.openxmlformats.org/officeDocument/2006/relationships/image" Target="../media/image198.png"/><Relationship Id="rId12" Type="http://schemas.openxmlformats.org/officeDocument/2006/relationships/image" Target="../media/image181.png"/><Relationship Id="rId17" Type="http://schemas.openxmlformats.org/officeDocument/2006/relationships/image" Target="../media/image206.png"/><Relationship Id="rId25" Type="http://schemas.openxmlformats.org/officeDocument/2006/relationships/image" Target="../media/image214.png"/><Relationship Id="rId33" Type="http://schemas.openxmlformats.org/officeDocument/2006/relationships/image" Target="../media/image177.jpeg"/><Relationship Id="rId38" Type="http://schemas.openxmlformats.org/officeDocument/2006/relationships/image" Target="../media/image188.png"/><Relationship Id="rId2" Type="http://schemas.openxmlformats.org/officeDocument/2006/relationships/image" Target="../media/image194.png"/><Relationship Id="rId16" Type="http://schemas.openxmlformats.org/officeDocument/2006/relationships/image" Target="../media/image205.jpeg"/><Relationship Id="rId20" Type="http://schemas.openxmlformats.org/officeDocument/2006/relationships/image" Target="../media/image209.png"/><Relationship Id="rId29" Type="http://schemas.openxmlformats.org/officeDocument/2006/relationships/image" Target="../media/image163.png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171.png"/><Relationship Id="rId11" Type="http://schemas.openxmlformats.org/officeDocument/2006/relationships/image" Target="../media/image202.png"/><Relationship Id="rId24" Type="http://schemas.openxmlformats.org/officeDocument/2006/relationships/image" Target="../media/image213.png"/><Relationship Id="rId32" Type="http://schemas.openxmlformats.org/officeDocument/2006/relationships/image" Target="../media/image217.png"/><Relationship Id="rId37" Type="http://schemas.openxmlformats.org/officeDocument/2006/relationships/image" Target="../media/image186.tiff"/><Relationship Id="rId5" Type="http://schemas.openxmlformats.org/officeDocument/2006/relationships/image" Target="../media/image197.png"/><Relationship Id="rId15" Type="http://schemas.openxmlformats.org/officeDocument/2006/relationships/image" Target="../media/image204.png"/><Relationship Id="rId23" Type="http://schemas.openxmlformats.org/officeDocument/2006/relationships/image" Target="../media/image212.png"/><Relationship Id="rId28" Type="http://schemas.openxmlformats.org/officeDocument/2006/relationships/image" Target="../media/image216.png"/><Relationship Id="rId36" Type="http://schemas.openxmlformats.org/officeDocument/2006/relationships/image" Target="../media/image184.tiff"/><Relationship Id="rId10" Type="http://schemas.openxmlformats.org/officeDocument/2006/relationships/image" Target="../media/image201.png"/><Relationship Id="rId19" Type="http://schemas.openxmlformats.org/officeDocument/2006/relationships/image" Target="../media/image208.jpeg"/><Relationship Id="rId31" Type="http://schemas.openxmlformats.org/officeDocument/2006/relationships/image" Target="../media/image170.png"/><Relationship Id="rId4" Type="http://schemas.openxmlformats.org/officeDocument/2006/relationships/image" Target="../media/image196.png"/><Relationship Id="rId9" Type="http://schemas.openxmlformats.org/officeDocument/2006/relationships/image" Target="../media/image200.png"/><Relationship Id="rId14" Type="http://schemas.openxmlformats.org/officeDocument/2006/relationships/image" Target="../media/image173.jpeg"/><Relationship Id="rId22" Type="http://schemas.openxmlformats.org/officeDocument/2006/relationships/image" Target="../media/image211.png"/><Relationship Id="rId27" Type="http://schemas.openxmlformats.org/officeDocument/2006/relationships/image" Target="../media/image215.png"/><Relationship Id="rId30" Type="http://schemas.openxmlformats.org/officeDocument/2006/relationships/image" Target="../media/image164.svg"/><Relationship Id="rId35" Type="http://schemas.openxmlformats.org/officeDocument/2006/relationships/image" Target="../media/image182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2.png"/><Relationship Id="rId13" Type="http://schemas.openxmlformats.org/officeDocument/2006/relationships/image" Target="../media/image227.png"/><Relationship Id="rId18" Type="http://schemas.openxmlformats.org/officeDocument/2006/relationships/image" Target="../media/image232.png"/><Relationship Id="rId26" Type="http://schemas.openxmlformats.org/officeDocument/2006/relationships/image" Target="../media/image239.png"/><Relationship Id="rId3" Type="http://schemas.openxmlformats.org/officeDocument/2006/relationships/image" Target="../media/image218.png"/><Relationship Id="rId21" Type="http://schemas.openxmlformats.org/officeDocument/2006/relationships/image" Target="../media/image235.png"/><Relationship Id="rId34" Type="http://schemas.openxmlformats.org/officeDocument/2006/relationships/image" Target="../media/image246.png"/><Relationship Id="rId7" Type="http://schemas.openxmlformats.org/officeDocument/2006/relationships/image" Target="../media/image221.png"/><Relationship Id="rId12" Type="http://schemas.openxmlformats.org/officeDocument/2006/relationships/image" Target="../media/image226.png"/><Relationship Id="rId17" Type="http://schemas.openxmlformats.org/officeDocument/2006/relationships/image" Target="../media/image231.png"/><Relationship Id="rId25" Type="http://schemas.openxmlformats.org/officeDocument/2006/relationships/image" Target="../media/image171.png"/><Relationship Id="rId33" Type="http://schemas.openxmlformats.org/officeDocument/2006/relationships/image" Target="../media/image181.png"/><Relationship Id="rId2" Type="http://schemas.openxmlformats.org/officeDocument/2006/relationships/hyperlink" Target="http://www.dhl.dk/da.html" TargetMode="External"/><Relationship Id="rId16" Type="http://schemas.openxmlformats.org/officeDocument/2006/relationships/image" Target="../media/image230.png"/><Relationship Id="rId20" Type="http://schemas.openxmlformats.org/officeDocument/2006/relationships/image" Target="../media/image234.png"/><Relationship Id="rId29" Type="http://schemas.openxmlformats.org/officeDocument/2006/relationships/image" Target="../media/image242.jpeg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220.png"/><Relationship Id="rId11" Type="http://schemas.openxmlformats.org/officeDocument/2006/relationships/image" Target="../media/image225.png"/><Relationship Id="rId24" Type="http://schemas.openxmlformats.org/officeDocument/2006/relationships/image" Target="../media/image238.png"/><Relationship Id="rId32" Type="http://schemas.openxmlformats.org/officeDocument/2006/relationships/image" Target="../media/image245.png"/><Relationship Id="rId5" Type="http://schemas.openxmlformats.org/officeDocument/2006/relationships/image" Target="../media/image219.png"/><Relationship Id="rId15" Type="http://schemas.openxmlformats.org/officeDocument/2006/relationships/image" Target="../media/image229.png"/><Relationship Id="rId23" Type="http://schemas.openxmlformats.org/officeDocument/2006/relationships/image" Target="../media/image237.png"/><Relationship Id="rId28" Type="http://schemas.openxmlformats.org/officeDocument/2006/relationships/image" Target="../media/image241.png"/><Relationship Id="rId36" Type="http://schemas.openxmlformats.org/officeDocument/2006/relationships/image" Target="../media/image216.png"/><Relationship Id="rId10" Type="http://schemas.openxmlformats.org/officeDocument/2006/relationships/image" Target="../media/image224.gif"/><Relationship Id="rId19" Type="http://schemas.openxmlformats.org/officeDocument/2006/relationships/image" Target="../media/image233.png"/><Relationship Id="rId31" Type="http://schemas.openxmlformats.org/officeDocument/2006/relationships/image" Target="../media/image244.png"/><Relationship Id="rId4" Type="http://schemas.openxmlformats.org/officeDocument/2006/relationships/image" Target="../media/image188.png"/><Relationship Id="rId9" Type="http://schemas.openxmlformats.org/officeDocument/2006/relationships/image" Target="../media/image223.png"/><Relationship Id="rId14" Type="http://schemas.openxmlformats.org/officeDocument/2006/relationships/image" Target="../media/image228.png"/><Relationship Id="rId22" Type="http://schemas.openxmlformats.org/officeDocument/2006/relationships/image" Target="../media/image236.png"/><Relationship Id="rId27" Type="http://schemas.openxmlformats.org/officeDocument/2006/relationships/image" Target="../media/image240.png"/><Relationship Id="rId30" Type="http://schemas.openxmlformats.org/officeDocument/2006/relationships/image" Target="../media/image243.png"/><Relationship Id="rId35" Type="http://schemas.openxmlformats.org/officeDocument/2006/relationships/image" Target="../media/image189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9.png"/><Relationship Id="rId13" Type="http://schemas.openxmlformats.org/officeDocument/2006/relationships/image" Target="../media/image252.png"/><Relationship Id="rId18" Type="http://schemas.openxmlformats.org/officeDocument/2006/relationships/image" Target="../media/image257.png"/><Relationship Id="rId26" Type="http://schemas.openxmlformats.org/officeDocument/2006/relationships/image" Target="../media/image265.png"/><Relationship Id="rId3" Type="http://schemas.openxmlformats.org/officeDocument/2006/relationships/image" Target="../media/image163.png"/><Relationship Id="rId21" Type="http://schemas.openxmlformats.org/officeDocument/2006/relationships/image" Target="../media/image260.png"/><Relationship Id="rId7" Type="http://schemas.openxmlformats.org/officeDocument/2006/relationships/image" Target="../media/image248.png"/><Relationship Id="rId12" Type="http://schemas.openxmlformats.org/officeDocument/2006/relationships/image" Target="../media/image251.png"/><Relationship Id="rId17" Type="http://schemas.openxmlformats.org/officeDocument/2006/relationships/image" Target="../media/image256.png"/><Relationship Id="rId25" Type="http://schemas.openxmlformats.org/officeDocument/2006/relationships/image" Target="../media/image264.png"/><Relationship Id="rId2" Type="http://schemas.openxmlformats.org/officeDocument/2006/relationships/image" Target="../media/image247.jpeg"/><Relationship Id="rId16" Type="http://schemas.openxmlformats.org/officeDocument/2006/relationships/image" Target="../media/image255.png"/><Relationship Id="rId20" Type="http://schemas.openxmlformats.org/officeDocument/2006/relationships/image" Target="../media/image259.png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179.png"/><Relationship Id="rId11" Type="http://schemas.openxmlformats.org/officeDocument/2006/relationships/image" Target="../media/image182.png"/><Relationship Id="rId24" Type="http://schemas.openxmlformats.org/officeDocument/2006/relationships/image" Target="../media/image263.png"/><Relationship Id="rId5" Type="http://schemas.openxmlformats.org/officeDocument/2006/relationships/image" Target="../media/image178.jpeg"/><Relationship Id="rId15" Type="http://schemas.openxmlformats.org/officeDocument/2006/relationships/image" Target="../media/image254.png"/><Relationship Id="rId23" Type="http://schemas.openxmlformats.org/officeDocument/2006/relationships/image" Target="../media/image262.png"/><Relationship Id="rId28" Type="http://schemas.openxmlformats.org/officeDocument/2006/relationships/image" Target="../media/image216.png"/><Relationship Id="rId10" Type="http://schemas.openxmlformats.org/officeDocument/2006/relationships/image" Target="../media/image250.png"/><Relationship Id="rId19" Type="http://schemas.openxmlformats.org/officeDocument/2006/relationships/image" Target="../media/image258.png"/><Relationship Id="rId4" Type="http://schemas.openxmlformats.org/officeDocument/2006/relationships/image" Target="../media/image164.svg"/><Relationship Id="rId9" Type="http://schemas.openxmlformats.org/officeDocument/2006/relationships/image" Target="../media/image246.png"/><Relationship Id="rId14" Type="http://schemas.openxmlformats.org/officeDocument/2006/relationships/image" Target="../media/image253.png"/><Relationship Id="rId22" Type="http://schemas.openxmlformats.org/officeDocument/2006/relationships/image" Target="../media/image261.png"/><Relationship Id="rId27" Type="http://schemas.openxmlformats.org/officeDocument/2006/relationships/image" Target="../media/image266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5.jpeg"/><Relationship Id="rId13" Type="http://schemas.openxmlformats.org/officeDocument/2006/relationships/image" Target="../media/image272.jpeg"/><Relationship Id="rId18" Type="http://schemas.openxmlformats.org/officeDocument/2006/relationships/image" Target="../media/image277.tiff"/><Relationship Id="rId26" Type="http://schemas.openxmlformats.org/officeDocument/2006/relationships/image" Target="../media/image284.png"/><Relationship Id="rId3" Type="http://schemas.openxmlformats.org/officeDocument/2006/relationships/image" Target="../media/image167.png"/><Relationship Id="rId21" Type="http://schemas.openxmlformats.org/officeDocument/2006/relationships/image" Target="../media/image279.png"/><Relationship Id="rId34" Type="http://schemas.openxmlformats.org/officeDocument/2006/relationships/image" Target="../media/image292.tiff"/><Relationship Id="rId7" Type="http://schemas.openxmlformats.org/officeDocument/2006/relationships/image" Target="../media/image217.png"/><Relationship Id="rId12" Type="http://schemas.openxmlformats.org/officeDocument/2006/relationships/image" Target="../media/image271.png"/><Relationship Id="rId17" Type="http://schemas.openxmlformats.org/officeDocument/2006/relationships/image" Target="../media/image276.tiff"/><Relationship Id="rId25" Type="http://schemas.openxmlformats.org/officeDocument/2006/relationships/image" Target="../media/image283.png"/><Relationship Id="rId33" Type="http://schemas.openxmlformats.org/officeDocument/2006/relationships/image" Target="../media/image291.tiff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275.tiff"/><Relationship Id="rId20" Type="http://schemas.openxmlformats.org/officeDocument/2006/relationships/image" Target="../media/image278.png"/><Relationship Id="rId29" Type="http://schemas.openxmlformats.org/officeDocument/2006/relationships/image" Target="../media/image287.tiff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268.gif"/><Relationship Id="rId11" Type="http://schemas.openxmlformats.org/officeDocument/2006/relationships/image" Target="../media/image270.tiff"/><Relationship Id="rId24" Type="http://schemas.openxmlformats.org/officeDocument/2006/relationships/image" Target="../media/image282.png"/><Relationship Id="rId32" Type="http://schemas.openxmlformats.org/officeDocument/2006/relationships/image" Target="../media/image290.tiff"/><Relationship Id="rId5" Type="http://schemas.openxmlformats.org/officeDocument/2006/relationships/image" Target="../media/image169.png"/><Relationship Id="rId15" Type="http://schemas.openxmlformats.org/officeDocument/2006/relationships/image" Target="../media/image274.tiff"/><Relationship Id="rId23" Type="http://schemas.openxmlformats.org/officeDocument/2006/relationships/image" Target="../media/image281.png"/><Relationship Id="rId28" Type="http://schemas.openxmlformats.org/officeDocument/2006/relationships/image" Target="../media/image286.tiff"/><Relationship Id="rId10" Type="http://schemas.openxmlformats.org/officeDocument/2006/relationships/image" Target="../media/image165.png"/><Relationship Id="rId19" Type="http://schemas.openxmlformats.org/officeDocument/2006/relationships/image" Target="../media/image192.png"/><Relationship Id="rId31" Type="http://schemas.openxmlformats.org/officeDocument/2006/relationships/image" Target="../media/image289.tiff"/><Relationship Id="rId4" Type="http://schemas.openxmlformats.org/officeDocument/2006/relationships/image" Target="../media/image267.png"/><Relationship Id="rId9" Type="http://schemas.openxmlformats.org/officeDocument/2006/relationships/image" Target="../media/image269.png"/><Relationship Id="rId14" Type="http://schemas.openxmlformats.org/officeDocument/2006/relationships/image" Target="../media/image273.png"/><Relationship Id="rId22" Type="http://schemas.openxmlformats.org/officeDocument/2006/relationships/image" Target="../media/image280.jpeg"/><Relationship Id="rId27" Type="http://schemas.openxmlformats.org/officeDocument/2006/relationships/image" Target="../media/image285.tiff"/><Relationship Id="rId30" Type="http://schemas.openxmlformats.org/officeDocument/2006/relationships/image" Target="../media/image288.tiff"/><Relationship Id="rId35" Type="http://schemas.openxmlformats.org/officeDocument/2006/relationships/image" Target="../media/image293.tiff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5.png"/><Relationship Id="rId13" Type="http://schemas.openxmlformats.org/officeDocument/2006/relationships/image" Target="../media/image186.tiff"/><Relationship Id="rId18" Type="http://schemas.openxmlformats.org/officeDocument/2006/relationships/image" Target="../media/image272.jpeg"/><Relationship Id="rId3" Type="http://schemas.openxmlformats.org/officeDocument/2006/relationships/image" Target="../media/image267.png"/><Relationship Id="rId7" Type="http://schemas.openxmlformats.org/officeDocument/2006/relationships/image" Target="../media/image166.png"/><Relationship Id="rId12" Type="http://schemas.openxmlformats.org/officeDocument/2006/relationships/image" Target="../media/image280.jpeg"/><Relationship Id="rId17" Type="http://schemas.openxmlformats.org/officeDocument/2006/relationships/image" Target="../media/image270.tiff"/><Relationship Id="rId2" Type="http://schemas.openxmlformats.org/officeDocument/2006/relationships/image" Target="../media/image167.png"/><Relationship Id="rId16" Type="http://schemas.openxmlformats.org/officeDocument/2006/relationships/image" Target="../media/image294.jpeg"/><Relationship Id="rId20" Type="http://schemas.openxmlformats.org/officeDocument/2006/relationships/image" Target="../media/image285.tiff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269.png"/><Relationship Id="rId11" Type="http://schemas.openxmlformats.org/officeDocument/2006/relationships/image" Target="../media/image279.png"/><Relationship Id="rId5" Type="http://schemas.openxmlformats.org/officeDocument/2006/relationships/image" Target="../media/image175.jpeg"/><Relationship Id="rId15" Type="http://schemas.openxmlformats.org/officeDocument/2006/relationships/image" Target="../media/image283.png"/><Relationship Id="rId10" Type="http://schemas.openxmlformats.org/officeDocument/2006/relationships/image" Target="../media/image192.png"/><Relationship Id="rId19" Type="http://schemas.openxmlformats.org/officeDocument/2006/relationships/image" Target="../media/image281.png"/><Relationship Id="rId4" Type="http://schemas.openxmlformats.org/officeDocument/2006/relationships/image" Target="../media/image169.png"/><Relationship Id="rId9" Type="http://schemas.openxmlformats.org/officeDocument/2006/relationships/image" Target="../media/image278.png"/><Relationship Id="rId14" Type="http://schemas.openxmlformats.org/officeDocument/2006/relationships/image" Target="../media/image282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1.png"/><Relationship Id="rId13" Type="http://schemas.openxmlformats.org/officeDocument/2006/relationships/image" Target="../media/image306.png"/><Relationship Id="rId18" Type="http://schemas.openxmlformats.org/officeDocument/2006/relationships/image" Target="../media/image311.png"/><Relationship Id="rId26" Type="http://schemas.openxmlformats.org/officeDocument/2006/relationships/image" Target="../media/image319.png"/><Relationship Id="rId3" Type="http://schemas.openxmlformats.org/officeDocument/2006/relationships/image" Target="../media/image296.png"/><Relationship Id="rId21" Type="http://schemas.openxmlformats.org/officeDocument/2006/relationships/image" Target="../media/image314.png"/><Relationship Id="rId34" Type="http://schemas.openxmlformats.org/officeDocument/2006/relationships/image" Target="../media/image327.png"/><Relationship Id="rId7" Type="http://schemas.openxmlformats.org/officeDocument/2006/relationships/image" Target="../media/image300.png"/><Relationship Id="rId12" Type="http://schemas.openxmlformats.org/officeDocument/2006/relationships/image" Target="../media/image305.png"/><Relationship Id="rId17" Type="http://schemas.openxmlformats.org/officeDocument/2006/relationships/image" Target="../media/image310.png"/><Relationship Id="rId25" Type="http://schemas.openxmlformats.org/officeDocument/2006/relationships/image" Target="../media/image318.png"/><Relationship Id="rId33" Type="http://schemas.openxmlformats.org/officeDocument/2006/relationships/image" Target="../media/image326.png"/><Relationship Id="rId38" Type="http://schemas.openxmlformats.org/officeDocument/2006/relationships/image" Target="../media/image331.png"/><Relationship Id="rId2" Type="http://schemas.openxmlformats.org/officeDocument/2006/relationships/image" Target="../media/image295.png"/><Relationship Id="rId16" Type="http://schemas.openxmlformats.org/officeDocument/2006/relationships/image" Target="../media/image309.png"/><Relationship Id="rId20" Type="http://schemas.openxmlformats.org/officeDocument/2006/relationships/image" Target="../media/image313.png"/><Relationship Id="rId29" Type="http://schemas.openxmlformats.org/officeDocument/2006/relationships/image" Target="../media/image322.png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299.gif"/><Relationship Id="rId11" Type="http://schemas.openxmlformats.org/officeDocument/2006/relationships/image" Target="../media/image304.jpeg"/><Relationship Id="rId24" Type="http://schemas.openxmlformats.org/officeDocument/2006/relationships/image" Target="../media/image317.png"/><Relationship Id="rId32" Type="http://schemas.openxmlformats.org/officeDocument/2006/relationships/image" Target="../media/image325.png"/><Relationship Id="rId37" Type="http://schemas.openxmlformats.org/officeDocument/2006/relationships/image" Target="../media/image330.svg"/><Relationship Id="rId5" Type="http://schemas.openxmlformats.org/officeDocument/2006/relationships/image" Target="../media/image298.png"/><Relationship Id="rId15" Type="http://schemas.openxmlformats.org/officeDocument/2006/relationships/image" Target="../media/image308.jpeg"/><Relationship Id="rId23" Type="http://schemas.openxmlformats.org/officeDocument/2006/relationships/image" Target="../media/image316.png"/><Relationship Id="rId28" Type="http://schemas.openxmlformats.org/officeDocument/2006/relationships/image" Target="../media/image321.png"/><Relationship Id="rId36" Type="http://schemas.openxmlformats.org/officeDocument/2006/relationships/image" Target="../media/image329.png"/><Relationship Id="rId10" Type="http://schemas.openxmlformats.org/officeDocument/2006/relationships/image" Target="../media/image303.png"/><Relationship Id="rId19" Type="http://schemas.openxmlformats.org/officeDocument/2006/relationships/image" Target="../media/image312.png"/><Relationship Id="rId31" Type="http://schemas.openxmlformats.org/officeDocument/2006/relationships/image" Target="../media/image324.png"/><Relationship Id="rId4" Type="http://schemas.openxmlformats.org/officeDocument/2006/relationships/image" Target="../media/image297.png"/><Relationship Id="rId9" Type="http://schemas.openxmlformats.org/officeDocument/2006/relationships/image" Target="../media/image302.png"/><Relationship Id="rId14" Type="http://schemas.openxmlformats.org/officeDocument/2006/relationships/image" Target="../media/image307.png"/><Relationship Id="rId22" Type="http://schemas.openxmlformats.org/officeDocument/2006/relationships/image" Target="../media/image315.png"/><Relationship Id="rId27" Type="http://schemas.openxmlformats.org/officeDocument/2006/relationships/image" Target="../media/image320.gif"/><Relationship Id="rId30" Type="http://schemas.openxmlformats.org/officeDocument/2006/relationships/image" Target="../media/image323.png"/><Relationship Id="rId35" Type="http://schemas.openxmlformats.org/officeDocument/2006/relationships/image" Target="../media/image328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3.jpeg"/><Relationship Id="rId13" Type="http://schemas.openxmlformats.org/officeDocument/2006/relationships/image" Target="../media/image338.tiff"/><Relationship Id="rId18" Type="http://schemas.openxmlformats.org/officeDocument/2006/relationships/image" Target="../media/image343.png"/><Relationship Id="rId26" Type="http://schemas.openxmlformats.org/officeDocument/2006/relationships/image" Target="../media/image350.png"/><Relationship Id="rId3" Type="http://schemas.openxmlformats.org/officeDocument/2006/relationships/tags" Target="../tags/tag14.xml"/><Relationship Id="rId21" Type="http://schemas.openxmlformats.org/officeDocument/2006/relationships/image" Target="../media/image346.png"/><Relationship Id="rId34" Type="http://schemas.openxmlformats.org/officeDocument/2006/relationships/image" Target="../media/image358.png"/><Relationship Id="rId7" Type="http://schemas.openxmlformats.org/officeDocument/2006/relationships/image" Target="../media/image332.emf"/><Relationship Id="rId12" Type="http://schemas.openxmlformats.org/officeDocument/2006/relationships/image" Target="../media/image337.tiff"/><Relationship Id="rId17" Type="http://schemas.openxmlformats.org/officeDocument/2006/relationships/image" Target="../media/image342.png"/><Relationship Id="rId25" Type="http://schemas.openxmlformats.org/officeDocument/2006/relationships/image" Target="../media/image349.png"/><Relationship Id="rId33" Type="http://schemas.openxmlformats.org/officeDocument/2006/relationships/image" Target="../media/image357.png"/><Relationship Id="rId2" Type="http://schemas.openxmlformats.org/officeDocument/2006/relationships/tags" Target="../tags/tag13.xml"/><Relationship Id="rId16" Type="http://schemas.openxmlformats.org/officeDocument/2006/relationships/image" Target="../media/image341.png"/><Relationship Id="rId20" Type="http://schemas.openxmlformats.org/officeDocument/2006/relationships/image" Target="../media/image345.png"/><Relationship Id="rId29" Type="http://schemas.openxmlformats.org/officeDocument/2006/relationships/image" Target="../media/image353.png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336.tiff"/><Relationship Id="rId24" Type="http://schemas.openxmlformats.org/officeDocument/2006/relationships/image" Target="../media/image348.png"/><Relationship Id="rId32" Type="http://schemas.openxmlformats.org/officeDocument/2006/relationships/image" Target="../media/image356.png"/><Relationship Id="rId5" Type="http://schemas.openxmlformats.org/officeDocument/2006/relationships/notesSlide" Target="../notesSlides/notesSlide22.xml"/><Relationship Id="rId15" Type="http://schemas.openxmlformats.org/officeDocument/2006/relationships/image" Target="../media/image340.png"/><Relationship Id="rId23" Type="http://schemas.openxmlformats.org/officeDocument/2006/relationships/image" Target="../media/image280.jpeg"/><Relationship Id="rId28" Type="http://schemas.openxmlformats.org/officeDocument/2006/relationships/image" Target="../media/image352.svg"/><Relationship Id="rId36" Type="http://schemas.openxmlformats.org/officeDocument/2006/relationships/image" Target="../media/image360.png"/><Relationship Id="rId10" Type="http://schemas.openxmlformats.org/officeDocument/2006/relationships/image" Target="../media/image335.tiff"/><Relationship Id="rId19" Type="http://schemas.openxmlformats.org/officeDocument/2006/relationships/image" Target="../media/image344.png"/><Relationship Id="rId31" Type="http://schemas.openxmlformats.org/officeDocument/2006/relationships/image" Target="../media/image355.png"/><Relationship Id="rId4" Type="http://schemas.openxmlformats.org/officeDocument/2006/relationships/slideLayout" Target="../slideLayouts/slideLayout87.xml"/><Relationship Id="rId9" Type="http://schemas.openxmlformats.org/officeDocument/2006/relationships/image" Target="../media/image334.png"/><Relationship Id="rId14" Type="http://schemas.openxmlformats.org/officeDocument/2006/relationships/image" Target="../media/image339.png"/><Relationship Id="rId22" Type="http://schemas.openxmlformats.org/officeDocument/2006/relationships/image" Target="../media/image347.png"/><Relationship Id="rId27" Type="http://schemas.openxmlformats.org/officeDocument/2006/relationships/image" Target="../media/image351.png"/><Relationship Id="rId30" Type="http://schemas.openxmlformats.org/officeDocument/2006/relationships/image" Target="../media/image354.png"/><Relationship Id="rId35" Type="http://schemas.openxmlformats.org/officeDocument/2006/relationships/image" Target="../media/image359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2.png"/><Relationship Id="rId3" Type="http://schemas.openxmlformats.org/officeDocument/2006/relationships/tags" Target="../tags/tag16.xml"/><Relationship Id="rId7" Type="http://schemas.openxmlformats.org/officeDocument/2006/relationships/image" Target="../media/image36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7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36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31.jpeg"/><Relationship Id="rId7" Type="http://schemas.openxmlformats.org/officeDocument/2006/relationships/image" Target="../media/image32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20.jpeg"/><Relationship Id="rId5" Type="http://schemas.openxmlformats.org/officeDocument/2006/relationships/image" Target="../media/image21.jpeg"/><Relationship Id="rId4" Type="http://schemas.openxmlformats.org/officeDocument/2006/relationships/image" Target="../media/image24.jpe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3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0.png"/><Relationship Id="rId13" Type="http://schemas.openxmlformats.org/officeDocument/2006/relationships/image" Target="../media/image375.png"/><Relationship Id="rId18" Type="http://schemas.openxmlformats.org/officeDocument/2006/relationships/image" Target="../media/image380.png"/><Relationship Id="rId26" Type="http://schemas.openxmlformats.org/officeDocument/2006/relationships/image" Target="../media/image388.png"/><Relationship Id="rId3" Type="http://schemas.openxmlformats.org/officeDocument/2006/relationships/image" Target="../media/image365.png"/><Relationship Id="rId21" Type="http://schemas.openxmlformats.org/officeDocument/2006/relationships/image" Target="../media/image383.png"/><Relationship Id="rId7" Type="http://schemas.openxmlformats.org/officeDocument/2006/relationships/image" Target="../media/image369.png"/><Relationship Id="rId12" Type="http://schemas.openxmlformats.org/officeDocument/2006/relationships/image" Target="../media/image374.png"/><Relationship Id="rId17" Type="http://schemas.openxmlformats.org/officeDocument/2006/relationships/image" Target="../media/image379.png"/><Relationship Id="rId25" Type="http://schemas.openxmlformats.org/officeDocument/2006/relationships/image" Target="../media/image387.png"/><Relationship Id="rId2" Type="http://schemas.openxmlformats.org/officeDocument/2006/relationships/notesSlide" Target="../notesSlides/notesSlide25.xml"/><Relationship Id="rId16" Type="http://schemas.openxmlformats.org/officeDocument/2006/relationships/image" Target="../media/image378.png"/><Relationship Id="rId20" Type="http://schemas.openxmlformats.org/officeDocument/2006/relationships/image" Target="../media/image382.png"/><Relationship Id="rId29" Type="http://schemas.openxmlformats.org/officeDocument/2006/relationships/image" Target="../media/image391.png"/><Relationship Id="rId1" Type="http://schemas.openxmlformats.org/officeDocument/2006/relationships/slideLayout" Target="../slideLayouts/slideLayout99.xml"/><Relationship Id="rId6" Type="http://schemas.openxmlformats.org/officeDocument/2006/relationships/image" Target="../media/image368.png"/><Relationship Id="rId11" Type="http://schemas.openxmlformats.org/officeDocument/2006/relationships/image" Target="../media/image373.png"/><Relationship Id="rId24" Type="http://schemas.openxmlformats.org/officeDocument/2006/relationships/image" Target="../media/image386.png"/><Relationship Id="rId5" Type="http://schemas.openxmlformats.org/officeDocument/2006/relationships/image" Target="../media/image367.png"/><Relationship Id="rId15" Type="http://schemas.openxmlformats.org/officeDocument/2006/relationships/image" Target="../media/image377.png"/><Relationship Id="rId23" Type="http://schemas.openxmlformats.org/officeDocument/2006/relationships/image" Target="../media/image385.png"/><Relationship Id="rId28" Type="http://schemas.openxmlformats.org/officeDocument/2006/relationships/image" Target="../media/image390.jpeg"/><Relationship Id="rId10" Type="http://schemas.openxmlformats.org/officeDocument/2006/relationships/image" Target="../media/image372.jpeg"/><Relationship Id="rId19" Type="http://schemas.openxmlformats.org/officeDocument/2006/relationships/image" Target="../media/image381.png"/><Relationship Id="rId4" Type="http://schemas.openxmlformats.org/officeDocument/2006/relationships/image" Target="../media/image366.png"/><Relationship Id="rId9" Type="http://schemas.openxmlformats.org/officeDocument/2006/relationships/image" Target="../media/image371.png"/><Relationship Id="rId14" Type="http://schemas.openxmlformats.org/officeDocument/2006/relationships/image" Target="../media/image376.png"/><Relationship Id="rId22" Type="http://schemas.openxmlformats.org/officeDocument/2006/relationships/image" Target="../media/image384.jpeg"/><Relationship Id="rId27" Type="http://schemas.openxmlformats.org/officeDocument/2006/relationships/image" Target="../media/image389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4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92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9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06499" y="556591"/>
            <a:ext cx="6164645" cy="1779285"/>
          </a:xfrm>
        </p:spPr>
        <p:txBody>
          <a:bodyPr/>
          <a:lstStyle/>
          <a:p>
            <a:r>
              <a:rPr lang="en-GB"/>
              <a:t>CORE CORPORATE SLID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21292-F510-AF41-998E-C60339499C39}"/>
              </a:ext>
            </a:extLst>
          </p:cNvPr>
          <p:cNvSpPr txBox="1">
            <a:spLocks/>
          </p:cNvSpPr>
          <p:nvPr/>
        </p:nvSpPr>
        <p:spPr>
          <a:xfrm>
            <a:off x="506499" y="3103419"/>
            <a:ext cx="4424869" cy="337457"/>
          </a:xfrm>
          <a:prstGeom prst="rect">
            <a:avLst/>
          </a:prstGeom>
        </p:spPr>
        <p:txBody>
          <a:bodyPr/>
          <a:lstStyle>
            <a:lvl1pPr marL="184150" indent="-1841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Wingdings" charset="2"/>
              <a:buChar char="§"/>
              <a:tabLst/>
              <a:defRPr sz="1700" b="0" kern="1200" baseline="0">
                <a:solidFill>
                  <a:srgbClr val="575D6B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623888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575D6B"/>
              </a:buClr>
              <a:buSzPct val="90000"/>
              <a:buFont typeface="Wingdings" charset="2"/>
              <a:buChar char="§"/>
              <a:tabLst/>
              <a:defRPr sz="1500" b="0" kern="1200" baseline="0">
                <a:solidFill>
                  <a:srgbClr val="575D6B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2pPr>
            <a:lvl3pPr marL="1071563" indent="-1571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300" b="0" kern="1200" baseline="0">
                <a:solidFill>
                  <a:srgbClr val="575D6B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3pPr>
            <a:lvl4pPr marL="1558925" indent="-1873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200" b="0" kern="1200" baseline="0">
                <a:solidFill>
                  <a:srgbClr val="575D6B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4pPr>
            <a:lvl5pPr marL="20002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100" b="0" kern="1200" baseline="0">
                <a:solidFill>
                  <a:srgbClr val="575D6B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B1562"/>
              </a:buClr>
              <a:buSzPct val="100000"/>
              <a:buFont typeface="Wingdings" charset="2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75D6B"/>
                </a:solidFill>
                <a:effectLst/>
                <a:uLnTx/>
                <a:uFillTx/>
                <a:latin typeface="Franklin Gothic Book" charset="0"/>
              </a:rPr>
              <a:t>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161118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anks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9E4C2A-7C4B-1145-B91D-F2840917D1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>
              <a:lnSpc>
                <a:spcPct val="150000"/>
              </a:lnSpc>
              <a:spcBef>
                <a:spcPts val="0"/>
              </a:spcBef>
            </a:pPr>
            <a:r>
              <a:rPr lang="en-GB">
                <a:solidFill>
                  <a:srgbClr val="FFFFFF">
                    <a:lumMod val="75000"/>
                  </a:srgbClr>
                </a:solidFill>
                <a:latin typeface="Franklin Gothic Book" panose="020B0503020102020204"/>
                <a:ea typeface="+mn-ea"/>
                <a:cs typeface="+mn-cs"/>
              </a:rPr>
              <a:t>Presenters Name – Title </a:t>
            </a:r>
            <a:r>
              <a:rPr lang="en-GB">
                <a:solidFill>
                  <a:srgbClr val="FFFFFF">
                    <a:lumMod val="75000"/>
                  </a:srgbClr>
                </a:solidFill>
                <a:latin typeface="Franklin Gothic Book" panose="020B0503020102020204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GB">
                <a:solidFill>
                  <a:srgbClr val="FFFFFF">
                    <a:lumMod val="75000"/>
                  </a:srgbClr>
                </a:solidFill>
                <a:latin typeface="Franklin Gothic Book" panose="020B0503020102020204"/>
                <a:ea typeface="+mn-ea"/>
                <a:cs typeface="+mn-cs"/>
              </a:rPr>
              <a:t> </a:t>
            </a:r>
            <a:br>
              <a:rPr lang="en-GB">
                <a:solidFill>
                  <a:srgbClr val="FFFFFF">
                    <a:lumMod val="75000"/>
                  </a:srgbClr>
                </a:solidFill>
                <a:latin typeface="Franklin Gothic Book" panose="020B0503020102020204"/>
                <a:ea typeface="+mn-ea"/>
                <a:cs typeface="+mn-cs"/>
              </a:rPr>
            </a:br>
            <a:r>
              <a:rPr lang="en-GB">
                <a:solidFill>
                  <a:srgbClr val="FFFFFF">
                    <a:lumMod val="75000"/>
                  </a:srgbClr>
                </a:solidFill>
                <a:latin typeface="Franklin Gothic Book" panose="020B0503020102020204"/>
                <a:ea typeface="+mn-ea"/>
                <a:cs typeface="+mn-cs"/>
              </a:rPr>
              <a:t>+47 999 99 999 / </a:t>
            </a:r>
            <a:r>
              <a:rPr lang="en-GB">
                <a:solidFill>
                  <a:srgbClr val="FFFFFF"/>
                </a:solidFill>
                <a:latin typeface="Franklin Gothic Book" panose="020B0503020102020204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me.name@puzzel.co</a:t>
            </a:r>
            <a:r>
              <a:rPr lang="en-GB" u="sng">
                <a:solidFill>
                  <a:srgbClr val="FFFFFF"/>
                </a:solidFill>
                <a:latin typeface="Franklin Gothic Book" panose="020B0503020102020204"/>
                <a:ea typeface="+mn-ea"/>
                <a:cs typeface="+mn-cs"/>
              </a:rPr>
              <a:t>m</a:t>
            </a:r>
          </a:p>
        </p:txBody>
      </p:sp>
      <p:pic>
        <p:nvPicPr>
          <p:cNvPr id="7" name="Picture 6" descr="A close up of a sign&#10;&#10;Description automatically generated">
            <a:hlinkClick r:id="rId4"/>
            <a:extLst>
              <a:ext uri="{FF2B5EF4-FFF2-40B4-BE49-F238E27FC236}">
                <a16:creationId xmlns:a16="http://schemas.microsoft.com/office/drawing/2014/main" id="{7FFA0752-2069-BC4B-9FE7-B236BD1DF1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5295" y="4264018"/>
            <a:ext cx="428748" cy="428748"/>
          </a:xfrm>
          <a:prstGeom prst="rect">
            <a:avLst/>
          </a:prstGeom>
        </p:spPr>
      </p:pic>
      <p:pic>
        <p:nvPicPr>
          <p:cNvPr id="9" name="Picture 8">
            <a:hlinkClick r:id="rId6"/>
            <a:extLst>
              <a:ext uri="{FF2B5EF4-FFF2-40B4-BE49-F238E27FC236}">
                <a16:creationId xmlns:a16="http://schemas.microsoft.com/office/drawing/2014/main" id="{CB005D50-ED2F-1546-8AF7-180003D0F2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8252" y="4264018"/>
            <a:ext cx="428748" cy="428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8572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0663" y="3768438"/>
            <a:ext cx="6703846" cy="2303178"/>
          </a:xfrm>
        </p:spPr>
        <p:txBody>
          <a:bodyPr/>
          <a:lstStyle/>
          <a:p>
            <a:r>
              <a:rPr lang="en-GB"/>
              <a:t>Thanks!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740663" y="1961140"/>
            <a:ext cx="6422137" cy="1128423"/>
          </a:xfrm>
          <a:prstGeom prst="rect">
            <a:avLst/>
          </a:prstGeom>
          <a:ln>
            <a:noFill/>
          </a:ln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GB" sz="2400" b="1">
                <a:solidFill>
                  <a:schemeClr val="bg1"/>
                </a:solidFill>
              </a:rPr>
              <a:t>Presenters Name – Title </a:t>
            </a:r>
            <a:r>
              <a:rPr lang="en-GB" sz="2400" b="1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GB" sz="2400" b="1">
                <a:solidFill>
                  <a:schemeClr val="bg1"/>
                </a:solidFill>
              </a:rPr>
              <a:t> </a:t>
            </a:r>
            <a:br>
              <a:rPr lang="en-GB" sz="2400" b="1">
                <a:solidFill>
                  <a:schemeClr val="bg1"/>
                </a:solidFill>
              </a:rPr>
            </a:br>
            <a:r>
              <a:rPr lang="en-GB" sz="2400" b="1">
                <a:solidFill>
                  <a:schemeClr val="bg1"/>
                </a:solidFill>
              </a:rPr>
              <a:t>+47 999 99 999 / </a:t>
            </a:r>
            <a:r>
              <a:rPr lang="en-GB" sz="2400" b="1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me.name@puzzel.com</a:t>
            </a:r>
            <a:endParaRPr lang="en-GB" sz="2400" b="1">
              <a:solidFill>
                <a:schemeClr val="bg1"/>
              </a:solidFill>
            </a:endParaRPr>
          </a:p>
        </p:txBody>
      </p:sp>
      <p:pic>
        <p:nvPicPr>
          <p:cNvPr id="7" name="Picture 6">
            <a:hlinkClick r:id="rId4"/>
            <a:extLst>
              <a:ext uri="{FF2B5EF4-FFF2-40B4-BE49-F238E27FC236}">
                <a16:creationId xmlns:a16="http://schemas.microsoft.com/office/drawing/2014/main" id="{8845FB75-378F-5840-A060-2299470703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0282" y="3429000"/>
            <a:ext cx="396523" cy="396523"/>
          </a:xfrm>
          <a:prstGeom prst="rect">
            <a:avLst/>
          </a:prstGeom>
        </p:spPr>
      </p:pic>
      <p:pic>
        <p:nvPicPr>
          <p:cNvPr id="9" name="Picture 8" descr="A close up of a logo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BC8AFBAA-9220-7C4F-99B6-E83374C1BD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78" y="3429000"/>
            <a:ext cx="396523" cy="396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0636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824" y="840111"/>
            <a:ext cx="5042208" cy="1902754"/>
          </a:xfrm>
        </p:spPr>
        <p:txBody>
          <a:bodyPr/>
          <a:lstStyle/>
          <a:p>
            <a:r>
              <a:rPr lang="en-GB"/>
              <a:t>Thanks!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84824" y="3724049"/>
            <a:ext cx="6421438" cy="1128712"/>
          </a:xfrm>
          <a:prstGeom prst="rect">
            <a:avLst/>
          </a:prstGeom>
          <a:ln>
            <a:noFill/>
          </a:ln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GB" sz="1800" b="1"/>
              <a:t>Presenters Name – Title </a:t>
            </a:r>
            <a:r>
              <a:rPr lang="en-GB" sz="1800" b="1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GB" sz="1800" b="1"/>
              <a:t> </a:t>
            </a:r>
            <a:br>
              <a:rPr lang="en-GB" sz="1800" b="1"/>
            </a:br>
            <a:r>
              <a:rPr lang="en-GB" sz="1800" b="1"/>
              <a:t>+47 999 99 999 / </a:t>
            </a:r>
            <a:r>
              <a:rPr lang="en-GB" sz="1800" b="1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me.name@puzzel.com</a:t>
            </a:r>
            <a:endParaRPr lang="en-GB" sz="1800" b="1"/>
          </a:p>
        </p:txBody>
      </p:sp>
      <p:pic>
        <p:nvPicPr>
          <p:cNvPr id="5" name="Picture 4" descr="A close up of a sign&#10;&#10;Description automatically generated">
            <a:hlinkClick r:id="rId4"/>
            <a:extLst>
              <a:ext uri="{FF2B5EF4-FFF2-40B4-BE49-F238E27FC236}">
                <a16:creationId xmlns:a16="http://schemas.microsoft.com/office/drawing/2014/main" id="{24A70A92-02EC-E646-965C-ABB2B36281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4605" y="4852761"/>
            <a:ext cx="428748" cy="428748"/>
          </a:xfrm>
          <a:prstGeom prst="rect">
            <a:avLst/>
          </a:prstGeom>
        </p:spPr>
      </p:pic>
      <p:pic>
        <p:nvPicPr>
          <p:cNvPr id="6" name="Picture 5">
            <a:hlinkClick r:id="rId6"/>
            <a:extLst>
              <a:ext uri="{FF2B5EF4-FFF2-40B4-BE49-F238E27FC236}">
                <a16:creationId xmlns:a16="http://schemas.microsoft.com/office/drawing/2014/main" id="{7B19E143-B3A6-094F-BEBC-D9E451E1D0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824" y="4852761"/>
            <a:ext cx="428748" cy="42874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081EA17-942A-294F-A341-AF5BA173115B}"/>
              </a:ext>
            </a:extLst>
          </p:cNvPr>
          <p:cNvSpPr txBox="1"/>
          <p:nvPr/>
        </p:nvSpPr>
        <p:spPr>
          <a:xfrm>
            <a:off x="1113573" y="4913247"/>
            <a:ext cx="18554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/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uzzelsolutions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441C02-58A1-AD40-A66E-3C59782580D4}"/>
              </a:ext>
            </a:extLst>
          </p:cNvPr>
          <p:cNvSpPr txBox="1"/>
          <p:nvPr/>
        </p:nvSpPr>
        <p:spPr>
          <a:xfrm>
            <a:off x="3179671" y="4913247"/>
            <a:ext cx="50162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/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ompany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/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uzzel-solving-customer-interactions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3168821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1876779" y="5320025"/>
            <a:ext cx="10313302" cy="822960"/>
            <a:chOff x="3794365" y="5357096"/>
            <a:chExt cx="10313302" cy="822960"/>
          </a:xfrm>
          <a:effectLst>
            <a:glow>
              <a:schemeClr val="accent1"/>
            </a:glow>
          </a:effectLst>
        </p:grpSpPr>
        <p:sp>
          <p:nvSpPr>
            <p:cNvPr id="7" name="Text Placeholder 54"/>
            <p:cNvSpPr txBox="1">
              <a:spLocks/>
            </p:cNvSpPr>
            <p:nvPr/>
          </p:nvSpPr>
          <p:spPr>
            <a:xfrm>
              <a:off x="4210051" y="5402816"/>
              <a:ext cx="9897616" cy="731520"/>
            </a:xfrm>
            <a:prstGeom prst="rect">
              <a:avLst/>
            </a:prstGeom>
            <a:solidFill>
              <a:schemeClr val="accent5"/>
            </a:solidFill>
          </p:spPr>
          <p:txBody>
            <a:bodyPr lIns="548640" anchor="ctr">
              <a:normAutofit/>
            </a:bodyPr>
            <a:lstStyle>
              <a:lvl1pPr marL="342900" indent="-3429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n"/>
                <a:tabLst/>
                <a:defRPr sz="2800" kern="1200">
                  <a:solidFill>
                    <a:schemeClr val="accent3"/>
                  </a:solidFill>
                  <a:latin typeface="HelveticaNeueLT Std"/>
                  <a:ea typeface="+mn-ea"/>
                  <a:cs typeface="Arial" panose="020B0604020202020204" pitchFamily="34" charset="0"/>
                </a:defRPr>
              </a:lvl1pPr>
              <a:lvl2pPr marL="688975" indent="-293688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indent="-23495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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95388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l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9075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EB1562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sz="2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Next Steps</a:t>
              </a:r>
            </a:p>
          </p:txBody>
        </p:sp>
        <p:sp>
          <p:nvSpPr>
            <p:cNvPr id="11" name="Oval 13"/>
            <p:cNvSpPr/>
            <p:nvPr/>
          </p:nvSpPr>
          <p:spPr>
            <a:xfrm>
              <a:off x="3794365" y="5357096"/>
              <a:ext cx="822960" cy="822960"/>
            </a:xfrm>
            <a:prstGeom prst="ellipse">
              <a:avLst/>
            </a:prstGeom>
            <a:solidFill>
              <a:schemeClr val="accent5"/>
            </a:solidFill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1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61533" y="5610202"/>
              <a:ext cx="451580" cy="31345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3" name="Group 22"/>
          <p:cNvGrpSpPr/>
          <p:nvPr/>
        </p:nvGrpSpPr>
        <p:grpSpPr>
          <a:xfrm>
            <a:off x="1876779" y="276080"/>
            <a:ext cx="10313301" cy="822960"/>
            <a:chOff x="3793994" y="404096"/>
            <a:chExt cx="10313301" cy="822960"/>
          </a:xfrm>
        </p:grpSpPr>
        <p:sp>
          <p:nvSpPr>
            <p:cNvPr id="10" name="Text Placeholder 52"/>
            <p:cNvSpPr txBox="1">
              <a:spLocks/>
            </p:cNvSpPr>
            <p:nvPr/>
          </p:nvSpPr>
          <p:spPr>
            <a:xfrm>
              <a:off x="4210050" y="449816"/>
              <a:ext cx="9897245" cy="73152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548640" anchor="ctr">
              <a:normAutofit/>
            </a:bodyPr>
            <a:lstStyle>
              <a:lvl1pPr marL="342900" indent="-3429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n"/>
                <a:tabLst/>
                <a:defRPr sz="2800" kern="1200">
                  <a:solidFill>
                    <a:schemeClr val="accent3"/>
                  </a:solidFill>
                  <a:latin typeface="HelveticaNeueLT Std"/>
                  <a:ea typeface="+mn-ea"/>
                  <a:cs typeface="Arial" panose="020B0604020202020204" pitchFamily="34" charset="0"/>
                </a:defRPr>
              </a:lvl1pPr>
              <a:lvl2pPr marL="688975" indent="-293688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indent="-23495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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95388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l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9075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EB1562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sz="2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Quick Overview</a:t>
              </a:r>
            </a:p>
          </p:txBody>
        </p:sp>
        <p:sp>
          <p:nvSpPr>
            <p:cNvPr id="15" name="Oval 13"/>
            <p:cNvSpPr/>
            <p:nvPr/>
          </p:nvSpPr>
          <p:spPr>
            <a:xfrm>
              <a:off x="3793994" y="404096"/>
              <a:ext cx="822960" cy="822960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1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endParaRPr>
            </a:p>
          </p:txBody>
        </p:sp>
        <p:pic>
          <p:nvPicPr>
            <p:cNvPr id="16" name="Imagem 49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77847" y="594919"/>
              <a:ext cx="476043" cy="455786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1876779" y="2293658"/>
            <a:ext cx="10313301" cy="822960"/>
            <a:chOff x="3793994" y="2836063"/>
            <a:chExt cx="10313301" cy="822960"/>
          </a:xfrm>
          <a:effectLst>
            <a:glow>
              <a:schemeClr val="accent1"/>
            </a:glow>
          </a:effectLst>
        </p:grpSpPr>
        <p:sp>
          <p:nvSpPr>
            <p:cNvPr id="9" name="Text Placeholder 49"/>
            <p:cNvSpPr txBox="1">
              <a:spLocks/>
            </p:cNvSpPr>
            <p:nvPr/>
          </p:nvSpPr>
          <p:spPr>
            <a:xfrm>
              <a:off x="4208130" y="2881783"/>
              <a:ext cx="9899165" cy="731520"/>
            </a:xfrm>
            <a:prstGeom prst="rect">
              <a:avLst/>
            </a:prstGeom>
            <a:solidFill>
              <a:schemeClr val="accent3"/>
            </a:solidFill>
          </p:spPr>
          <p:txBody>
            <a:bodyPr lIns="548640" anchor="ctr">
              <a:normAutofit/>
            </a:bodyPr>
            <a:lstStyle>
              <a:lvl1pPr marL="342900" indent="-3429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n"/>
                <a:tabLst/>
                <a:defRPr sz="2800" kern="1200" baseline="0">
                  <a:solidFill>
                    <a:schemeClr val="accent5"/>
                  </a:solidFill>
                  <a:latin typeface="HelveticaNeueLT Std"/>
                  <a:ea typeface="+mn-ea"/>
                  <a:cs typeface="Arial" panose="020B0604020202020204" pitchFamily="34" charset="0"/>
                </a:defRPr>
              </a:lvl1pPr>
              <a:lvl2pPr marL="688975" indent="-293688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indent="-23495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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95388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l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9075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EB1562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sz="2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Topic 2</a:t>
              </a:r>
            </a:p>
          </p:txBody>
        </p:sp>
        <p:sp>
          <p:nvSpPr>
            <p:cNvPr id="12" name="Oval 13"/>
            <p:cNvSpPr/>
            <p:nvPr/>
          </p:nvSpPr>
          <p:spPr>
            <a:xfrm>
              <a:off x="3793994" y="2836063"/>
              <a:ext cx="822960" cy="822960"/>
            </a:xfrm>
            <a:prstGeom prst="ellipse">
              <a:avLst/>
            </a:prstGeom>
            <a:solidFill>
              <a:schemeClr val="accent3"/>
            </a:solidFill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1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endParaRPr>
            </a:p>
          </p:txBody>
        </p:sp>
        <p:pic>
          <p:nvPicPr>
            <p:cNvPr id="17" name="Picture 5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61162" y="3111807"/>
              <a:ext cx="465773" cy="29830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5" name="Group 24"/>
          <p:cNvGrpSpPr/>
          <p:nvPr/>
        </p:nvGrpSpPr>
        <p:grpSpPr>
          <a:xfrm>
            <a:off x="1876779" y="4311236"/>
            <a:ext cx="10315221" cy="822960"/>
            <a:chOff x="3793994" y="4104600"/>
            <a:chExt cx="10315221" cy="822960"/>
          </a:xfrm>
          <a:effectLst>
            <a:glow>
              <a:schemeClr val="accent1"/>
            </a:glow>
          </a:effectLst>
        </p:grpSpPr>
        <p:sp>
          <p:nvSpPr>
            <p:cNvPr id="8" name="Text Placeholder 45"/>
            <p:cNvSpPr txBox="1">
              <a:spLocks/>
            </p:cNvSpPr>
            <p:nvPr/>
          </p:nvSpPr>
          <p:spPr>
            <a:xfrm>
              <a:off x="4210051" y="4150320"/>
              <a:ext cx="9899164" cy="731520"/>
            </a:xfrm>
            <a:prstGeom prst="rect">
              <a:avLst/>
            </a:prstGeom>
            <a:solidFill>
              <a:schemeClr val="accent4"/>
            </a:solidFill>
          </p:spPr>
          <p:txBody>
            <a:bodyPr lIns="548640" anchor="ctr">
              <a:noAutofit/>
            </a:bodyPr>
            <a:lstStyle>
              <a:lvl1pPr marL="342900" indent="-3429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n"/>
                <a:tabLst/>
                <a:defRPr sz="2800" kern="1200">
                  <a:solidFill>
                    <a:schemeClr val="accent1"/>
                  </a:solidFill>
                  <a:latin typeface="HelveticaNeueLT Std"/>
                  <a:ea typeface="+mn-ea"/>
                  <a:cs typeface="Arial" panose="020B0604020202020204" pitchFamily="34" charset="0"/>
                </a:defRPr>
              </a:lvl1pPr>
              <a:lvl2pPr marL="688975" indent="-293688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indent="-23495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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95388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l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9075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B1562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sz="2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Topic 4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3793994" y="4104600"/>
              <a:ext cx="822960" cy="82296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1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endParaRPr>
            </a:p>
          </p:txBody>
        </p:sp>
        <p:pic>
          <p:nvPicPr>
            <p:cNvPr id="19" name="Picture 5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00717" y="4282541"/>
              <a:ext cx="409513" cy="43614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" name="Group 4"/>
          <p:cNvGrpSpPr/>
          <p:nvPr/>
        </p:nvGrpSpPr>
        <p:grpSpPr>
          <a:xfrm>
            <a:off x="1876779" y="1284869"/>
            <a:ext cx="10313301" cy="822960"/>
            <a:chOff x="3793994" y="1555117"/>
            <a:chExt cx="10313301" cy="822960"/>
          </a:xfrm>
          <a:effectLst>
            <a:glow>
              <a:schemeClr val="accent1"/>
            </a:glow>
          </a:effectLst>
        </p:grpSpPr>
        <p:sp>
          <p:nvSpPr>
            <p:cNvPr id="6" name="Text Placeholder 52"/>
            <p:cNvSpPr txBox="1">
              <a:spLocks/>
            </p:cNvSpPr>
            <p:nvPr/>
          </p:nvSpPr>
          <p:spPr>
            <a:xfrm>
              <a:off x="4215515" y="1613299"/>
              <a:ext cx="9891780" cy="731520"/>
            </a:xfrm>
            <a:prstGeom prst="rect">
              <a:avLst/>
            </a:prstGeom>
            <a:solidFill>
              <a:schemeClr val="accent2"/>
            </a:solidFill>
          </p:spPr>
          <p:txBody>
            <a:bodyPr lIns="548640" anchor="ctr">
              <a:normAutofit/>
            </a:bodyPr>
            <a:lstStyle>
              <a:lvl1pPr marL="342900" indent="-3429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n"/>
                <a:tabLst/>
                <a:defRPr sz="2800" kern="1200">
                  <a:solidFill>
                    <a:schemeClr val="accent3"/>
                  </a:solidFill>
                  <a:latin typeface="HelveticaNeueLT Std"/>
                  <a:ea typeface="+mn-ea"/>
                  <a:cs typeface="Arial" panose="020B0604020202020204" pitchFamily="34" charset="0"/>
                </a:defRPr>
              </a:lvl1pPr>
              <a:lvl2pPr marL="688975" indent="-293688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indent="-23495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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95388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l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9075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EB1562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sz="2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Topic 1</a:t>
              </a:r>
            </a:p>
          </p:txBody>
        </p:sp>
        <p:sp>
          <p:nvSpPr>
            <p:cNvPr id="13" name="Oval 12"/>
            <p:cNvSpPr/>
            <p:nvPr/>
          </p:nvSpPr>
          <p:spPr>
            <a:xfrm>
              <a:off x="3793994" y="1555117"/>
              <a:ext cx="822960" cy="822960"/>
            </a:xfrm>
            <a:prstGeom prst="ellipse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1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endParaRPr>
            </a:p>
          </p:txBody>
        </p:sp>
        <p:pic>
          <p:nvPicPr>
            <p:cNvPr id="20" name="Picture 5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04094" y="1782525"/>
              <a:ext cx="422841" cy="37799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2" name="Group 31"/>
          <p:cNvGrpSpPr/>
          <p:nvPr/>
        </p:nvGrpSpPr>
        <p:grpSpPr>
          <a:xfrm>
            <a:off x="1876779" y="3302447"/>
            <a:ext cx="10315221" cy="822960"/>
            <a:chOff x="3800090" y="3159720"/>
            <a:chExt cx="10315221" cy="822960"/>
          </a:xfrm>
          <a:effectLst>
            <a:glow>
              <a:schemeClr val="accent1"/>
            </a:glow>
          </a:effectLst>
        </p:grpSpPr>
        <p:sp>
          <p:nvSpPr>
            <p:cNvPr id="29" name="Text Placeholder 45"/>
            <p:cNvSpPr txBox="1">
              <a:spLocks/>
            </p:cNvSpPr>
            <p:nvPr/>
          </p:nvSpPr>
          <p:spPr>
            <a:xfrm>
              <a:off x="4216147" y="3242016"/>
              <a:ext cx="9899164" cy="731520"/>
            </a:xfrm>
            <a:prstGeom prst="rect">
              <a:avLst/>
            </a:prstGeom>
            <a:solidFill>
              <a:srgbClr val="78CE41"/>
            </a:solidFill>
          </p:spPr>
          <p:txBody>
            <a:bodyPr lIns="548640" anchor="ctr">
              <a:noAutofit/>
            </a:bodyPr>
            <a:lstStyle>
              <a:lvl1pPr marL="342900" indent="-3429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n"/>
                <a:tabLst/>
                <a:defRPr sz="2800" kern="1200">
                  <a:solidFill>
                    <a:schemeClr val="accent1"/>
                  </a:solidFill>
                  <a:latin typeface="HelveticaNeueLT Std"/>
                  <a:ea typeface="+mn-ea"/>
                  <a:cs typeface="Arial" panose="020B0604020202020204" pitchFamily="34" charset="0"/>
                </a:defRPr>
              </a:lvl1pPr>
              <a:lvl2pPr marL="688975" indent="-293688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indent="-23495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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95388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l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9075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B1562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sz="2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Topic 3</a:t>
              </a:r>
            </a:p>
          </p:txBody>
        </p:sp>
        <p:sp>
          <p:nvSpPr>
            <p:cNvPr id="27" name="Oval 26"/>
            <p:cNvSpPr/>
            <p:nvPr/>
          </p:nvSpPr>
          <p:spPr>
            <a:xfrm>
              <a:off x="3800090" y="3159720"/>
              <a:ext cx="822960" cy="822960"/>
            </a:xfrm>
            <a:prstGeom prst="ellipse">
              <a:avLst/>
            </a:prstGeom>
            <a:solidFill>
              <a:srgbClr val="78CE41"/>
            </a:solidFill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1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endParaRPr>
            </a:p>
          </p:txBody>
        </p:sp>
        <p:pic>
          <p:nvPicPr>
            <p:cNvPr id="31" name="Picture 2" descr="Image result for white briefcase png">
              <a:hlinkClick r:id="rId7"/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6918" y="3397642"/>
              <a:ext cx="354615" cy="3546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764634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5991579" y="5320025"/>
            <a:ext cx="6200421" cy="822960"/>
            <a:chOff x="3794365" y="5357096"/>
            <a:chExt cx="6200421" cy="822960"/>
          </a:xfrm>
          <a:effectLst>
            <a:glow>
              <a:schemeClr val="accent1"/>
            </a:glow>
          </a:effectLst>
        </p:grpSpPr>
        <p:sp>
          <p:nvSpPr>
            <p:cNvPr id="7" name="Text Placeholder 54"/>
            <p:cNvSpPr txBox="1">
              <a:spLocks/>
            </p:cNvSpPr>
            <p:nvPr/>
          </p:nvSpPr>
          <p:spPr>
            <a:xfrm>
              <a:off x="4210051" y="5402816"/>
              <a:ext cx="5784735" cy="731520"/>
            </a:xfrm>
            <a:prstGeom prst="rect">
              <a:avLst/>
            </a:prstGeom>
            <a:solidFill>
              <a:schemeClr val="accent5"/>
            </a:solidFill>
          </p:spPr>
          <p:txBody>
            <a:bodyPr lIns="548640" anchor="ctr">
              <a:normAutofit/>
            </a:bodyPr>
            <a:lstStyle>
              <a:lvl1pPr marL="342900" indent="-3429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n"/>
                <a:tabLst/>
                <a:defRPr sz="2800" kern="1200">
                  <a:solidFill>
                    <a:schemeClr val="accent3"/>
                  </a:solidFill>
                  <a:latin typeface="HelveticaNeueLT Std"/>
                  <a:ea typeface="+mn-ea"/>
                  <a:cs typeface="Arial" panose="020B0604020202020204" pitchFamily="34" charset="0"/>
                </a:defRPr>
              </a:lvl1pPr>
              <a:lvl2pPr marL="688975" indent="-293688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indent="-23495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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95388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l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9075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EB1562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sz="2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Next Steps</a:t>
              </a:r>
            </a:p>
          </p:txBody>
        </p:sp>
        <p:sp>
          <p:nvSpPr>
            <p:cNvPr id="11" name="Oval 13"/>
            <p:cNvSpPr/>
            <p:nvPr/>
          </p:nvSpPr>
          <p:spPr>
            <a:xfrm>
              <a:off x="3794365" y="5357096"/>
              <a:ext cx="822960" cy="822960"/>
            </a:xfrm>
            <a:prstGeom prst="ellipse">
              <a:avLst/>
            </a:prstGeom>
            <a:solidFill>
              <a:schemeClr val="accent5"/>
            </a:solidFill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1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61533" y="5610202"/>
              <a:ext cx="451580" cy="31345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3" name="Group 22"/>
          <p:cNvGrpSpPr/>
          <p:nvPr/>
        </p:nvGrpSpPr>
        <p:grpSpPr>
          <a:xfrm>
            <a:off x="1876779" y="276080"/>
            <a:ext cx="10313301" cy="822960"/>
            <a:chOff x="3793994" y="404096"/>
            <a:chExt cx="10313301" cy="822960"/>
          </a:xfrm>
        </p:grpSpPr>
        <p:sp>
          <p:nvSpPr>
            <p:cNvPr id="10" name="Text Placeholder 52"/>
            <p:cNvSpPr txBox="1">
              <a:spLocks/>
            </p:cNvSpPr>
            <p:nvPr/>
          </p:nvSpPr>
          <p:spPr>
            <a:xfrm>
              <a:off x="4210050" y="449816"/>
              <a:ext cx="9897245" cy="73152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548640" anchor="ctr">
              <a:normAutofit/>
            </a:bodyPr>
            <a:lstStyle>
              <a:lvl1pPr marL="342900" indent="-3429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n"/>
                <a:tabLst/>
                <a:defRPr sz="2800" kern="1200">
                  <a:solidFill>
                    <a:schemeClr val="accent3"/>
                  </a:solidFill>
                  <a:latin typeface="HelveticaNeueLT Std"/>
                  <a:ea typeface="+mn-ea"/>
                  <a:cs typeface="Arial" panose="020B0604020202020204" pitchFamily="34" charset="0"/>
                </a:defRPr>
              </a:lvl1pPr>
              <a:lvl2pPr marL="688975" indent="-293688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indent="-23495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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95388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l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9075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EB1562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sz="2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Quick Overview</a:t>
              </a:r>
            </a:p>
          </p:txBody>
        </p:sp>
        <p:sp>
          <p:nvSpPr>
            <p:cNvPr id="15" name="Oval 13"/>
            <p:cNvSpPr/>
            <p:nvPr/>
          </p:nvSpPr>
          <p:spPr>
            <a:xfrm>
              <a:off x="3793994" y="404096"/>
              <a:ext cx="822960" cy="822960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1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endParaRPr>
            </a:p>
          </p:txBody>
        </p:sp>
        <p:pic>
          <p:nvPicPr>
            <p:cNvPr id="16" name="Imagem 49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77847" y="594919"/>
              <a:ext cx="476043" cy="455786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3522699" y="2293658"/>
            <a:ext cx="8669301" cy="822960"/>
            <a:chOff x="3793994" y="2836063"/>
            <a:chExt cx="8669301" cy="822960"/>
          </a:xfrm>
          <a:effectLst>
            <a:glow>
              <a:schemeClr val="accent1"/>
            </a:glow>
          </a:effectLst>
        </p:grpSpPr>
        <p:sp>
          <p:nvSpPr>
            <p:cNvPr id="9" name="Text Placeholder 49"/>
            <p:cNvSpPr txBox="1">
              <a:spLocks/>
            </p:cNvSpPr>
            <p:nvPr/>
          </p:nvSpPr>
          <p:spPr>
            <a:xfrm>
              <a:off x="4208130" y="2881783"/>
              <a:ext cx="8255165" cy="731520"/>
            </a:xfrm>
            <a:prstGeom prst="rect">
              <a:avLst/>
            </a:prstGeom>
            <a:solidFill>
              <a:schemeClr val="accent3"/>
            </a:solidFill>
          </p:spPr>
          <p:txBody>
            <a:bodyPr lIns="548640" anchor="ctr">
              <a:normAutofit/>
            </a:bodyPr>
            <a:lstStyle>
              <a:lvl1pPr marL="342900" indent="-3429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n"/>
                <a:tabLst/>
                <a:defRPr sz="2800" kern="1200" baseline="0">
                  <a:solidFill>
                    <a:schemeClr val="accent5"/>
                  </a:solidFill>
                  <a:latin typeface="HelveticaNeueLT Std"/>
                  <a:ea typeface="+mn-ea"/>
                  <a:cs typeface="Arial" panose="020B0604020202020204" pitchFamily="34" charset="0"/>
                </a:defRPr>
              </a:lvl1pPr>
              <a:lvl2pPr marL="688975" indent="-293688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indent="-23495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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95388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l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9075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EB1562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sz="2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Topic 2</a:t>
              </a:r>
            </a:p>
          </p:txBody>
        </p:sp>
        <p:sp>
          <p:nvSpPr>
            <p:cNvPr id="12" name="Oval 13"/>
            <p:cNvSpPr/>
            <p:nvPr/>
          </p:nvSpPr>
          <p:spPr>
            <a:xfrm>
              <a:off x="3793994" y="2836063"/>
              <a:ext cx="822960" cy="822960"/>
            </a:xfrm>
            <a:prstGeom prst="ellipse">
              <a:avLst/>
            </a:prstGeom>
            <a:solidFill>
              <a:schemeClr val="accent3"/>
            </a:solidFill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1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endParaRPr>
            </a:p>
          </p:txBody>
        </p:sp>
        <p:pic>
          <p:nvPicPr>
            <p:cNvPr id="17" name="Picture 5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61162" y="3111807"/>
              <a:ext cx="465773" cy="29830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5" name="Group 24"/>
          <p:cNvGrpSpPr/>
          <p:nvPr/>
        </p:nvGrpSpPr>
        <p:grpSpPr>
          <a:xfrm>
            <a:off x="5168619" y="4311236"/>
            <a:ext cx="7023381" cy="822960"/>
            <a:chOff x="3793994" y="4104600"/>
            <a:chExt cx="7023381" cy="822960"/>
          </a:xfrm>
          <a:effectLst>
            <a:glow>
              <a:schemeClr val="accent1"/>
            </a:glow>
          </a:effectLst>
        </p:grpSpPr>
        <p:sp>
          <p:nvSpPr>
            <p:cNvPr id="8" name="Text Placeholder 45"/>
            <p:cNvSpPr txBox="1">
              <a:spLocks/>
            </p:cNvSpPr>
            <p:nvPr/>
          </p:nvSpPr>
          <p:spPr>
            <a:xfrm>
              <a:off x="4210051" y="4150320"/>
              <a:ext cx="6607324" cy="731520"/>
            </a:xfrm>
            <a:prstGeom prst="rect">
              <a:avLst/>
            </a:prstGeom>
            <a:solidFill>
              <a:schemeClr val="accent4"/>
            </a:solidFill>
          </p:spPr>
          <p:txBody>
            <a:bodyPr lIns="548640" anchor="ctr">
              <a:noAutofit/>
            </a:bodyPr>
            <a:lstStyle>
              <a:lvl1pPr marL="342900" indent="-3429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n"/>
                <a:tabLst/>
                <a:defRPr sz="2800" kern="1200">
                  <a:solidFill>
                    <a:schemeClr val="accent1"/>
                  </a:solidFill>
                  <a:latin typeface="HelveticaNeueLT Std"/>
                  <a:ea typeface="+mn-ea"/>
                  <a:cs typeface="Arial" panose="020B0604020202020204" pitchFamily="34" charset="0"/>
                </a:defRPr>
              </a:lvl1pPr>
              <a:lvl2pPr marL="688975" indent="-293688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indent="-23495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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95388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l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9075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B1562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sz="2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Topic 4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3793994" y="4104600"/>
              <a:ext cx="822960" cy="82296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1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endParaRPr>
            </a:p>
          </p:txBody>
        </p:sp>
        <p:pic>
          <p:nvPicPr>
            <p:cNvPr id="19" name="Picture 5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00717" y="4282541"/>
              <a:ext cx="409513" cy="43614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" name="Group 4"/>
          <p:cNvGrpSpPr/>
          <p:nvPr/>
        </p:nvGrpSpPr>
        <p:grpSpPr>
          <a:xfrm>
            <a:off x="2699739" y="1284869"/>
            <a:ext cx="9492261" cy="822960"/>
            <a:chOff x="3793994" y="1555117"/>
            <a:chExt cx="9492261" cy="822960"/>
          </a:xfrm>
          <a:effectLst>
            <a:glow>
              <a:schemeClr val="accent1"/>
            </a:glow>
          </a:effectLst>
        </p:grpSpPr>
        <p:sp>
          <p:nvSpPr>
            <p:cNvPr id="6" name="Text Placeholder 52"/>
            <p:cNvSpPr txBox="1">
              <a:spLocks/>
            </p:cNvSpPr>
            <p:nvPr/>
          </p:nvSpPr>
          <p:spPr>
            <a:xfrm>
              <a:off x="4215515" y="1613299"/>
              <a:ext cx="9070740" cy="731520"/>
            </a:xfrm>
            <a:prstGeom prst="rect">
              <a:avLst/>
            </a:prstGeom>
            <a:solidFill>
              <a:schemeClr val="accent2"/>
            </a:solidFill>
          </p:spPr>
          <p:txBody>
            <a:bodyPr lIns="548640" anchor="ctr">
              <a:normAutofit/>
            </a:bodyPr>
            <a:lstStyle>
              <a:lvl1pPr marL="342900" indent="-3429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n"/>
                <a:tabLst/>
                <a:defRPr sz="2800" kern="1200">
                  <a:solidFill>
                    <a:schemeClr val="accent3"/>
                  </a:solidFill>
                  <a:latin typeface="HelveticaNeueLT Std"/>
                  <a:ea typeface="+mn-ea"/>
                  <a:cs typeface="Arial" panose="020B0604020202020204" pitchFamily="34" charset="0"/>
                </a:defRPr>
              </a:lvl1pPr>
              <a:lvl2pPr marL="688975" indent="-293688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indent="-23495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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95388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l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9075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EB1562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sz="2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Topic 1</a:t>
              </a:r>
            </a:p>
          </p:txBody>
        </p:sp>
        <p:sp>
          <p:nvSpPr>
            <p:cNvPr id="13" name="Oval 12"/>
            <p:cNvSpPr/>
            <p:nvPr/>
          </p:nvSpPr>
          <p:spPr>
            <a:xfrm>
              <a:off x="3793994" y="1555117"/>
              <a:ext cx="822960" cy="822960"/>
            </a:xfrm>
            <a:prstGeom prst="ellipse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1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endParaRPr>
            </a:p>
          </p:txBody>
        </p:sp>
        <p:pic>
          <p:nvPicPr>
            <p:cNvPr id="20" name="Picture 5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04094" y="1782525"/>
              <a:ext cx="422841" cy="37799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2" name="Group 31"/>
          <p:cNvGrpSpPr/>
          <p:nvPr/>
        </p:nvGrpSpPr>
        <p:grpSpPr>
          <a:xfrm>
            <a:off x="4345659" y="3302447"/>
            <a:ext cx="7846341" cy="822960"/>
            <a:chOff x="3800090" y="3159720"/>
            <a:chExt cx="7846341" cy="822960"/>
          </a:xfrm>
          <a:effectLst>
            <a:glow>
              <a:schemeClr val="accent1"/>
            </a:glow>
          </a:effectLst>
        </p:grpSpPr>
        <p:sp>
          <p:nvSpPr>
            <p:cNvPr id="29" name="Text Placeholder 45"/>
            <p:cNvSpPr txBox="1">
              <a:spLocks/>
            </p:cNvSpPr>
            <p:nvPr/>
          </p:nvSpPr>
          <p:spPr>
            <a:xfrm>
              <a:off x="4216147" y="3242016"/>
              <a:ext cx="7430284" cy="731520"/>
            </a:xfrm>
            <a:prstGeom prst="rect">
              <a:avLst/>
            </a:prstGeom>
            <a:solidFill>
              <a:srgbClr val="78CE41"/>
            </a:solidFill>
          </p:spPr>
          <p:txBody>
            <a:bodyPr lIns="548640" anchor="ctr">
              <a:noAutofit/>
            </a:bodyPr>
            <a:lstStyle>
              <a:lvl1pPr marL="342900" indent="-3429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n"/>
                <a:tabLst/>
                <a:defRPr sz="2800" kern="1200">
                  <a:solidFill>
                    <a:schemeClr val="accent1"/>
                  </a:solidFill>
                  <a:latin typeface="HelveticaNeueLT Std"/>
                  <a:ea typeface="+mn-ea"/>
                  <a:cs typeface="Arial" panose="020B0604020202020204" pitchFamily="34" charset="0"/>
                </a:defRPr>
              </a:lvl1pPr>
              <a:lvl2pPr marL="688975" indent="-293688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indent="-23495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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95388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l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9075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B1562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sz="2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Topic 3</a:t>
              </a:r>
            </a:p>
          </p:txBody>
        </p:sp>
        <p:sp>
          <p:nvSpPr>
            <p:cNvPr id="27" name="Oval 26"/>
            <p:cNvSpPr/>
            <p:nvPr/>
          </p:nvSpPr>
          <p:spPr>
            <a:xfrm>
              <a:off x="3800090" y="3159720"/>
              <a:ext cx="822960" cy="822960"/>
            </a:xfrm>
            <a:prstGeom prst="ellipse">
              <a:avLst/>
            </a:prstGeom>
            <a:solidFill>
              <a:srgbClr val="78CE41"/>
            </a:solidFill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1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endParaRPr>
            </a:p>
          </p:txBody>
        </p:sp>
        <p:pic>
          <p:nvPicPr>
            <p:cNvPr id="31" name="Picture 2" descr="Image result for white briefcase png">
              <a:hlinkClick r:id="rId7"/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6918" y="3397642"/>
              <a:ext cx="354615" cy="3546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7803275D-A5BE-FB4A-B68E-00255EA79489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059431" flipV="1">
            <a:off x="-3151108" y="2088366"/>
            <a:ext cx="6725686" cy="5895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8265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BF0508-AE85-8E4B-A5A1-321FF2C189FA}"/>
              </a:ext>
            </a:extLst>
          </p:cNvPr>
          <p:cNvSpPr/>
          <p:nvPr/>
        </p:nvSpPr>
        <p:spPr>
          <a:xfrm>
            <a:off x="3407471" y="856098"/>
            <a:ext cx="330116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EB1562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Quick Overview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8D4987C-B6C1-AF45-9967-5CD4ADDAC06B}"/>
              </a:ext>
            </a:extLst>
          </p:cNvPr>
          <p:cNvSpPr/>
          <p:nvPr/>
        </p:nvSpPr>
        <p:spPr>
          <a:xfrm>
            <a:off x="3407471" y="1499584"/>
            <a:ext cx="7243714" cy="583200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5872F0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Cloud Multi Channel Contact centr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519982B-D575-794C-9B3E-1BC4FB7207C2}"/>
              </a:ext>
            </a:extLst>
          </p:cNvPr>
          <p:cNvSpPr/>
          <p:nvPr/>
        </p:nvSpPr>
        <p:spPr>
          <a:xfrm>
            <a:off x="3407471" y="2143070"/>
            <a:ext cx="2304670" cy="584775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34C0BC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Puzzel Pay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E3B6A41-8DF0-C341-8D4D-E77CE8022D9A}"/>
              </a:ext>
            </a:extLst>
          </p:cNvPr>
          <p:cNvSpPr/>
          <p:nvPr/>
        </p:nvSpPr>
        <p:spPr>
          <a:xfrm>
            <a:off x="3407471" y="2786556"/>
            <a:ext cx="4810228" cy="583200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67C63B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Integrations &amp; Partner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52C2181-34E9-EA42-9774-8FE91FF13A91}"/>
              </a:ext>
            </a:extLst>
          </p:cNvPr>
          <p:cNvSpPr/>
          <p:nvPr/>
        </p:nvSpPr>
        <p:spPr>
          <a:xfrm>
            <a:off x="3407471" y="3430042"/>
            <a:ext cx="3414589" cy="583200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Next Generatio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5955AA8-73B6-9140-A86B-60520A0A80DA}"/>
              </a:ext>
            </a:extLst>
          </p:cNvPr>
          <p:cNvSpPr/>
          <p:nvPr/>
        </p:nvSpPr>
        <p:spPr>
          <a:xfrm>
            <a:off x="3407471" y="4073528"/>
            <a:ext cx="2334742" cy="583200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B442D6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Next Step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9DD8F24-EA89-2F42-8E85-6ED9F370457A}"/>
              </a:ext>
            </a:extLst>
          </p:cNvPr>
          <p:cNvSpPr/>
          <p:nvPr/>
        </p:nvSpPr>
        <p:spPr>
          <a:xfrm>
            <a:off x="3407471" y="4717014"/>
            <a:ext cx="2309094" cy="583200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5872F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New Step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4F2BD47-3E2D-A149-8101-A32AF28F62BE}"/>
              </a:ext>
            </a:extLst>
          </p:cNvPr>
          <p:cNvSpPr/>
          <p:nvPr/>
        </p:nvSpPr>
        <p:spPr>
          <a:xfrm>
            <a:off x="3407471" y="5360499"/>
            <a:ext cx="3388941" cy="583200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EB1562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New Generation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3455302F-EA33-C348-A0B1-6A959B59A2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772" y="6498449"/>
            <a:ext cx="630230" cy="864815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420CF457-4793-824C-B47D-26D5B54B49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712895">
            <a:off x="558865" y="-335210"/>
            <a:ext cx="931215" cy="537239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94DCD2A0-9424-3B46-A513-A4465AA0B5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683" y="487194"/>
            <a:ext cx="540327" cy="741449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3AA97046-65BB-1D49-A8B7-7449FB93E1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230" y="1379032"/>
            <a:ext cx="802441" cy="584775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8BA9A59A-F554-934D-9E22-BCDCCEB69E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364394">
            <a:off x="840257" y="2216175"/>
            <a:ext cx="1013610" cy="584775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F69B02C8-AFF8-C740-AF4A-FEEE7AC3159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62175">
            <a:off x="411488" y="3180977"/>
            <a:ext cx="737212" cy="537239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ED6CBC59-2DBD-7A42-969D-8941966E77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048016">
            <a:off x="1083025" y="3890382"/>
            <a:ext cx="562920" cy="772451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D174F74D-4386-4E4D-A604-8F7F91B6FB2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9" y="4877934"/>
            <a:ext cx="931215" cy="537239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51B1BD95-6800-044E-B06D-6808F0CCF60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40534">
            <a:off x="1184211" y="5456436"/>
            <a:ext cx="644343" cy="884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437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9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9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9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9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9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9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9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9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DF25A8-81C2-A44A-92A7-FD7ABA28DD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resenter introduction slid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4D85B7-3120-CB49-89BD-452E876640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/>
              <a:t>Guidelin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B991FF-6137-3242-B231-5AE2023AFD1B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r>
              <a:rPr lang="en-GB" sz="2000"/>
              <a:t>The following slides are examples of how profile pictures can be used when introducing a presenter. </a:t>
            </a:r>
          </a:p>
          <a:p>
            <a:r>
              <a:rPr lang="en-GB" sz="2000"/>
              <a:t>When adding a new profile picture to the slides, the </a:t>
            </a:r>
            <a:r>
              <a:rPr lang="en-GB" sz="2000" err="1"/>
              <a:t>Puzzeler</a:t>
            </a:r>
            <a:r>
              <a:rPr lang="en-GB" sz="2000"/>
              <a:t> picture library can be accessed through Sharepoint </a:t>
            </a:r>
            <a:r>
              <a:rPr lang="en-GB" sz="2000">
                <a:solidFill>
                  <a:schemeClr val="accent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lang="en-GB" sz="2000"/>
              <a:t>. </a:t>
            </a:r>
          </a:p>
          <a:p>
            <a:r>
              <a:rPr lang="en-GB" sz="2000"/>
              <a:t>If you would like to feature external presenters on your slide, please ensure you source a high resolution photo and that you crop the image according to the template.</a:t>
            </a:r>
          </a:p>
        </p:txBody>
      </p:sp>
    </p:spTree>
    <p:extLst>
      <p:ext uri="{BB962C8B-B14F-4D97-AF65-F5344CB8AC3E}">
        <p14:creationId xmlns:p14="http://schemas.microsoft.com/office/powerpoint/2010/main" val="36361400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B7EE18-1DEB-4F73-A95A-6B1C596F91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en-GB" sz="6000"/>
              <a:t>Presenters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D8240BA-00AB-1847-9E3D-DF4251D10E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 algn="r">
              <a:buNone/>
            </a:pPr>
            <a:r>
              <a:rPr lang="en-GB" sz="3200" b="1">
                <a:solidFill>
                  <a:schemeClr val="tx1">
                    <a:lumMod val="60000"/>
                    <a:lumOff val="40000"/>
                  </a:schemeClr>
                </a:solidFill>
              </a:rPr>
              <a:t>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FAB1903-EE62-B640-A649-712C6E2EEF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857625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0686A4A-3289-8D4D-9F69-5C5221FA68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3928" y="5582422"/>
            <a:ext cx="2961494" cy="56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3925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DE9C8-13B5-4157-B7C0-E5C4CBE47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6600"/>
              <a:t>Presenters nam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CBDB730-72FE-0D40-A938-B67903012C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sz="3200"/>
              <a:t>Title</a:t>
            </a:r>
          </a:p>
          <a:p>
            <a:r>
              <a:rPr lang="en-GB" sz="3200"/>
              <a:t>Workplace na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93D4B5-4C04-7540-85F6-95D719345F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2055" y="-4124"/>
            <a:ext cx="3859945" cy="6862124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1D862A8-DDFA-734C-88F1-C4189965476F}"/>
              </a:ext>
            </a:extLst>
          </p:cNvPr>
          <p:cNvSpPr txBox="1">
            <a:spLocks/>
          </p:cNvSpPr>
          <p:nvPr/>
        </p:nvSpPr>
        <p:spPr>
          <a:xfrm>
            <a:off x="740664" y="5787756"/>
            <a:ext cx="2972354" cy="6684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2"/>
              </a:buClr>
              <a:buSzPct val="100000"/>
              <a:buFontTx/>
              <a:buNone/>
              <a:tabLst/>
              <a:defRPr sz="1800" b="1" kern="1200" baseline="0">
                <a:solidFill>
                  <a:srgbClr val="909399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623888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90000"/>
              <a:buFont typeface="Arial" charset="0"/>
              <a:buChar char="•"/>
              <a:tabLst/>
              <a:defRPr sz="1500" b="0" kern="1200" baseline="0">
                <a:solidFill>
                  <a:srgbClr val="909399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2pPr>
            <a:lvl3pPr marL="1071563" indent="-1571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300" b="0" kern="1200" baseline="0">
                <a:solidFill>
                  <a:srgbClr val="909399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3pPr>
            <a:lvl4pPr marL="1558925" indent="-1873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200" b="0" kern="1200" baseline="0">
                <a:solidFill>
                  <a:srgbClr val="909399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4pPr>
            <a:lvl5pPr marL="2000250" indent="-1714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100" b="0" kern="1200" baseline="0">
                <a:solidFill>
                  <a:srgbClr val="909399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EB1562"/>
              </a:buClr>
              <a:buSzPct val="100000"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909399"/>
                </a:solidFill>
                <a:effectLst/>
                <a:uLnTx/>
                <a:uFillTx/>
                <a:latin typeface="Franklin Gothic Book" charset="0"/>
              </a:rPr>
              <a:t>[Add a logo here]</a:t>
            </a:r>
          </a:p>
        </p:txBody>
      </p:sp>
    </p:spTree>
    <p:extLst>
      <p:ext uri="{BB962C8B-B14F-4D97-AF65-F5344CB8AC3E}">
        <p14:creationId xmlns:p14="http://schemas.microsoft.com/office/powerpoint/2010/main" val="16937512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DF25A8-81C2-A44A-92A7-FD7ABA28DD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uzzeler slid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38F726-9524-FA4A-BC06-6EAB404151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/>
              <a:t>Guidelin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B991FF-6137-3242-B231-5AE2023AFD1B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pPr lvl="0">
              <a:buClr>
                <a:srgbClr val="EB1562"/>
              </a:buClr>
            </a:pPr>
            <a:r>
              <a:rPr lang="en-GB" sz="2000">
                <a:solidFill>
                  <a:srgbClr val="515665"/>
                </a:solidFill>
              </a:rPr>
              <a:t>The following slides are examples of how pictures of the Puzzelers can be used in presentations.</a:t>
            </a:r>
          </a:p>
          <a:p>
            <a:pPr lvl="0">
              <a:buClr>
                <a:srgbClr val="EB1562"/>
              </a:buClr>
            </a:pPr>
            <a:r>
              <a:rPr lang="en-GB" sz="2000">
                <a:solidFill>
                  <a:srgbClr val="515665"/>
                </a:solidFill>
              </a:rPr>
              <a:t>When adding a new profile picture to the slides, the </a:t>
            </a:r>
            <a:r>
              <a:rPr lang="en-GB" sz="2000" err="1">
                <a:solidFill>
                  <a:srgbClr val="515665"/>
                </a:solidFill>
              </a:rPr>
              <a:t>Puzzeler</a:t>
            </a:r>
            <a:r>
              <a:rPr lang="en-GB" sz="2000">
                <a:solidFill>
                  <a:srgbClr val="515665"/>
                </a:solidFill>
              </a:rPr>
              <a:t> picture library can be accessed through Sharepoint </a:t>
            </a:r>
            <a:r>
              <a:rPr lang="en-GB" sz="2000">
                <a:solidFill>
                  <a:srgbClr val="5872F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lang="en-GB" sz="2000">
                <a:solidFill>
                  <a:srgbClr val="515665"/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5800246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19190-4374-48B2-A9A9-1196A6436E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GB" sz="7200"/>
              <a:t>Alternative section pages</a:t>
            </a:r>
            <a:br>
              <a:rPr lang="en-GB" sz="7200"/>
            </a:br>
            <a:br>
              <a:rPr lang="en-GB" sz="7200"/>
            </a:br>
            <a:r>
              <a:rPr lang="en-GB" sz="3600"/>
              <a:t>Click on ‘layout’ in the top menu for more options</a:t>
            </a:r>
            <a:endParaRPr lang="en-GB" sz="7200"/>
          </a:p>
        </p:txBody>
      </p:sp>
    </p:spTree>
    <p:extLst>
      <p:ext uri="{BB962C8B-B14F-4D97-AF65-F5344CB8AC3E}">
        <p14:creationId xmlns:p14="http://schemas.microsoft.com/office/powerpoint/2010/main" val="14144100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756788-30D6-0140-A3A5-3A09988421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345136" cy="694413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0FAA890-FBB8-944E-9B97-A9DBFAC046C0}"/>
              </a:ext>
            </a:extLst>
          </p:cNvPr>
          <p:cNvSpPr/>
          <p:nvPr/>
        </p:nvSpPr>
        <p:spPr>
          <a:xfrm>
            <a:off x="0" y="0"/>
            <a:ext cx="12317506" cy="714292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8E3159-8C1A-40F9-91B4-814E03D012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4564" y="486486"/>
            <a:ext cx="5082872" cy="481304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BD6F312-6065-47A3-9BE9-D820280000F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88925" y="5635625"/>
            <a:ext cx="11614150" cy="657225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en-GB" sz="3200">
                <a:ea typeface="Arial Rounded MT Bold" charset="0"/>
                <a:cs typeface="Arial Rounded MT Bold" charset="0"/>
              </a:rPr>
              <a:t>Insert welcom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259306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0"/>
                            </p:stCondLst>
                            <p:childTnLst>
                              <p:par>
                                <p:cTn id="12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5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350" decel="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50" accel="100000" fill="hold">
                                          <p:stCondLst>
                                            <p:cond delay="135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BEF2AB50-B7EB-0846-A060-C9EE5E660B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7007" y="-1552"/>
            <a:ext cx="5214400" cy="3480045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17142-FD95-5147-875C-71F675A445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265F6-E2D8-47B1-BCC0-75AAFE2248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75C6B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C6B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C0436AF-B0B7-9140-9925-6A766D0F80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8905"/>
          <a:stretch/>
        </p:blipFill>
        <p:spPr>
          <a:xfrm>
            <a:off x="8396275" y="0"/>
            <a:ext cx="3795725" cy="356259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C53BB6C-C5C4-794E-8134-A7E9DFE5E4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811979"/>
            <a:ext cx="4070134" cy="30526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C2290BE-D885-FE44-BAEC-669D0CEC8C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02072" y="3479469"/>
            <a:ext cx="1894203" cy="336747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C48C1E7-3E34-6545-9A88-1FDFB0A3C5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90478" y="3477517"/>
            <a:ext cx="1901522" cy="338048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9BA6D16-3EAA-F042-A9E5-3A7DE373BF0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96275" y="3479469"/>
            <a:ext cx="1894203" cy="336747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320ABB2-ADC4-324F-A4F6-E213CE7B4F2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434" t="3916" r="2322"/>
          <a:stretch/>
        </p:blipFill>
        <p:spPr>
          <a:xfrm>
            <a:off x="1" y="0"/>
            <a:ext cx="6504278" cy="437011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1D159C8-749D-DB40-9D24-9FBF783D7F7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205" y="4658442"/>
            <a:ext cx="2025331" cy="1917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676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2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0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1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7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900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37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900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37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900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52" presetClass="entr" presetSubtype="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3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40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D797EBE-8A3A-5048-95BB-E38D82093E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07"/>
          <a:stretch/>
        </p:blipFill>
        <p:spPr>
          <a:xfrm>
            <a:off x="8118199" y="4"/>
            <a:ext cx="4073797" cy="6857996"/>
          </a:xfrm>
          <a:prstGeom prst="rect">
            <a:avLst/>
          </a:prstGeom>
        </p:spPr>
      </p:pic>
      <p:pic>
        <p:nvPicPr>
          <p:cNvPr id="10" name="Picture 9" descr="A picture containing person, wall, indoor, laptop&#10;&#10;Description automatically generated">
            <a:extLst>
              <a:ext uri="{FF2B5EF4-FFF2-40B4-BE49-F238E27FC236}">
                <a16:creationId xmlns:a16="http://schemas.microsoft.com/office/drawing/2014/main" id="{A9CA6E7F-0BB0-DD4B-914C-570E3EB8EAD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83"/>
          <a:stretch/>
        </p:blipFill>
        <p:spPr>
          <a:xfrm>
            <a:off x="4044402" y="0"/>
            <a:ext cx="4068509" cy="6858000"/>
          </a:xfrm>
          <a:prstGeom prst="rect">
            <a:avLst/>
          </a:prstGeom>
        </p:spPr>
      </p:pic>
      <p:pic>
        <p:nvPicPr>
          <p:cNvPr id="12" name="Picture 11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079BD4D6-530E-6A43-8ABB-8F5E76D8EB9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83"/>
          <a:stretch/>
        </p:blipFill>
        <p:spPr>
          <a:xfrm>
            <a:off x="-24107" y="0"/>
            <a:ext cx="40685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32559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DF7147C-EA11-3B4C-AA4B-3D2FD920178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07"/>
          <a:stretch/>
        </p:blipFill>
        <p:spPr>
          <a:xfrm>
            <a:off x="0" y="0"/>
            <a:ext cx="4073798" cy="6857999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9F0FD74-0AC4-2B4A-B78D-DA36404686FE}"/>
              </a:ext>
            </a:extLst>
          </p:cNvPr>
          <p:cNvSpPr txBox="1">
            <a:spLocks/>
          </p:cNvSpPr>
          <p:nvPr/>
        </p:nvSpPr>
        <p:spPr>
          <a:xfrm>
            <a:off x="4639362" y="2740554"/>
            <a:ext cx="7773749" cy="99257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baseline="0">
                <a:solidFill>
                  <a:schemeClr val="tx1"/>
                </a:solidFill>
                <a:latin typeface="Arial Rounded MT Bold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>
                <a:ln>
                  <a:noFill/>
                </a:ln>
                <a:solidFill>
                  <a:srgbClr val="EB1562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  <a:t>Loosen up!​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>
                <a:ln>
                  <a:noFill/>
                </a:ln>
                <a:solidFill>
                  <a:srgbClr val="414560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  <a:t>Go grab a drink and snacks</a:t>
            </a:r>
            <a:r>
              <a:rPr kumimoji="0" lang="en-GB" sz="4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  <a:t>​</a:t>
            </a:r>
          </a:p>
        </p:txBody>
      </p:sp>
    </p:spTree>
    <p:extLst>
      <p:ext uri="{BB962C8B-B14F-4D97-AF65-F5344CB8AC3E}">
        <p14:creationId xmlns:p14="http://schemas.microsoft.com/office/powerpoint/2010/main" val="41198059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6">
            <a:extLst>
              <a:ext uri="{FF2B5EF4-FFF2-40B4-BE49-F238E27FC236}">
                <a16:creationId xmlns:a16="http://schemas.microsoft.com/office/drawing/2014/main" id="{CCEB0F7A-D4E3-DF49-949C-6AF9F53C4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2787" y="0"/>
            <a:ext cx="38592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CF8AF85-2939-8641-A475-6089AD176A14}"/>
              </a:ext>
            </a:extLst>
          </p:cNvPr>
          <p:cNvSpPr/>
          <p:nvPr/>
        </p:nvSpPr>
        <p:spPr>
          <a:xfrm>
            <a:off x="700376" y="2828835"/>
            <a:ext cx="679493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EB1562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Hope you enjoyed so far</a:t>
            </a: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EB1562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414560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Go grab a drink and snacks</a:t>
            </a: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​</a:t>
            </a:r>
          </a:p>
        </p:txBody>
      </p:sp>
    </p:spTree>
    <p:extLst>
      <p:ext uri="{BB962C8B-B14F-4D97-AF65-F5344CB8AC3E}">
        <p14:creationId xmlns:p14="http://schemas.microsoft.com/office/powerpoint/2010/main" val="30108464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A919A9-C27B-4752-AEAA-50DF12D01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GB" sz="6000"/>
              <a:t>Core Company </a:t>
            </a:r>
            <a:br>
              <a:rPr lang="en-GB" sz="5400"/>
            </a:br>
            <a:r>
              <a:rPr lang="en-GB" sz="5600"/>
              <a:t>Overview slides</a:t>
            </a:r>
            <a:endParaRPr lang="nb-NO" sz="5600"/>
          </a:p>
        </p:txBody>
      </p:sp>
    </p:spTree>
    <p:extLst>
      <p:ext uri="{BB962C8B-B14F-4D97-AF65-F5344CB8AC3E}">
        <p14:creationId xmlns:p14="http://schemas.microsoft.com/office/powerpoint/2010/main" val="8700597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054F04A-8F2D-784F-9E20-AABC5AF5035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18" t="-1" r="41830" b="57978"/>
          <a:stretch/>
        </p:blipFill>
        <p:spPr>
          <a:xfrm>
            <a:off x="0" y="768228"/>
            <a:ext cx="12192000" cy="6089772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Leading European Contact Centre (CCaaS) Provider</a:t>
            </a:r>
          </a:p>
        </p:txBody>
      </p:sp>
      <p:grpSp>
        <p:nvGrpSpPr>
          <p:cNvPr id="1632" name="Group 61">
            <a:extLst>
              <a:ext uri="{FF2B5EF4-FFF2-40B4-BE49-F238E27FC236}">
                <a16:creationId xmlns:a16="http://schemas.microsoft.com/office/drawing/2014/main" id="{3F0ADA33-CE4E-F847-A03D-739AEE220170}"/>
              </a:ext>
            </a:extLst>
          </p:cNvPr>
          <p:cNvGrpSpPr>
            <a:grpSpLocks/>
          </p:cNvGrpSpPr>
          <p:nvPr/>
        </p:nvGrpSpPr>
        <p:grpSpPr bwMode="auto">
          <a:xfrm>
            <a:off x="7003212" y="1968533"/>
            <a:ext cx="3436217" cy="3424632"/>
            <a:chOff x="0" y="0"/>
            <a:chExt cx="786" cy="789"/>
          </a:xfrm>
        </p:grpSpPr>
        <p:sp>
          <p:nvSpPr>
            <p:cNvPr id="1633" name="Freeform 7">
              <a:extLst>
                <a:ext uri="{FF2B5EF4-FFF2-40B4-BE49-F238E27FC236}">
                  <a16:creationId xmlns:a16="http://schemas.microsoft.com/office/drawing/2014/main" id="{59D9EB14-C684-1942-84C5-57F982AA0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" y="659"/>
              <a:ext cx="48" cy="35"/>
            </a:xfrm>
            <a:custGeom>
              <a:avLst/>
              <a:gdLst>
                <a:gd name="T0" fmla="*/ 2 w 48"/>
                <a:gd name="T1" fmla="*/ 20 h 35"/>
                <a:gd name="T2" fmla="*/ 4 w 48"/>
                <a:gd name="T3" fmla="*/ 17 h 35"/>
                <a:gd name="T4" fmla="*/ 4 w 48"/>
                <a:gd name="T5" fmla="*/ 13 h 35"/>
                <a:gd name="T6" fmla="*/ 7 w 48"/>
                <a:gd name="T7" fmla="*/ 10 h 35"/>
                <a:gd name="T8" fmla="*/ 7 w 48"/>
                <a:gd name="T9" fmla="*/ 8 h 35"/>
                <a:gd name="T10" fmla="*/ 5 w 48"/>
                <a:gd name="T11" fmla="*/ 5 h 35"/>
                <a:gd name="T12" fmla="*/ 4 w 48"/>
                <a:gd name="T13" fmla="*/ 3 h 35"/>
                <a:gd name="T14" fmla="*/ 5 w 48"/>
                <a:gd name="T15" fmla="*/ 3 h 35"/>
                <a:gd name="T16" fmla="*/ 7 w 48"/>
                <a:gd name="T17" fmla="*/ 1 h 35"/>
                <a:gd name="T18" fmla="*/ 10 w 48"/>
                <a:gd name="T19" fmla="*/ 1 h 35"/>
                <a:gd name="T20" fmla="*/ 17 w 48"/>
                <a:gd name="T21" fmla="*/ 0 h 35"/>
                <a:gd name="T22" fmla="*/ 22 w 48"/>
                <a:gd name="T23" fmla="*/ 1 h 35"/>
                <a:gd name="T24" fmla="*/ 29 w 48"/>
                <a:gd name="T25" fmla="*/ 1 h 35"/>
                <a:gd name="T26" fmla="*/ 31 w 48"/>
                <a:gd name="T27" fmla="*/ 1 h 35"/>
                <a:gd name="T28" fmla="*/ 31 w 48"/>
                <a:gd name="T29" fmla="*/ 3 h 35"/>
                <a:gd name="T30" fmla="*/ 31 w 48"/>
                <a:gd name="T31" fmla="*/ 7 h 35"/>
                <a:gd name="T32" fmla="*/ 32 w 48"/>
                <a:gd name="T33" fmla="*/ 8 h 35"/>
                <a:gd name="T34" fmla="*/ 36 w 48"/>
                <a:gd name="T35" fmla="*/ 10 h 35"/>
                <a:gd name="T36" fmla="*/ 39 w 48"/>
                <a:gd name="T37" fmla="*/ 12 h 35"/>
                <a:gd name="T38" fmla="*/ 44 w 48"/>
                <a:gd name="T39" fmla="*/ 13 h 35"/>
                <a:gd name="T40" fmla="*/ 48 w 48"/>
                <a:gd name="T41" fmla="*/ 13 h 35"/>
                <a:gd name="T42" fmla="*/ 48 w 48"/>
                <a:gd name="T43" fmla="*/ 17 h 35"/>
                <a:gd name="T44" fmla="*/ 46 w 48"/>
                <a:gd name="T45" fmla="*/ 18 h 35"/>
                <a:gd name="T46" fmla="*/ 41 w 48"/>
                <a:gd name="T47" fmla="*/ 20 h 35"/>
                <a:gd name="T48" fmla="*/ 39 w 48"/>
                <a:gd name="T49" fmla="*/ 18 h 35"/>
                <a:gd name="T50" fmla="*/ 36 w 48"/>
                <a:gd name="T51" fmla="*/ 18 h 35"/>
                <a:gd name="T52" fmla="*/ 31 w 48"/>
                <a:gd name="T53" fmla="*/ 18 h 35"/>
                <a:gd name="T54" fmla="*/ 27 w 48"/>
                <a:gd name="T55" fmla="*/ 18 h 35"/>
                <a:gd name="T56" fmla="*/ 24 w 48"/>
                <a:gd name="T57" fmla="*/ 18 h 35"/>
                <a:gd name="T58" fmla="*/ 22 w 48"/>
                <a:gd name="T59" fmla="*/ 22 h 35"/>
                <a:gd name="T60" fmla="*/ 17 w 48"/>
                <a:gd name="T61" fmla="*/ 25 h 35"/>
                <a:gd name="T62" fmla="*/ 12 w 48"/>
                <a:gd name="T63" fmla="*/ 27 h 35"/>
                <a:gd name="T64" fmla="*/ 9 w 48"/>
                <a:gd name="T65" fmla="*/ 30 h 35"/>
                <a:gd name="T66" fmla="*/ 7 w 48"/>
                <a:gd name="T67" fmla="*/ 32 h 35"/>
                <a:gd name="T68" fmla="*/ 4 w 48"/>
                <a:gd name="T69" fmla="*/ 35 h 35"/>
                <a:gd name="T70" fmla="*/ 2 w 48"/>
                <a:gd name="T71" fmla="*/ 35 h 35"/>
                <a:gd name="T72" fmla="*/ 2 w 48"/>
                <a:gd name="T73" fmla="*/ 32 h 35"/>
                <a:gd name="T74" fmla="*/ 2 w 48"/>
                <a:gd name="T75" fmla="*/ 30 h 35"/>
                <a:gd name="T76" fmla="*/ 5 w 48"/>
                <a:gd name="T77" fmla="*/ 28 h 35"/>
                <a:gd name="T78" fmla="*/ 10 w 48"/>
                <a:gd name="T79" fmla="*/ 27 h 35"/>
                <a:gd name="T80" fmla="*/ 12 w 48"/>
                <a:gd name="T81" fmla="*/ 25 h 35"/>
                <a:gd name="T82" fmla="*/ 9 w 48"/>
                <a:gd name="T83" fmla="*/ 25 h 35"/>
                <a:gd name="T84" fmla="*/ 4 w 48"/>
                <a:gd name="T85" fmla="*/ 25 h 35"/>
                <a:gd name="T86" fmla="*/ 2 w 48"/>
                <a:gd name="T87" fmla="*/ 27 h 35"/>
                <a:gd name="T88" fmla="*/ 0 w 48"/>
                <a:gd name="T89" fmla="*/ 25 h 35"/>
                <a:gd name="T90" fmla="*/ 0 w 48"/>
                <a:gd name="T91" fmla="*/ 23 h 35"/>
                <a:gd name="T92" fmla="*/ 2 w 48"/>
                <a:gd name="T93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8" h="35">
                  <a:moveTo>
                    <a:pt x="2" y="20"/>
                  </a:moveTo>
                  <a:lnTo>
                    <a:pt x="4" y="17"/>
                  </a:lnTo>
                  <a:lnTo>
                    <a:pt x="4" y="13"/>
                  </a:lnTo>
                  <a:lnTo>
                    <a:pt x="7" y="10"/>
                  </a:lnTo>
                  <a:lnTo>
                    <a:pt x="7" y="8"/>
                  </a:lnTo>
                  <a:lnTo>
                    <a:pt x="5" y="5"/>
                  </a:lnTo>
                  <a:lnTo>
                    <a:pt x="4" y="3"/>
                  </a:lnTo>
                  <a:lnTo>
                    <a:pt x="5" y="3"/>
                  </a:lnTo>
                  <a:lnTo>
                    <a:pt x="7" y="1"/>
                  </a:lnTo>
                  <a:lnTo>
                    <a:pt x="10" y="1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9" y="1"/>
                  </a:lnTo>
                  <a:lnTo>
                    <a:pt x="31" y="1"/>
                  </a:lnTo>
                  <a:lnTo>
                    <a:pt x="31" y="3"/>
                  </a:lnTo>
                  <a:lnTo>
                    <a:pt x="31" y="7"/>
                  </a:lnTo>
                  <a:lnTo>
                    <a:pt x="32" y="8"/>
                  </a:lnTo>
                  <a:lnTo>
                    <a:pt x="36" y="10"/>
                  </a:lnTo>
                  <a:lnTo>
                    <a:pt x="39" y="12"/>
                  </a:lnTo>
                  <a:lnTo>
                    <a:pt x="44" y="13"/>
                  </a:lnTo>
                  <a:lnTo>
                    <a:pt x="48" y="13"/>
                  </a:lnTo>
                  <a:lnTo>
                    <a:pt x="48" y="17"/>
                  </a:lnTo>
                  <a:lnTo>
                    <a:pt x="46" y="18"/>
                  </a:lnTo>
                  <a:lnTo>
                    <a:pt x="41" y="20"/>
                  </a:lnTo>
                  <a:lnTo>
                    <a:pt x="39" y="18"/>
                  </a:lnTo>
                  <a:lnTo>
                    <a:pt x="36" y="18"/>
                  </a:lnTo>
                  <a:lnTo>
                    <a:pt x="31" y="18"/>
                  </a:lnTo>
                  <a:lnTo>
                    <a:pt x="27" y="18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5"/>
                  </a:lnTo>
                  <a:lnTo>
                    <a:pt x="12" y="27"/>
                  </a:lnTo>
                  <a:lnTo>
                    <a:pt x="9" y="30"/>
                  </a:lnTo>
                  <a:lnTo>
                    <a:pt x="7" y="32"/>
                  </a:lnTo>
                  <a:lnTo>
                    <a:pt x="4" y="35"/>
                  </a:lnTo>
                  <a:lnTo>
                    <a:pt x="2" y="35"/>
                  </a:lnTo>
                  <a:lnTo>
                    <a:pt x="2" y="32"/>
                  </a:lnTo>
                  <a:lnTo>
                    <a:pt x="2" y="30"/>
                  </a:lnTo>
                  <a:lnTo>
                    <a:pt x="5" y="28"/>
                  </a:lnTo>
                  <a:lnTo>
                    <a:pt x="10" y="27"/>
                  </a:lnTo>
                  <a:lnTo>
                    <a:pt x="12" y="25"/>
                  </a:lnTo>
                  <a:lnTo>
                    <a:pt x="9" y="25"/>
                  </a:lnTo>
                  <a:lnTo>
                    <a:pt x="4" y="25"/>
                  </a:lnTo>
                  <a:lnTo>
                    <a:pt x="2" y="27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D4DBE4"/>
            </a:solidFill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grpSp>
          <p:nvGrpSpPr>
            <p:cNvPr id="1634" name="Group 1633">
              <a:extLst>
                <a:ext uri="{FF2B5EF4-FFF2-40B4-BE49-F238E27FC236}">
                  <a16:creationId xmlns:a16="http://schemas.microsoft.com/office/drawing/2014/main" id="{CBB1F146-60DF-3F41-803D-01165B8BB62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7" y="480"/>
              <a:ext cx="102" cy="51"/>
              <a:chOff x="347" y="480"/>
              <a:chExt cx="102" cy="51"/>
            </a:xfrm>
          </p:grpSpPr>
          <p:sp>
            <p:nvSpPr>
              <p:cNvPr id="2026" name="Freeform 400">
                <a:extLst>
                  <a:ext uri="{FF2B5EF4-FFF2-40B4-BE49-F238E27FC236}">
                    <a16:creationId xmlns:a16="http://schemas.microsoft.com/office/drawing/2014/main" id="{CD95FAA3-ADB9-7846-B4AF-D9304B205B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" y="480"/>
                <a:ext cx="102" cy="51"/>
              </a:xfrm>
              <a:custGeom>
                <a:avLst/>
                <a:gdLst>
                  <a:gd name="T0" fmla="*/ 4 w 102"/>
                  <a:gd name="T1" fmla="*/ 20 h 51"/>
                  <a:gd name="T2" fmla="*/ 6 w 102"/>
                  <a:gd name="T3" fmla="*/ 17 h 51"/>
                  <a:gd name="T4" fmla="*/ 7 w 102"/>
                  <a:gd name="T5" fmla="*/ 15 h 51"/>
                  <a:gd name="T6" fmla="*/ 11 w 102"/>
                  <a:gd name="T7" fmla="*/ 15 h 51"/>
                  <a:gd name="T8" fmla="*/ 16 w 102"/>
                  <a:gd name="T9" fmla="*/ 14 h 51"/>
                  <a:gd name="T10" fmla="*/ 21 w 102"/>
                  <a:gd name="T11" fmla="*/ 12 h 51"/>
                  <a:gd name="T12" fmla="*/ 26 w 102"/>
                  <a:gd name="T13" fmla="*/ 7 h 51"/>
                  <a:gd name="T14" fmla="*/ 34 w 102"/>
                  <a:gd name="T15" fmla="*/ 5 h 51"/>
                  <a:gd name="T16" fmla="*/ 34 w 102"/>
                  <a:gd name="T17" fmla="*/ 0 h 51"/>
                  <a:gd name="T18" fmla="*/ 39 w 102"/>
                  <a:gd name="T19" fmla="*/ 3 h 51"/>
                  <a:gd name="T20" fmla="*/ 43 w 102"/>
                  <a:gd name="T21" fmla="*/ 5 h 51"/>
                  <a:gd name="T22" fmla="*/ 48 w 102"/>
                  <a:gd name="T23" fmla="*/ 3 h 51"/>
                  <a:gd name="T24" fmla="*/ 53 w 102"/>
                  <a:gd name="T25" fmla="*/ 3 h 51"/>
                  <a:gd name="T26" fmla="*/ 56 w 102"/>
                  <a:gd name="T27" fmla="*/ 7 h 51"/>
                  <a:gd name="T28" fmla="*/ 63 w 102"/>
                  <a:gd name="T29" fmla="*/ 7 h 51"/>
                  <a:gd name="T30" fmla="*/ 68 w 102"/>
                  <a:gd name="T31" fmla="*/ 10 h 51"/>
                  <a:gd name="T32" fmla="*/ 68 w 102"/>
                  <a:gd name="T33" fmla="*/ 14 h 51"/>
                  <a:gd name="T34" fmla="*/ 70 w 102"/>
                  <a:gd name="T35" fmla="*/ 17 h 51"/>
                  <a:gd name="T36" fmla="*/ 75 w 102"/>
                  <a:gd name="T37" fmla="*/ 19 h 51"/>
                  <a:gd name="T38" fmla="*/ 78 w 102"/>
                  <a:gd name="T39" fmla="*/ 17 h 51"/>
                  <a:gd name="T40" fmla="*/ 78 w 102"/>
                  <a:gd name="T41" fmla="*/ 15 h 51"/>
                  <a:gd name="T42" fmla="*/ 81 w 102"/>
                  <a:gd name="T43" fmla="*/ 15 h 51"/>
                  <a:gd name="T44" fmla="*/ 88 w 102"/>
                  <a:gd name="T45" fmla="*/ 17 h 51"/>
                  <a:gd name="T46" fmla="*/ 90 w 102"/>
                  <a:gd name="T47" fmla="*/ 19 h 51"/>
                  <a:gd name="T48" fmla="*/ 93 w 102"/>
                  <a:gd name="T49" fmla="*/ 22 h 51"/>
                  <a:gd name="T50" fmla="*/ 98 w 102"/>
                  <a:gd name="T51" fmla="*/ 27 h 51"/>
                  <a:gd name="T52" fmla="*/ 100 w 102"/>
                  <a:gd name="T53" fmla="*/ 34 h 51"/>
                  <a:gd name="T54" fmla="*/ 92 w 102"/>
                  <a:gd name="T55" fmla="*/ 39 h 51"/>
                  <a:gd name="T56" fmla="*/ 85 w 102"/>
                  <a:gd name="T57" fmla="*/ 41 h 51"/>
                  <a:gd name="T58" fmla="*/ 81 w 102"/>
                  <a:gd name="T59" fmla="*/ 42 h 51"/>
                  <a:gd name="T60" fmla="*/ 76 w 102"/>
                  <a:gd name="T61" fmla="*/ 49 h 51"/>
                  <a:gd name="T62" fmla="*/ 70 w 102"/>
                  <a:gd name="T63" fmla="*/ 47 h 51"/>
                  <a:gd name="T64" fmla="*/ 61 w 102"/>
                  <a:gd name="T65" fmla="*/ 46 h 51"/>
                  <a:gd name="T66" fmla="*/ 56 w 102"/>
                  <a:gd name="T67" fmla="*/ 44 h 51"/>
                  <a:gd name="T68" fmla="*/ 51 w 102"/>
                  <a:gd name="T69" fmla="*/ 44 h 51"/>
                  <a:gd name="T70" fmla="*/ 48 w 102"/>
                  <a:gd name="T71" fmla="*/ 46 h 51"/>
                  <a:gd name="T72" fmla="*/ 43 w 102"/>
                  <a:gd name="T73" fmla="*/ 51 h 51"/>
                  <a:gd name="T74" fmla="*/ 38 w 102"/>
                  <a:gd name="T75" fmla="*/ 51 h 51"/>
                  <a:gd name="T76" fmla="*/ 32 w 102"/>
                  <a:gd name="T77" fmla="*/ 49 h 51"/>
                  <a:gd name="T78" fmla="*/ 27 w 102"/>
                  <a:gd name="T79" fmla="*/ 47 h 51"/>
                  <a:gd name="T80" fmla="*/ 21 w 102"/>
                  <a:gd name="T81" fmla="*/ 42 h 51"/>
                  <a:gd name="T82" fmla="*/ 12 w 102"/>
                  <a:gd name="T83" fmla="*/ 35 h 51"/>
                  <a:gd name="T84" fmla="*/ 7 w 102"/>
                  <a:gd name="T85" fmla="*/ 30 h 51"/>
                  <a:gd name="T86" fmla="*/ 6 w 102"/>
                  <a:gd name="T87" fmla="*/ 24 h 51"/>
                  <a:gd name="T88" fmla="*/ 0 w 102"/>
                  <a:gd name="T89" fmla="*/ 19 h 51"/>
                  <a:gd name="T90" fmla="*/ 0 w 102"/>
                  <a:gd name="T91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2" h="51">
                    <a:moveTo>
                      <a:pt x="4" y="19"/>
                    </a:moveTo>
                    <a:lnTo>
                      <a:pt x="4" y="20"/>
                    </a:lnTo>
                    <a:lnTo>
                      <a:pt x="6" y="19"/>
                    </a:lnTo>
                    <a:lnTo>
                      <a:pt x="6" y="17"/>
                    </a:lnTo>
                    <a:lnTo>
                      <a:pt x="7" y="17"/>
                    </a:lnTo>
                    <a:lnTo>
                      <a:pt x="7" y="15"/>
                    </a:lnTo>
                    <a:lnTo>
                      <a:pt x="9" y="15"/>
                    </a:lnTo>
                    <a:lnTo>
                      <a:pt x="11" y="15"/>
                    </a:lnTo>
                    <a:lnTo>
                      <a:pt x="14" y="14"/>
                    </a:lnTo>
                    <a:lnTo>
                      <a:pt x="16" y="14"/>
                    </a:lnTo>
                    <a:lnTo>
                      <a:pt x="19" y="12"/>
                    </a:lnTo>
                    <a:lnTo>
                      <a:pt x="21" y="12"/>
                    </a:lnTo>
                    <a:lnTo>
                      <a:pt x="22" y="9"/>
                    </a:lnTo>
                    <a:lnTo>
                      <a:pt x="26" y="7"/>
                    </a:lnTo>
                    <a:lnTo>
                      <a:pt x="31" y="7"/>
                    </a:lnTo>
                    <a:lnTo>
                      <a:pt x="34" y="5"/>
                    </a:lnTo>
                    <a:lnTo>
                      <a:pt x="34" y="2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9" y="3"/>
                    </a:lnTo>
                    <a:lnTo>
                      <a:pt x="41" y="5"/>
                    </a:lnTo>
                    <a:lnTo>
                      <a:pt x="43" y="5"/>
                    </a:lnTo>
                    <a:lnTo>
                      <a:pt x="46" y="7"/>
                    </a:lnTo>
                    <a:lnTo>
                      <a:pt x="48" y="3"/>
                    </a:lnTo>
                    <a:lnTo>
                      <a:pt x="49" y="3"/>
                    </a:lnTo>
                    <a:lnTo>
                      <a:pt x="53" y="3"/>
                    </a:lnTo>
                    <a:lnTo>
                      <a:pt x="54" y="7"/>
                    </a:lnTo>
                    <a:lnTo>
                      <a:pt x="56" y="7"/>
                    </a:lnTo>
                    <a:lnTo>
                      <a:pt x="59" y="7"/>
                    </a:lnTo>
                    <a:lnTo>
                      <a:pt x="63" y="7"/>
                    </a:lnTo>
                    <a:lnTo>
                      <a:pt x="65" y="10"/>
                    </a:lnTo>
                    <a:lnTo>
                      <a:pt x="68" y="10"/>
                    </a:lnTo>
                    <a:lnTo>
                      <a:pt x="68" y="12"/>
                    </a:lnTo>
                    <a:lnTo>
                      <a:pt x="68" y="14"/>
                    </a:lnTo>
                    <a:lnTo>
                      <a:pt x="66" y="14"/>
                    </a:lnTo>
                    <a:lnTo>
                      <a:pt x="70" y="17"/>
                    </a:lnTo>
                    <a:lnTo>
                      <a:pt x="73" y="19"/>
                    </a:lnTo>
                    <a:lnTo>
                      <a:pt x="75" y="19"/>
                    </a:lnTo>
                    <a:lnTo>
                      <a:pt x="76" y="19"/>
                    </a:lnTo>
                    <a:lnTo>
                      <a:pt x="78" y="17"/>
                    </a:lnTo>
                    <a:lnTo>
                      <a:pt x="76" y="15"/>
                    </a:lnTo>
                    <a:lnTo>
                      <a:pt x="78" y="15"/>
                    </a:lnTo>
                    <a:lnTo>
                      <a:pt x="80" y="15"/>
                    </a:lnTo>
                    <a:lnTo>
                      <a:pt x="81" y="15"/>
                    </a:lnTo>
                    <a:lnTo>
                      <a:pt x="85" y="17"/>
                    </a:lnTo>
                    <a:lnTo>
                      <a:pt x="88" y="17"/>
                    </a:lnTo>
                    <a:lnTo>
                      <a:pt x="90" y="17"/>
                    </a:lnTo>
                    <a:lnTo>
                      <a:pt x="90" y="19"/>
                    </a:lnTo>
                    <a:lnTo>
                      <a:pt x="90" y="20"/>
                    </a:lnTo>
                    <a:lnTo>
                      <a:pt x="93" y="22"/>
                    </a:lnTo>
                    <a:lnTo>
                      <a:pt x="97" y="24"/>
                    </a:lnTo>
                    <a:lnTo>
                      <a:pt x="98" y="27"/>
                    </a:lnTo>
                    <a:lnTo>
                      <a:pt x="102" y="30"/>
                    </a:lnTo>
                    <a:lnTo>
                      <a:pt x="100" y="34"/>
                    </a:lnTo>
                    <a:lnTo>
                      <a:pt x="100" y="35"/>
                    </a:lnTo>
                    <a:lnTo>
                      <a:pt x="92" y="39"/>
                    </a:lnTo>
                    <a:lnTo>
                      <a:pt x="92" y="41"/>
                    </a:lnTo>
                    <a:lnTo>
                      <a:pt x="85" y="41"/>
                    </a:lnTo>
                    <a:lnTo>
                      <a:pt x="80" y="44"/>
                    </a:lnTo>
                    <a:lnTo>
                      <a:pt x="81" y="42"/>
                    </a:lnTo>
                    <a:lnTo>
                      <a:pt x="76" y="51"/>
                    </a:lnTo>
                    <a:lnTo>
                      <a:pt x="76" y="49"/>
                    </a:lnTo>
                    <a:lnTo>
                      <a:pt x="75" y="47"/>
                    </a:lnTo>
                    <a:lnTo>
                      <a:pt x="70" y="47"/>
                    </a:lnTo>
                    <a:lnTo>
                      <a:pt x="65" y="47"/>
                    </a:lnTo>
                    <a:lnTo>
                      <a:pt x="61" y="46"/>
                    </a:lnTo>
                    <a:lnTo>
                      <a:pt x="58" y="44"/>
                    </a:lnTo>
                    <a:lnTo>
                      <a:pt x="56" y="44"/>
                    </a:lnTo>
                    <a:lnTo>
                      <a:pt x="53" y="44"/>
                    </a:lnTo>
                    <a:lnTo>
                      <a:pt x="51" y="44"/>
                    </a:lnTo>
                    <a:lnTo>
                      <a:pt x="49" y="44"/>
                    </a:lnTo>
                    <a:lnTo>
                      <a:pt x="48" y="46"/>
                    </a:lnTo>
                    <a:lnTo>
                      <a:pt x="46" y="47"/>
                    </a:lnTo>
                    <a:lnTo>
                      <a:pt x="43" y="51"/>
                    </a:lnTo>
                    <a:lnTo>
                      <a:pt x="41" y="51"/>
                    </a:lnTo>
                    <a:lnTo>
                      <a:pt x="38" y="51"/>
                    </a:lnTo>
                    <a:lnTo>
                      <a:pt x="34" y="51"/>
                    </a:lnTo>
                    <a:lnTo>
                      <a:pt x="32" y="49"/>
                    </a:lnTo>
                    <a:lnTo>
                      <a:pt x="29" y="49"/>
                    </a:lnTo>
                    <a:lnTo>
                      <a:pt x="27" y="47"/>
                    </a:lnTo>
                    <a:lnTo>
                      <a:pt x="22" y="44"/>
                    </a:lnTo>
                    <a:lnTo>
                      <a:pt x="21" y="42"/>
                    </a:lnTo>
                    <a:lnTo>
                      <a:pt x="17" y="39"/>
                    </a:lnTo>
                    <a:lnTo>
                      <a:pt x="12" y="35"/>
                    </a:lnTo>
                    <a:lnTo>
                      <a:pt x="9" y="34"/>
                    </a:lnTo>
                    <a:lnTo>
                      <a:pt x="7" y="30"/>
                    </a:lnTo>
                    <a:lnTo>
                      <a:pt x="7" y="25"/>
                    </a:lnTo>
                    <a:lnTo>
                      <a:pt x="6" y="24"/>
                    </a:lnTo>
                    <a:lnTo>
                      <a:pt x="2" y="22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4" y="19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027" name="Freeform 401">
                <a:extLst>
                  <a:ext uri="{FF2B5EF4-FFF2-40B4-BE49-F238E27FC236}">
                    <a16:creationId xmlns:a16="http://schemas.microsoft.com/office/drawing/2014/main" id="{6129F894-151F-E140-93B6-CE1F1EB51B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" y="480"/>
                <a:ext cx="102" cy="51"/>
              </a:xfrm>
              <a:custGeom>
                <a:avLst/>
                <a:gdLst>
                  <a:gd name="T0" fmla="*/ 4 w 102"/>
                  <a:gd name="T1" fmla="*/ 20 h 51"/>
                  <a:gd name="T2" fmla="*/ 6 w 102"/>
                  <a:gd name="T3" fmla="*/ 17 h 51"/>
                  <a:gd name="T4" fmla="*/ 7 w 102"/>
                  <a:gd name="T5" fmla="*/ 15 h 51"/>
                  <a:gd name="T6" fmla="*/ 11 w 102"/>
                  <a:gd name="T7" fmla="*/ 15 h 51"/>
                  <a:gd name="T8" fmla="*/ 16 w 102"/>
                  <a:gd name="T9" fmla="*/ 14 h 51"/>
                  <a:gd name="T10" fmla="*/ 21 w 102"/>
                  <a:gd name="T11" fmla="*/ 12 h 51"/>
                  <a:gd name="T12" fmla="*/ 26 w 102"/>
                  <a:gd name="T13" fmla="*/ 7 h 51"/>
                  <a:gd name="T14" fmla="*/ 34 w 102"/>
                  <a:gd name="T15" fmla="*/ 5 h 51"/>
                  <a:gd name="T16" fmla="*/ 34 w 102"/>
                  <a:gd name="T17" fmla="*/ 0 h 51"/>
                  <a:gd name="T18" fmla="*/ 39 w 102"/>
                  <a:gd name="T19" fmla="*/ 3 h 51"/>
                  <a:gd name="T20" fmla="*/ 43 w 102"/>
                  <a:gd name="T21" fmla="*/ 5 h 51"/>
                  <a:gd name="T22" fmla="*/ 48 w 102"/>
                  <a:gd name="T23" fmla="*/ 3 h 51"/>
                  <a:gd name="T24" fmla="*/ 53 w 102"/>
                  <a:gd name="T25" fmla="*/ 3 h 51"/>
                  <a:gd name="T26" fmla="*/ 56 w 102"/>
                  <a:gd name="T27" fmla="*/ 7 h 51"/>
                  <a:gd name="T28" fmla="*/ 63 w 102"/>
                  <a:gd name="T29" fmla="*/ 7 h 51"/>
                  <a:gd name="T30" fmla="*/ 68 w 102"/>
                  <a:gd name="T31" fmla="*/ 10 h 51"/>
                  <a:gd name="T32" fmla="*/ 68 w 102"/>
                  <a:gd name="T33" fmla="*/ 14 h 51"/>
                  <a:gd name="T34" fmla="*/ 70 w 102"/>
                  <a:gd name="T35" fmla="*/ 17 h 51"/>
                  <a:gd name="T36" fmla="*/ 75 w 102"/>
                  <a:gd name="T37" fmla="*/ 19 h 51"/>
                  <a:gd name="T38" fmla="*/ 78 w 102"/>
                  <a:gd name="T39" fmla="*/ 17 h 51"/>
                  <a:gd name="T40" fmla="*/ 78 w 102"/>
                  <a:gd name="T41" fmla="*/ 15 h 51"/>
                  <a:gd name="T42" fmla="*/ 81 w 102"/>
                  <a:gd name="T43" fmla="*/ 15 h 51"/>
                  <a:gd name="T44" fmla="*/ 88 w 102"/>
                  <a:gd name="T45" fmla="*/ 17 h 51"/>
                  <a:gd name="T46" fmla="*/ 90 w 102"/>
                  <a:gd name="T47" fmla="*/ 19 h 51"/>
                  <a:gd name="T48" fmla="*/ 93 w 102"/>
                  <a:gd name="T49" fmla="*/ 22 h 51"/>
                  <a:gd name="T50" fmla="*/ 98 w 102"/>
                  <a:gd name="T51" fmla="*/ 27 h 51"/>
                  <a:gd name="T52" fmla="*/ 100 w 102"/>
                  <a:gd name="T53" fmla="*/ 34 h 51"/>
                  <a:gd name="T54" fmla="*/ 92 w 102"/>
                  <a:gd name="T55" fmla="*/ 39 h 51"/>
                  <a:gd name="T56" fmla="*/ 85 w 102"/>
                  <a:gd name="T57" fmla="*/ 41 h 51"/>
                  <a:gd name="T58" fmla="*/ 81 w 102"/>
                  <a:gd name="T59" fmla="*/ 42 h 51"/>
                  <a:gd name="T60" fmla="*/ 76 w 102"/>
                  <a:gd name="T61" fmla="*/ 49 h 51"/>
                  <a:gd name="T62" fmla="*/ 70 w 102"/>
                  <a:gd name="T63" fmla="*/ 47 h 51"/>
                  <a:gd name="T64" fmla="*/ 61 w 102"/>
                  <a:gd name="T65" fmla="*/ 46 h 51"/>
                  <a:gd name="T66" fmla="*/ 56 w 102"/>
                  <a:gd name="T67" fmla="*/ 44 h 51"/>
                  <a:gd name="T68" fmla="*/ 51 w 102"/>
                  <a:gd name="T69" fmla="*/ 44 h 51"/>
                  <a:gd name="T70" fmla="*/ 48 w 102"/>
                  <a:gd name="T71" fmla="*/ 46 h 51"/>
                  <a:gd name="T72" fmla="*/ 43 w 102"/>
                  <a:gd name="T73" fmla="*/ 51 h 51"/>
                  <a:gd name="T74" fmla="*/ 38 w 102"/>
                  <a:gd name="T75" fmla="*/ 51 h 51"/>
                  <a:gd name="T76" fmla="*/ 32 w 102"/>
                  <a:gd name="T77" fmla="*/ 49 h 51"/>
                  <a:gd name="T78" fmla="*/ 27 w 102"/>
                  <a:gd name="T79" fmla="*/ 47 h 51"/>
                  <a:gd name="T80" fmla="*/ 21 w 102"/>
                  <a:gd name="T81" fmla="*/ 42 h 51"/>
                  <a:gd name="T82" fmla="*/ 12 w 102"/>
                  <a:gd name="T83" fmla="*/ 35 h 51"/>
                  <a:gd name="T84" fmla="*/ 7 w 102"/>
                  <a:gd name="T85" fmla="*/ 30 h 51"/>
                  <a:gd name="T86" fmla="*/ 6 w 102"/>
                  <a:gd name="T87" fmla="*/ 24 h 51"/>
                  <a:gd name="T88" fmla="*/ 0 w 102"/>
                  <a:gd name="T89" fmla="*/ 19 h 51"/>
                  <a:gd name="T90" fmla="*/ 0 w 102"/>
                  <a:gd name="T91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2" h="51">
                    <a:moveTo>
                      <a:pt x="4" y="19"/>
                    </a:moveTo>
                    <a:lnTo>
                      <a:pt x="4" y="20"/>
                    </a:lnTo>
                    <a:lnTo>
                      <a:pt x="6" y="19"/>
                    </a:lnTo>
                    <a:lnTo>
                      <a:pt x="6" y="17"/>
                    </a:lnTo>
                    <a:lnTo>
                      <a:pt x="7" y="17"/>
                    </a:lnTo>
                    <a:lnTo>
                      <a:pt x="7" y="15"/>
                    </a:lnTo>
                    <a:lnTo>
                      <a:pt x="9" y="15"/>
                    </a:lnTo>
                    <a:lnTo>
                      <a:pt x="11" y="15"/>
                    </a:lnTo>
                    <a:lnTo>
                      <a:pt x="14" y="14"/>
                    </a:lnTo>
                    <a:lnTo>
                      <a:pt x="16" y="14"/>
                    </a:lnTo>
                    <a:lnTo>
                      <a:pt x="19" y="12"/>
                    </a:lnTo>
                    <a:lnTo>
                      <a:pt x="21" y="12"/>
                    </a:lnTo>
                    <a:lnTo>
                      <a:pt x="22" y="9"/>
                    </a:lnTo>
                    <a:lnTo>
                      <a:pt x="26" y="7"/>
                    </a:lnTo>
                    <a:lnTo>
                      <a:pt x="31" y="7"/>
                    </a:lnTo>
                    <a:lnTo>
                      <a:pt x="34" y="5"/>
                    </a:lnTo>
                    <a:lnTo>
                      <a:pt x="34" y="2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9" y="3"/>
                    </a:lnTo>
                    <a:lnTo>
                      <a:pt x="41" y="5"/>
                    </a:lnTo>
                    <a:lnTo>
                      <a:pt x="43" y="5"/>
                    </a:lnTo>
                    <a:lnTo>
                      <a:pt x="46" y="7"/>
                    </a:lnTo>
                    <a:lnTo>
                      <a:pt x="48" y="3"/>
                    </a:lnTo>
                    <a:lnTo>
                      <a:pt x="49" y="3"/>
                    </a:lnTo>
                    <a:lnTo>
                      <a:pt x="53" y="3"/>
                    </a:lnTo>
                    <a:lnTo>
                      <a:pt x="54" y="7"/>
                    </a:lnTo>
                    <a:lnTo>
                      <a:pt x="56" y="7"/>
                    </a:lnTo>
                    <a:lnTo>
                      <a:pt x="59" y="7"/>
                    </a:lnTo>
                    <a:lnTo>
                      <a:pt x="63" y="7"/>
                    </a:lnTo>
                    <a:lnTo>
                      <a:pt x="65" y="10"/>
                    </a:lnTo>
                    <a:lnTo>
                      <a:pt x="68" y="10"/>
                    </a:lnTo>
                    <a:lnTo>
                      <a:pt x="68" y="12"/>
                    </a:lnTo>
                    <a:lnTo>
                      <a:pt x="68" y="14"/>
                    </a:lnTo>
                    <a:lnTo>
                      <a:pt x="66" y="14"/>
                    </a:lnTo>
                    <a:lnTo>
                      <a:pt x="70" y="17"/>
                    </a:lnTo>
                    <a:lnTo>
                      <a:pt x="73" y="19"/>
                    </a:lnTo>
                    <a:lnTo>
                      <a:pt x="75" y="19"/>
                    </a:lnTo>
                    <a:lnTo>
                      <a:pt x="76" y="19"/>
                    </a:lnTo>
                    <a:lnTo>
                      <a:pt x="78" y="17"/>
                    </a:lnTo>
                    <a:lnTo>
                      <a:pt x="76" y="15"/>
                    </a:lnTo>
                    <a:lnTo>
                      <a:pt x="78" y="15"/>
                    </a:lnTo>
                    <a:lnTo>
                      <a:pt x="80" y="15"/>
                    </a:lnTo>
                    <a:lnTo>
                      <a:pt x="81" y="15"/>
                    </a:lnTo>
                    <a:lnTo>
                      <a:pt x="85" y="17"/>
                    </a:lnTo>
                    <a:lnTo>
                      <a:pt x="88" y="17"/>
                    </a:lnTo>
                    <a:lnTo>
                      <a:pt x="90" y="17"/>
                    </a:lnTo>
                    <a:lnTo>
                      <a:pt x="90" y="19"/>
                    </a:lnTo>
                    <a:lnTo>
                      <a:pt x="90" y="20"/>
                    </a:lnTo>
                    <a:lnTo>
                      <a:pt x="93" y="22"/>
                    </a:lnTo>
                    <a:lnTo>
                      <a:pt x="97" y="24"/>
                    </a:lnTo>
                    <a:lnTo>
                      <a:pt x="98" y="27"/>
                    </a:lnTo>
                    <a:lnTo>
                      <a:pt x="102" y="30"/>
                    </a:lnTo>
                    <a:lnTo>
                      <a:pt x="100" y="34"/>
                    </a:lnTo>
                    <a:lnTo>
                      <a:pt x="100" y="35"/>
                    </a:lnTo>
                    <a:lnTo>
                      <a:pt x="92" y="39"/>
                    </a:lnTo>
                    <a:lnTo>
                      <a:pt x="92" y="41"/>
                    </a:lnTo>
                    <a:lnTo>
                      <a:pt x="85" y="41"/>
                    </a:lnTo>
                    <a:lnTo>
                      <a:pt x="80" y="44"/>
                    </a:lnTo>
                    <a:lnTo>
                      <a:pt x="81" y="42"/>
                    </a:lnTo>
                    <a:lnTo>
                      <a:pt x="76" y="51"/>
                    </a:lnTo>
                    <a:lnTo>
                      <a:pt x="76" y="49"/>
                    </a:lnTo>
                    <a:lnTo>
                      <a:pt x="75" y="47"/>
                    </a:lnTo>
                    <a:lnTo>
                      <a:pt x="70" y="47"/>
                    </a:lnTo>
                    <a:lnTo>
                      <a:pt x="65" y="47"/>
                    </a:lnTo>
                    <a:lnTo>
                      <a:pt x="61" y="46"/>
                    </a:lnTo>
                    <a:lnTo>
                      <a:pt x="58" y="44"/>
                    </a:lnTo>
                    <a:lnTo>
                      <a:pt x="56" y="44"/>
                    </a:lnTo>
                    <a:lnTo>
                      <a:pt x="53" y="44"/>
                    </a:lnTo>
                    <a:lnTo>
                      <a:pt x="51" y="44"/>
                    </a:lnTo>
                    <a:lnTo>
                      <a:pt x="49" y="44"/>
                    </a:lnTo>
                    <a:lnTo>
                      <a:pt x="48" y="46"/>
                    </a:lnTo>
                    <a:lnTo>
                      <a:pt x="46" y="47"/>
                    </a:lnTo>
                    <a:lnTo>
                      <a:pt x="43" y="51"/>
                    </a:lnTo>
                    <a:lnTo>
                      <a:pt x="41" y="51"/>
                    </a:lnTo>
                    <a:lnTo>
                      <a:pt x="38" y="51"/>
                    </a:lnTo>
                    <a:lnTo>
                      <a:pt x="34" y="51"/>
                    </a:lnTo>
                    <a:lnTo>
                      <a:pt x="32" y="49"/>
                    </a:lnTo>
                    <a:lnTo>
                      <a:pt x="29" y="49"/>
                    </a:lnTo>
                    <a:lnTo>
                      <a:pt x="27" y="47"/>
                    </a:lnTo>
                    <a:lnTo>
                      <a:pt x="22" y="44"/>
                    </a:lnTo>
                    <a:lnTo>
                      <a:pt x="21" y="42"/>
                    </a:lnTo>
                    <a:lnTo>
                      <a:pt x="17" y="39"/>
                    </a:lnTo>
                    <a:lnTo>
                      <a:pt x="12" y="35"/>
                    </a:lnTo>
                    <a:lnTo>
                      <a:pt x="9" y="34"/>
                    </a:lnTo>
                    <a:lnTo>
                      <a:pt x="7" y="30"/>
                    </a:lnTo>
                    <a:lnTo>
                      <a:pt x="7" y="25"/>
                    </a:lnTo>
                    <a:lnTo>
                      <a:pt x="6" y="24"/>
                    </a:lnTo>
                    <a:lnTo>
                      <a:pt x="2" y="22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4" y="19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35" name="Group 1634">
              <a:extLst>
                <a:ext uri="{FF2B5EF4-FFF2-40B4-BE49-F238E27FC236}">
                  <a16:creationId xmlns:a16="http://schemas.microsoft.com/office/drawing/2014/main" id="{A2B75272-3A38-B646-B701-6F8F98875F3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3" y="510"/>
              <a:ext cx="88" cy="38"/>
              <a:chOff x="423" y="510"/>
              <a:chExt cx="88" cy="38"/>
            </a:xfrm>
          </p:grpSpPr>
          <p:sp>
            <p:nvSpPr>
              <p:cNvPr id="2024" name="Freeform 398">
                <a:extLst>
                  <a:ext uri="{FF2B5EF4-FFF2-40B4-BE49-F238E27FC236}">
                    <a16:creationId xmlns:a16="http://schemas.microsoft.com/office/drawing/2014/main" id="{C123E865-9A27-5247-8C5B-050D04F495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" y="510"/>
                <a:ext cx="88" cy="38"/>
              </a:xfrm>
              <a:custGeom>
                <a:avLst/>
                <a:gdLst>
                  <a:gd name="T0" fmla="*/ 26 w 88"/>
                  <a:gd name="T1" fmla="*/ 0 h 38"/>
                  <a:gd name="T2" fmla="*/ 34 w 88"/>
                  <a:gd name="T3" fmla="*/ 4 h 38"/>
                  <a:gd name="T4" fmla="*/ 41 w 88"/>
                  <a:gd name="T5" fmla="*/ 2 h 38"/>
                  <a:gd name="T6" fmla="*/ 46 w 88"/>
                  <a:gd name="T7" fmla="*/ 5 h 38"/>
                  <a:gd name="T8" fmla="*/ 49 w 88"/>
                  <a:gd name="T9" fmla="*/ 9 h 38"/>
                  <a:gd name="T10" fmla="*/ 56 w 88"/>
                  <a:gd name="T11" fmla="*/ 5 h 38"/>
                  <a:gd name="T12" fmla="*/ 64 w 88"/>
                  <a:gd name="T13" fmla="*/ 7 h 38"/>
                  <a:gd name="T14" fmla="*/ 69 w 88"/>
                  <a:gd name="T15" fmla="*/ 4 h 38"/>
                  <a:gd name="T16" fmla="*/ 76 w 88"/>
                  <a:gd name="T17" fmla="*/ 4 h 38"/>
                  <a:gd name="T18" fmla="*/ 81 w 88"/>
                  <a:gd name="T19" fmla="*/ 7 h 38"/>
                  <a:gd name="T20" fmla="*/ 88 w 88"/>
                  <a:gd name="T21" fmla="*/ 11 h 38"/>
                  <a:gd name="T22" fmla="*/ 86 w 88"/>
                  <a:gd name="T23" fmla="*/ 14 h 38"/>
                  <a:gd name="T24" fmla="*/ 85 w 88"/>
                  <a:gd name="T25" fmla="*/ 19 h 38"/>
                  <a:gd name="T26" fmla="*/ 83 w 88"/>
                  <a:gd name="T27" fmla="*/ 24 h 38"/>
                  <a:gd name="T28" fmla="*/ 78 w 88"/>
                  <a:gd name="T29" fmla="*/ 26 h 38"/>
                  <a:gd name="T30" fmla="*/ 69 w 88"/>
                  <a:gd name="T31" fmla="*/ 22 h 38"/>
                  <a:gd name="T32" fmla="*/ 61 w 88"/>
                  <a:gd name="T33" fmla="*/ 22 h 38"/>
                  <a:gd name="T34" fmla="*/ 56 w 88"/>
                  <a:gd name="T35" fmla="*/ 27 h 38"/>
                  <a:gd name="T36" fmla="*/ 49 w 88"/>
                  <a:gd name="T37" fmla="*/ 29 h 38"/>
                  <a:gd name="T38" fmla="*/ 39 w 88"/>
                  <a:gd name="T39" fmla="*/ 31 h 38"/>
                  <a:gd name="T40" fmla="*/ 31 w 88"/>
                  <a:gd name="T41" fmla="*/ 32 h 38"/>
                  <a:gd name="T42" fmla="*/ 27 w 88"/>
                  <a:gd name="T43" fmla="*/ 36 h 38"/>
                  <a:gd name="T44" fmla="*/ 26 w 88"/>
                  <a:gd name="T45" fmla="*/ 38 h 38"/>
                  <a:gd name="T46" fmla="*/ 21 w 88"/>
                  <a:gd name="T47" fmla="*/ 38 h 38"/>
                  <a:gd name="T48" fmla="*/ 16 w 88"/>
                  <a:gd name="T49" fmla="*/ 38 h 38"/>
                  <a:gd name="T50" fmla="*/ 10 w 88"/>
                  <a:gd name="T51" fmla="*/ 36 h 38"/>
                  <a:gd name="T52" fmla="*/ 7 w 88"/>
                  <a:gd name="T53" fmla="*/ 32 h 38"/>
                  <a:gd name="T54" fmla="*/ 5 w 88"/>
                  <a:gd name="T55" fmla="*/ 31 h 38"/>
                  <a:gd name="T56" fmla="*/ 0 w 88"/>
                  <a:gd name="T57" fmla="*/ 22 h 38"/>
                  <a:gd name="T58" fmla="*/ 5 w 88"/>
                  <a:gd name="T59" fmla="*/ 12 h 38"/>
                  <a:gd name="T60" fmla="*/ 9 w 88"/>
                  <a:gd name="T61" fmla="*/ 11 h 38"/>
                  <a:gd name="T62" fmla="*/ 24 w 88"/>
                  <a:gd name="T63" fmla="*/ 5 h 38"/>
                  <a:gd name="T64" fmla="*/ 26 w 88"/>
                  <a:gd name="T6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8" h="38">
                    <a:moveTo>
                      <a:pt x="26" y="0"/>
                    </a:moveTo>
                    <a:lnTo>
                      <a:pt x="26" y="0"/>
                    </a:lnTo>
                    <a:lnTo>
                      <a:pt x="31" y="2"/>
                    </a:lnTo>
                    <a:lnTo>
                      <a:pt x="34" y="4"/>
                    </a:lnTo>
                    <a:lnTo>
                      <a:pt x="37" y="4"/>
                    </a:lnTo>
                    <a:lnTo>
                      <a:pt x="41" y="2"/>
                    </a:lnTo>
                    <a:lnTo>
                      <a:pt x="42" y="4"/>
                    </a:lnTo>
                    <a:lnTo>
                      <a:pt x="46" y="5"/>
                    </a:lnTo>
                    <a:lnTo>
                      <a:pt x="48" y="7"/>
                    </a:lnTo>
                    <a:lnTo>
                      <a:pt x="49" y="9"/>
                    </a:lnTo>
                    <a:lnTo>
                      <a:pt x="53" y="7"/>
                    </a:lnTo>
                    <a:lnTo>
                      <a:pt x="56" y="5"/>
                    </a:lnTo>
                    <a:lnTo>
                      <a:pt x="61" y="5"/>
                    </a:lnTo>
                    <a:lnTo>
                      <a:pt x="64" y="7"/>
                    </a:lnTo>
                    <a:lnTo>
                      <a:pt x="66" y="5"/>
                    </a:lnTo>
                    <a:lnTo>
                      <a:pt x="69" y="4"/>
                    </a:lnTo>
                    <a:lnTo>
                      <a:pt x="73" y="4"/>
                    </a:lnTo>
                    <a:lnTo>
                      <a:pt x="76" y="4"/>
                    </a:lnTo>
                    <a:lnTo>
                      <a:pt x="80" y="5"/>
                    </a:lnTo>
                    <a:lnTo>
                      <a:pt x="81" y="7"/>
                    </a:lnTo>
                    <a:lnTo>
                      <a:pt x="85" y="11"/>
                    </a:lnTo>
                    <a:lnTo>
                      <a:pt x="88" y="11"/>
                    </a:lnTo>
                    <a:lnTo>
                      <a:pt x="88" y="12"/>
                    </a:lnTo>
                    <a:lnTo>
                      <a:pt x="86" y="14"/>
                    </a:lnTo>
                    <a:lnTo>
                      <a:pt x="85" y="17"/>
                    </a:lnTo>
                    <a:lnTo>
                      <a:pt x="85" y="19"/>
                    </a:lnTo>
                    <a:lnTo>
                      <a:pt x="83" y="22"/>
                    </a:lnTo>
                    <a:lnTo>
                      <a:pt x="83" y="24"/>
                    </a:lnTo>
                    <a:lnTo>
                      <a:pt x="83" y="26"/>
                    </a:lnTo>
                    <a:lnTo>
                      <a:pt x="78" y="26"/>
                    </a:lnTo>
                    <a:lnTo>
                      <a:pt x="75" y="22"/>
                    </a:lnTo>
                    <a:lnTo>
                      <a:pt x="69" y="22"/>
                    </a:lnTo>
                    <a:lnTo>
                      <a:pt x="66" y="22"/>
                    </a:lnTo>
                    <a:lnTo>
                      <a:pt x="61" y="22"/>
                    </a:lnTo>
                    <a:lnTo>
                      <a:pt x="56" y="24"/>
                    </a:lnTo>
                    <a:lnTo>
                      <a:pt x="56" y="27"/>
                    </a:lnTo>
                    <a:lnTo>
                      <a:pt x="53" y="27"/>
                    </a:lnTo>
                    <a:lnTo>
                      <a:pt x="49" y="29"/>
                    </a:lnTo>
                    <a:lnTo>
                      <a:pt x="44" y="29"/>
                    </a:lnTo>
                    <a:lnTo>
                      <a:pt x="39" y="31"/>
                    </a:lnTo>
                    <a:lnTo>
                      <a:pt x="34" y="32"/>
                    </a:lnTo>
                    <a:lnTo>
                      <a:pt x="31" y="32"/>
                    </a:lnTo>
                    <a:lnTo>
                      <a:pt x="29" y="36"/>
                    </a:lnTo>
                    <a:lnTo>
                      <a:pt x="27" y="36"/>
                    </a:lnTo>
                    <a:lnTo>
                      <a:pt x="27" y="38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1" y="38"/>
                    </a:lnTo>
                    <a:lnTo>
                      <a:pt x="19" y="38"/>
                    </a:lnTo>
                    <a:lnTo>
                      <a:pt x="16" y="38"/>
                    </a:lnTo>
                    <a:lnTo>
                      <a:pt x="14" y="38"/>
                    </a:lnTo>
                    <a:lnTo>
                      <a:pt x="10" y="36"/>
                    </a:lnTo>
                    <a:lnTo>
                      <a:pt x="9" y="34"/>
                    </a:lnTo>
                    <a:lnTo>
                      <a:pt x="7" y="32"/>
                    </a:lnTo>
                    <a:lnTo>
                      <a:pt x="5" y="32"/>
                    </a:lnTo>
                    <a:lnTo>
                      <a:pt x="5" y="31"/>
                    </a:lnTo>
                    <a:lnTo>
                      <a:pt x="2" y="29"/>
                    </a:lnTo>
                    <a:lnTo>
                      <a:pt x="0" y="22"/>
                    </a:lnTo>
                    <a:lnTo>
                      <a:pt x="0" y="21"/>
                    </a:lnTo>
                    <a:lnTo>
                      <a:pt x="5" y="12"/>
                    </a:lnTo>
                    <a:lnTo>
                      <a:pt x="4" y="14"/>
                    </a:lnTo>
                    <a:lnTo>
                      <a:pt x="9" y="11"/>
                    </a:lnTo>
                    <a:lnTo>
                      <a:pt x="16" y="9"/>
                    </a:lnTo>
                    <a:lnTo>
                      <a:pt x="24" y="5"/>
                    </a:lnTo>
                    <a:lnTo>
                      <a:pt x="24" y="4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025" name="Freeform 399">
                <a:extLst>
                  <a:ext uri="{FF2B5EF4-FFF2-40B4-BE49-F238E27FC236}">
                    <a16:creationId xmlns:a16="http://schemas.microsoft.com/office/drawing/2014/main" id="{15060641-C462-3841-A5C1-904161D06D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" y="510"/>
                <a:ext cx="88" cy="38"/>
              </a:xfrm>
              <a:custGeom>
                <a:avLst/>
                <a:gdLst>
                  <a:gd name="T0" fmla="*/ 26 w 88"/>
                  <a:gd name="T1" fmla="*/ 0 h 38"/>
                  <a:gd name="T2" fmla="*/ 34 w 88"/>
                  <a:gd name="T3" fmla="*/ 4 h 38"/>
                  <a:gd name="T4" fmla="*/ 41 w 88"/>
                  <a:gd name="T5" fmla="*/ 2 h 38"/>
                  <a:gd name="T6" fmla="*/ 46 w 88"/>
                  <a:gd name="T7" fmla="*/ 5 h 38"/>
                  <a:gd name="T8" fmla="*/ 49 w 88"/>
                  <a:gd name="T9" fmla="*/ 9 h 38"/>
                  <a:gd name="T10" fmla="*/ 56 w 88"/>
                  <a:gd name="T11" fmla="*/ 5 h 38"/>
                  <a:gd name="T12" fmla="*/ 64 w 88"/>
                  <a:gd name="T13" fmla="*/ 7 h 38"/>
                  <a:gd name="T14" fmla="*/ 69 w 88"/>
                  <a:gd name="T15" fmla="*/ 4 h 38"/>
                  <a:gd name="T16" fmla="*/ 76 w 88"/>
                  <a:gd name="T17" fmla="*/ 4 h 38"/>
                  <a:gd name="T18" fmla="*/ 81 w 88"/>
                  <a:gd name="T19" fmla="*/ 7 h 38"/>
                  <a:gd name="T20" fmla="*/ 88 w 88"/>
                  <a:gd name="T21" fmla="*/ 11 h 38"/>
                  <a:gd name="T22" fmla="*/ 86 w 88"/>
                  <a:gd name="T23" fmla="*/ 14 h 38"/>
                  <a:gd name="T24" fmla="*/ 85 w 88"/>
                  <a:gd name="T25" fmla="*/ 19 h 38"/>
                  <a:gd name="T26" fmla="*/ 83 w 88"/>
                  <a:gd name="T27" fmla="*/ 24 h 38"/>
                  <a:gd name="T28" fmla="*/ 78 w 88"/>
                  <a:gd name="T29" fmla="*/ 26 h 38"/>
                  <a:gd name="T30" fmla="*/ 69 w 88"/>
                  <a:gd name="T31" fmla="*/ 22 h 38"/>
                  <a:gd name="T32" fmla="*/ 61 w 88"/>
                  <a:gd name="T33" fmla="*/ 22 h 38"/>
                  <a:gd name="T34" fmla="*/ 56 w 88"/>
                  <a:gd name="T35" fmla="*/ 27 h 38"/>
                  <a:gd name="T36" fmla="*/ 49 w 88"/>
                  <a:gd name="T37" fmla="*/ 29 h 38"/>
                  <a:gd name="T38" fmla="*/ 39 w 88"/>
                  <a:gd name="T39" fmla="*/ 31 h 38"/>
                  <a:gd name="T40" fmla="*/ 31 w 88"/>
                  <a:gd name="T41" fmla="*/ 32 h 38"/>
                  <a:gd name="T42" fmla="*/ 27 w 88"/>
                  <a:gd name="T43" fmla="*/ 36 h 38"/>
                  <a:gd name="T44" fmla="*/ 26 w 88"/>
                  <a:gd name="T45" fmla="*/ 38 h 38"/>
                  <a:gd name="T46" fmla="*/ 21 w 88"/>
                  <a:gd name="T47" fmla="*/ 38 h 38"/>
                  <a:gd name="T48" fmla="*/ 16 w 88"/>
                  <a:gd name="T49" fmla="*/ 38 h 38"/>
                  <a:gd name="T50" fmla="*/ 10 w 88"/>
                  <a:gd name="T51" fmla="*/ 36 h 38"/>
                  <a:gd name="T52" fmla="*/ 7 w 88"/>
                  <a:gd name="T53" fmla="*/ 32 h 38"/>
                  <a:gd name="T54" fmla="*/ 5 w 88"/>
                  <a:gd name="T55" fmla="*/ 31 h 38"/>
                  <a:gd name="T56" fmla="*/ 0 w 88"/>
                  <a:gd name="T57" fmla="*/ 22 h 38"/>
                  <a:gd name="T58" fmla="*/ 5 w 88"/>
                  <a:gd name="T59" fmla="*/ 12 h 38"/>
                  <a:gd name="T60" fmla="*/ 9 w 88"/>
                  <a:gd name="T61" fmla="*/ 11 h 38"/>
                  <a:gd name="T62" fmla="*/ 24 w 88"/>
                  <a:gd name="T63" fmla="*/ 5 h 38"/>
                  <a:gd name="T64" fmla="*/ 26 w 88"/>
                  <a:gd name="T6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8" h="38">
                    <a:moveTo>
                      <a:pt x="26" y="0"/>
                    </a:moveTo>
                    <a:lnTo>
                      <a:pt x="26" y="0"/>
                    </a:lnTo>
                    <a:lnTo>
                      <a:pt x="31" y="2"/>
                    </a:lnTo>
                    <a:lnTo>
                      <a:pt x="34" y="4"/>
                    </a:lnTo>
                    <a:lnTo>
                      <a:pt x="37" y="4"/>
                    </a:lnTo>
                    <a:lnTo>
                      <a:pt x="41" y="2"/>
                    </a:lnTo>
                    <a:lnTo>
                      <a:pt x="42" y="4"/>
                    </a:lnTo>
                    <a:lnTo>
                      <a:pt x="46" y="5"/>
                    </a:lnTo>
                    <a:lnTo>
                      <a:pt x="48" y="7"/>
                    </a:lnTo>
                    <a:lnTo>
                      <a:pt x="49" y="9"/>
                    </a:lnTo>
                    <a:lnTo>
                      <a:pt x="53" y="7"/>
                    </a:lnTo>
                    <a:lnTo>
                      <a:pt x="56" y="5"/>
                    </a:lnTo>
                    <a:lnTo>
                      <a:pt x="61" y="5"/>
                    </a:lnTo>
                    <a:lnTo>
                      <a:pt x="64" y="7"/>
                    </a:lnTo>
                    <a:lnTo>
                      <a:pt x="66" y="5"/>
                    </a:lnTo>
                    <a:lnTo>
                      <a:pt x="69" y="4"/>
                    </a:lnTo>
                    <a:lnTo>
                      <a:pt x="73" y="4"/>
                    </a:lnTo>
                    <a:lnTo>
                      <a:pt x="76" y="4"/>
                    </a:lnTo>
                    <a:lnTo>
                      <a:pt x="80" y="5"/>
                    </a:lnTo>
                    <a:lnTo>
                      <a:pt x="81" y="7"/>
                    </a:lnTo>
                    <a:lnTo>
                      <a:pt x="85" y="11"/>
                    </a:lnTo>
                    <a:lnTo>
                      <a:pt x="88" y="11"/>
                    </a:lnTo>
                    <a:lnTo>
                      <a:pt x="88" y="12"/>
                    </a:lnTo>
                    <a:lnTo>
                      <a:pt x="86" y="14"/>
                    </a:lnTo>
                    <a:lnTo>
                      <a:pt x="85" y="17"/>
                    </a:lnTo>
                    <a:lnTo>
                      <a:pt x="85" y="19"/>
                    </a:lnTo>
                    <a:lnTo>
                      <a:pt x="83" y="22"/>
                    </a:lnTo>
                    <a:lnTo>
                      <a:pt x="83" y="24"/>
                    </a:lnTo>
                    <a:lnTo>
                      <a:pt x="83" y="26"/>
                    </a:lnTo>
                    <a:lnTo>
                      <a:pt x="78" y="26"/>
                    </a:lnTo>
                    <a:lnTo>
                      <a:pt x="75" y="22"/>
                    </a:lnTo>
                    <a:lnTo>
                      <a:pt x="69" y="22"/>
                    </a:lnTo>
                    <a:lnTo>
                      <a:pt x="66" y="22"/>
                    </a:lnTo>
                    <a:lnTo>
                      <a:pt x="61" y="22"/>
                    </a:lnTo>
                    <a:lnTo>
                      <a:pt x="56" y="24"/>
                    </a:lnTo>
                    <a:lnTo>
                      <a:pt x="56" y="27"/>
                    </a:lnTo>
                    <a:lnTo>
                      <a:pt x="53" y="27"/>
                    </a:lnTo>
                    <a:lnTo>
                      <a:pt x="49" y="29"/>
                    </a:lnTo>
                    <a:lnTo>
                      <a:pt x="44" y="29"/>
                    </a:lnTo>
                    <a:lnTo>
                      <a:pt x="39" y="31"/>
                    </a:lnTo>
                    <a:lnTo>
                      <a:pt x="34" y="32"/>
                    </a:lnTo>
                    <a:lnTo>
                      <a:pt x="31" y="32"/>
                    </a:lnTo>
                    <a:lnTo>
                      <a:pt x="29" y="36"/>
                    </a:lnTo>
                    <a:lnTo>
                      <a:pt x="27" y="36"/>
                    </a:lnTo>
                    <a:lnTo>
                      <a:pt x="27" y="38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1" y="38"/>
                    </a:lnTo>
                    <a:lnTo>
                      <a:pt x="19" y="38"/>
                    </a:lnTo>
                    <a:lnTo>
                      <a:pt x="16" y="38"/>
                    </a:lnTo>
                    <a:lnTo>
                      <a:pt x="14" y="38"/>
                    </a:lnTo>
                    <a:lnTo>
                      <a:pt x="10" y="36"/>
                    </a:lnTo>
                    <a:lnTo>
                      <a:pt x="9" y="34"/>
                    </a:lnTo>
                    <a:lnTo>
                      <a:pt x="7" y="32"/>
                    </a:lnTo>
                    <a:lnTo>
                      <a:pt x="5" y="32"/>
                    </a:lnTo>
                    <a:lnTo>
                      <a:pt x="5" y="31"/>
                    </a:lnTo>
                    <a:lnTo>
                      <a:pt x="2" y="29"/>
                    </a:lnTo>
                    <a:lnTo>
                      <a:pt x="0" y="22"/>
                    </a:lnTo>
                    <a:lnTo>
                      <a:pt x="0" y="21"/>
                    </a:lnTo>
                    <a:lnTo>
                      <a:pt x="5" y="12"/>
                    </a:lnTo>
                    <a:lnTo>
                      <a:pt x="4" y="14"/>
                    </a:lnTo>
                    <a:lnTo>
                      <a:pt x="9" y="11"/>
                    </a:lnTo>
                    <a:lnTo>
                      <a:pt x="16" y="9"/>
                    </a:lnTo>
                    <a:lnTo>
                      <a:pt x="24" y="5"/>
                    </a:lnTo>
                    <a:lnTo>
                      <a:pt x="24" y="4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36" name="Group 1635">
              <a:extLst>
                <a:ext uri="{FF2B5EF4-FFF2-40B4-BE49-F238E27FC236}">
                  <a16:creationId xmlns:a16="http://schemas.microsoft.com/office/drawing/2014/main" id="{F721B0BC-C65B-D149-AC79-91391875C0F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9" y="524"/>
              <a:ext cx="119" cy="49"/>
              <a:chOff x="309" y="524"/>
              <a:chExt cx="119" cy="49"/>
            </a:xfrm>
          </p:grpSpPr>
          <p:sp>
            <p:nvSpPr>
              <p:cNvPr id="2022" name="Freeform 396">
                <a:extLst>
                  <a:ext uri="{FF2B5EF4-FFF2-40B4-BE49-F238E27FC236}">
                    <a16:creationId xmlns:a16="http://schemas.microsoft.com/office/drawing/2014/main" id="{16DD5226-A533-D343-BDA2-EB569FA52D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" y="524"/>
                <a:ext cx="119" cy="49"/>
              </a:xfrm>
              <a:custGeom>
                <a:avLst/>
                <a:gdLst>
                  <a:gd name="T0" fmla="*/ 11 w 119"/>
                  <a:gd name="T1" fmla="*/ 40 h 49"/>
                  <a:gd name="T2" fmla="*/ 8 w 119"/>
                  <a:gd name="T3" fmla="*/ 39 h 49"/>
                  <a:gd name="T4" fmla="*/ 0 w 119"/>
                  <a:gd name="T5" fmla="*/ 30 h 49"/>
                  <a:gd name="T6" fmla="*/ 5 w 119"/>
                  <a:gd name="T7" fmla="*/ 29 h 49"/>
                  <a:gd name="T8" fmla="*/ 8 w 119"/>
                  <a:gd name="T9" fmla="*/ 30 h 49"/>
                  <a:gd name="T10" fmla="*/ 13 w 119"/>
                  <a:gd name="T11" fmla="*/ 32 h 49"/>
                  <a:gd name="T12" fmla="*/ 17 w 119"/>
                  <a:gd name="T13" fmla="*/ 29 h 49"/>
                  <a:gd name="T14" fmla="*/ 23 w 119"/>
                  <a:gd name="T15" fmla="*/ 30 h 49"/>
                  <a:gd name="T16" fmla="*/ 30 w 119"/>
                  <a:gd name="T17" fmla="*/ 29 h 49"/>
                  <a:gd name="T18" fmla="*/ 35 w 119"/>
                  <a:gd name="T19" fmla="*/ 27 h 49"/>
                  <a:gd name="T20" fmla="*/ 42 w 119"/>
                  <a:gd name="T21" fmla="*/ 27 h 49"/>
                  <a:gd name="T22" fmla="*/ 47 w 119"/>
                  <a:gd name="T23" fmla="*/ 25 h 49"/>
                  <a:gd name="T24" fmla="*/ 50 w 119"/>
                  <a:gd name="T25" fmla="*/ 25 h 49"/>
                  <a:gd name="T26" fmla="*/ 54 w 119"/>
                  <a:gd name="T27" fmla="*/ 27 h 49"/>
                  <a:gd name="T28" fmla="*/ 52 w 119"/>
                  <a:gd name="T29" fmla="*/ 22 h 49"/>
                  <a:gd name="T30" fmla="*/ 54 w 119"/>
                  <a:gd name="T31" fmla="*/ 15 h 49"/>
                  <a:gd name="T32" fmla="*/ 59 w 119"/>
                  <a:gd name="T33" fmla="*/ 12 h 49"/>
                  <a:gd name="T34" fmla="*/ 62 w 119"/>
                  <a:gd name="T35" fmla="*/ 8 h 49"/>
                  <a:gd name="T36" fmla="*/ 65 w 119"/>
                  <a:gd name="T37" fmla="*/ 7 h 49"/>
                  <a:gd name="T38" fmla="*/ 70 w 119"/>
                  <a:gd name="T39" fmla="*/ 5 h 49"/>
                  <a:gd name="T40" fmla="*/ 76 w 119"/>
                  <a:gd name="T41" fmla="*/ 7 h 49"/>
                  <a:gd name="T42" fmla="*/ 81 w 119"/>
                  <a:gd name="T43" fmla="*/ 7 h 49"/>
                  <a:gd name="T44" fmla="*/ 86 w 119"/>
                  <a:gd name="T45" fmla="*/ 2 h 49"/>
                  <a:gd name="T46" fmla="*/ 89 w 119"/>
                  <a:gd name="T47" fmla="*/ 0 h 49"/>
                  <a:gd name="T48" fmla="*/ 94 w 119"/>
                  <a:gd name="T49" fmla="*/ 0 h 49"/>
                  <a:gd name="T50" fmla="*/ 99 w 119"/>
                  <a:gd name="T51" fmla="*/ 2 h 49"/>
                  <a:gd name="T52" fmla="*/ 108 w 119"/>
                  <a:gd name="T53" fmla="*/ 3 h 49"/>
                  <a:gd name="T54" fmla="*/ 114 w 119"/>
                  <a:gd name="T55" fmla="*/ 5 h 49"/>
                  <a:gd name="T56" fmla="*/ 116 w 119"/>
                  <a:gd name="T57" fmla="*/ 15 h 49"/>
                  <a:gd name="T58" fmla="*/ 119 w 119"/>
                  <a:gd name="T59" fmla="*/ 18 h 49"/>
                  <a:gd name="T60" fmla="*/ 119 w 119"/>
                  <a:gd name="T61" fmla="*/ 22 h 49"/>
                  <a:gd name="T62" fmla="*/ 113 w 119"/>
                  <a:gd name="T63" fmla="*/ 25 h 49"/>
                  <a:gd name="T64" fmla="*/ 109 w 119"/>
                  <a:gd name="T65" fmla="*/ 27 h 49"/>
                  <a:gd name="T66" fmla="*/ 109 w 119"/>
                  <a:gd name="T67" fmla="*/ 32 h 49"/>
                  <a:gd name="T68" fmla="*/ 108 w 119"/>
                  <a:gd name="T69" fmla="*/ 35 h 49"/>
                  <a:gd name="T70" fmla="*/ 106 w 119"/>
                  <a:gd name="T71" fmla="*/ 39 h 49"/>
                  <a:gd name="T72" fmla="*/ 103 w 119"/>
                  <a:gd name="T73" fmla="*/ 42 h 49"/>
                  <a:gd name="T74" fmla="*/ 99 w 119"/>
                  <a:gd name="T75" fmla="*/ 44 h 49"/>
                  <a:gd name="T76" fmla="*/ 96 w 119"/>
                  <a:gd name="T77" fmla="*/ 44 h 49"/>
                  <a:gd name="T78" fmla="*/ 92 w 119"/>
                  <a:gd name="T79" fmla="*/ 45 h 49"/>
                  <a:gd name="T80" fmla="*/ 89 w 119"/>
                  <a:gd name="T81" fmla="*/ 45 h 49"/>
                  <a:gd name="T82" fmla="*/ 82 w 119"/>
                  <a:gd name="T83" fmla="*/ 45 h 49"/>
                  <a:gd name="T84" fmla="*/ 81 w 119"/>
                  <a:gd name="T85" fmla="*/ 49 h 49"/>
                  <a:gd name="T86" fmla="*/ 77 w 119"/>
                  <a:gd name="T87" fmla="*/ 49 h 49"/>
                  <a:gd name="T88" fmla="*/ 74 w 119"/>
                  <a:gd name="T89" fmla="*/ 49 h 49"/>
                  <a:gd name="T90" fmla="*/ 69 w 119"/>
                  <a:gd name="T91" fmla="*/ 49 h 49"/>
                  <a:gd name="T92" fmla="*/ 65 w 119"/>
                  <a:gd name="T93" fmla="*/ 49 h 49"/>
                  <a:gd name="T94" fmla="*/ 60 w 119"/>
                  <a:gd name="T95" fmla="*/ 49 h 49"/>
                  <a:gd name="T96" fmla="*/ 55 w 119"/>
                  <a:gd name="T97" fmla="*/ 47 h 49"/>
                  <a:gd name="T98" fmla="*/ 50 w 119"/>
                  <a:gd name="T99" fmla="*/ 47 h 49"/>
                  <a:gd name="T100" fmla="*/ 45 w 119"/>
                  <a:gd name="T101" fmla="*/ 45 h 49"/>
                  <a:gd name="T102" fmla="*/ 42 w 119"/>
                  <a:gd name="T103" fmla="*/ 44 h 49"/>
                  <a:gd name="T104" fmla="*/ 40 w 119"/>
                  <a:gd name="T105" fmla="*/ 39 h 49"/>
                  <a:gd name="T106" fmla="*/ 38 w 119"/>
                  <a:gd name="T107" fmla="*/ 37 h 49"/>
                  <a:gd name="T108" fmla="*/ 35 w 119"/>
                  <a:gd name="T109" fmla="*/ 39 h 49"/>
                  <a:gd name="T110" fmla="*/ 28 w 119"/>
                  <a:gd name="T111" fmla="*/ 39 h 49"/>
                  <a:gd name="T112" fmla="*/ 25 w 119"/>
                  <a:gd name="T113" fmla="*/ 40 h 49"/>
                  <a:gd name="T114" fmla="*/ 22 w 119"/>
                  <a:gd name="T115" fmla="*/ 42 h 49"/>
                  <a:gd name="T116" fmla="*/ 17 w 119"/>
                  <a:gd name="T117" fmla="*/ 42 h 49"/>
                  <a:gd name="T118" fmla="*/ 13 w 119"/>
                  <a:gd name="T119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9" h="49">
                    <a:moveTo>
                      <a:pt x="13" y="40"/>
                    </a:moveTo>
                    <a:lnTo>
                      <a:pt x="11" y="40"/>
                    </a:lnTo>
                    <a:lnTo>
                      <a:pt x="10" y="42"/>
                    </a:lnTo>
                    <a:lnTo>
                      <a:pt x="8" y="39"/>
                    </a:lnTo>
                    <a:lnTo>
                      <a:pt x="5" y="37"/>
                    </a:lnTo>
                    <a:lnTo>
                      <a:pt x="0" y="30"/>
                    </a:lnTo>
                    <a:lnTo>
                      <a:pt x="3" y="29"/>
                    </a:lnTo>
                    <a:lnTo>
                      <a:pt x="5" y="29"/>
                    </a:lnTo>
                    <a:lnTo>
                      <a:pt x="8" y="29"/>
                    </a:lnTo>
                    <a:lnTo>
                      <a:pt x="8" y="30"/>
                    </a:lnTo>
                    <a:lnTo>
                      <a:pt x="11" y="32"/>
                    </a:lnTo>
                    <a:lnTo>
                      <a:pt x="13" y="32"/>
                    </a:lnTo>
                    <a:lnTo>
                      <a:pt x="15" y="30"/>
                    </a:lnTo>
                    <a:lnTo>
                      <a:pt x="17" y="29"/>
                    </a:lnTo>
                    <a:lnTo>
                      <a:pt x="20" y="29"/>
                    </a:lnTo>
                    <a:lnTo>
                      <a:pt x="23" y="30"/>
                    </a:lnTo>
                    <a:lnTo>
                      <a:pt x="27" y="30"/>
                    </a:lnTo>
                    <a:lnTo>
                      <a:pt x="30" y="29"/>
                    </a:lnTo>
                    <a:lnTo>
                      <a:pt x="32" y="27"/>
                    </a:lnTo>
                    <a:lnTo>
                      <a:pt x="35" y="27"/>
                    </a:lnTo>
                    <a:lnTo>
                      <a:pt x="38" y="27"/>
                    </a:lnTo>
                    <a:lnTo>
                      <a:pt x="42" y="27"/>
                    </a:lnTo>
                    <a:lnTo>
                      <a:pt x="44" y="25"/>
                    </a:lnTo>
                    <a:lnTo>
                      <a:pt x="47" y="25"/>
                    </a:lnTo>
                    <a:lnTo>
                      <a:pt x="49" y="25"/>
                    </a:lnTo>
                    <a:lnTo>
                      <a:pt x="50" y="25"/>
                    </a:lnTo>
                    <a:lnTo>
                      <a:pt x="52" y="29"/>
                    </a:lnTo>
                    <a:lnTo>
                      <a:pt x="54" y="27"/>
                    </a:lnTo>
                    <a:lnTo>
                      <a:pt x="54" y="25"/>
                    </a:lnTo>
                    <a:lnTo>
                      <a:pt x="52" y="22"/>
                    </a:lnTo>
                    <a:lnTo>
                      <a:pt x="52" y="17"/>
                    </a:lnTo>
                    <a:lnTo>
                      <a:pt x="54" y="15"/>
                    </a:lnTo>
                    <a:lnTo>
                      <a:pt x="57" y="13"/>
                    </a:lnTo>
                    <a:lnTo>
                      <a:pt x="59" y="12"/>
                    </a:lnTo>
                    <a:lnTo>
                      <a:pt x="60" y="10"/>
                    </a:lnTo>
                    <a:lnTo>
                      <a:pt x="62" y="8"/>
                    </a:lnTo>
                    <a:lnTo>
                      <a:pt x="64" y="7"/>
                    </a:lnTo>
                    <a:lnTo>
                      <a:pt x="65" y="7"/>
                    </a:lnTo>
                    <a:lnTo>
                      <a:pt x="67" y="5"/>
                    </a:lnTo>
                    <a:lnTo>
                      <a:pt x="70" y="5"/>
                    </a:lnTo>
                    <a:lnTo>
                      <a:pt x="72" y="7"/>
                    </a:lnTo>
                    <a:lnTo>
                      <a:pt x="76" y="7"/>
                    </a:lnTo>
                    <a:lnTo>
                      <a:pt x="79" y="7"/>
                    </a:lnTo>
                    <a:lnTo>
                      <a:pt x="81" y="7"/>
                    </a:lnTo>
                    <a:lnTo>
                      <a:pt x="84" y="3"/>
                    </a:lnTo>
                    <a:lnTo>
                      <a:pt x="86" y="2"/>
                    </a:lnTo>
                    <a:lnTo>
                      <a:pt x="87" y="0"/>
                    </a:lnTo>
                    <a:lnTo>
                      <a:pt x="89" y="0"/>
                    </a:lnTo>
                    <a:lnTo>
                      <a:pt x="91" y="0"/>
                    </a:lnTo>
                    <a:lnTo>
                      <a:pt x="94" y="0"/>
                    </a:lnTo>
                    <a:lnTo>
                      <a:pt x="96" y="0"/>
                    </a:lnTo>
                    <a:lnTo>
                      <a:pt x="99" y="2"/>
                    </a:lnTo>
                    <a:lnTo>
                      <a:pt x="103" y="3"/>
                    </a:lnTo>
                    <a:lnTo>
                      <a:pt x="108" y="3"/>
                    </a:lnTo>
                    <a:lnTo>
                      <a:pt x="113" y="3"/>
                    </a:lnTo>
                    <a:lnTo>
                      <a:pt x="114" y="5"/>
                    </a:lnTo>
                    <a:lnTo>
                      <a:pt x="114" y="8"/>
                    </a:lnTo>
                    <a:lnTo>
                      <a:pt x="116" y="15"/>
                    </a:lnTo>
                    <a:lnTo>
                      <a:pt x="119" y="17"/>
                    </a:lnTo>
                    <a:lnTo>
                      <a:pt x="119" y="18"/>
                    </a:lnTo>
                    <a:lnTo>
                      <a:pt x="119" y="20"/>
                    </a:lnTo>
                    <a:lnTo>
                      <a:pt x="119" y="22"/>
                    </a:lnTo>
                    <a:lnTo>
                      <a:pt x="118" y="25"/>
                    </a:lnTo>
                    <a:lnTo>
                      <a:pt x="113" y="25"/>
                    </a:lnTo>
                    <a:lnTo>
                      <a:pt x="109" y="25"/>
                    </a:lnTo>
                    <a:lnTo>
                      <a:pt x="109" y="27"/>
                    </a:lnTo>
                    <a:lnTo>
                      <a:pt x="111" y="29"/>
                    </a:lnTo>
                    <a:lnTo>
                      <a:pt x="109" y="32"/>
                    </a:lnTo>
                    <a:lnTo>
                      <a:pt x="108" y="34"/>
                    </a:lnTo>
                    <a:lnTo>
                      <a:pt x="108" y="35"/>
                    </a:lnTo>
                    <a:lnTo>
                      <a:pt x="108" y="39"/>
                    </a:lnTo>
                    <a:lnTo>
                      <a:pt x="106" y="39"/>
                    </a:lnTo>
                    <a:lnTo>
                      <a:pt x="103" y="40"/>
                    </a:lnTo>
                    <a:lnTo>
                      <a:pt x="103" y="42"/>
                    </a:lnTo>
                    <a:lnTo>
                      <a:pt x="99" y="42"/>
                    </a:lnTo>
                    <a:lnTo>
                      <a:pt x="99" y="44"/>
                    </a:lnTo>
                    <a:lnTo>
                      <a:pt x="97" y="44"/>
                    </a:lnTo>
                    <a:lnTo>
                      <a:pt x="96" y="44"/>
                    </a:lnTo>
                    <a:lnTo>
                      <a:pt x="94" y="44"/>
                    </a:lnTo>
                    <a:lnTo>
                      <a:pt x="92" y="45"/>
                    </a:lnTo>
                    <a:lnTo>
                      <a:pt x="91" y="45"/>
                    </a:lnTo>
                    <a:lnTo>
                      <a:pt x="89" y="45"/>
                    </a:lnTo>
                    <a:lnTo>
                      <a:pt x="86" y="45"/>
                    </a:lnTo>
                    <a:lnTo>
                      <a:pt x="82" y="45"/>
                    </a:lnTo>
                    <a:lnTo>
                      <a:pt x="81" y="47"/>
                    </a:lnTo>
                    <a:lnTo>
                      <a:pt x="81" y="49"/>
                    </a:lnTo>
                    <a:lnTo>
                      <a:pt x="79" y="49"/>
                    </a:lnTo>
                    <a:lnTo>
                      <a:pt x="77" y="49"/>
                    </a:lnTo>
                    <a:lnTo>
                      <a:pt x="76" y="49"/>
                    </a:lnTo>
                    <a:lnTo>
                      <a:pt x="74" y="49"/>
                    </a:lnTo>
                    <a:lnTo>
                      <a:pt x="72" y="49"/>
                    </a:lnTo>
                    <a:lnTo>
                      <a:pt x="69" y="49"/>
                    </a:lnTo>
                    <a:lnTo>
                      <a:pt x="67" y="49"/>
                    </a:lnTo>
                    <a:lnTo>
                      <a:pt x="65" y="49"/>
                    </a:lnTo>
                    <a:lnTo>
                      <a:pt x="62" y="49"/>
                    </a:lnTo>
                    <a:lnTo>
                      <a:pt x="60" y="49"/>
                    </a:lnTo>
                    <a:lnTo>
                      <a:pt x="59" y="47"/>
                    </a:lnTo>
                    <a:lnTo>
                      <a:pt x="55" y="47"/>
                    </a:lnTo>
                    <a:lnTo>
                      <a:pt x="52" y="47"/>
                    </a:lnTo>
                    <a:lnTo>
                      <a:pt x="50" y="47"/>
                    </a:lnTo>
                    <a:lnTo>
                      <a:pt x="47" y="45"/>
                    </a:lnTo>
                    <a:lnTo>
                      <a:pt x="45" y="45"/>
                    </a:lnTo>
                    <a:lnTo>
                      <a:pt x="44" y="44"/>
                    </a:lnTo>
                    <a:lnTo>
                      <a:pt x="42" y="44"/>
                    </a:lnTo>
                    <a:lnTo>
                      <a:pt x="42" y="40"/>
                    </a:lnTo>
                    <a:lnTo>
                      <a:pt x="40" y="39"/>
                    </a:lnTo>
                    <a:lnTo>
                      <a:pt x="40" y="37"/>
                    </a:lnTo>
                    <a:lnTo>
                      <a:pt x="38" y="37"/>
                    </a:lnTo>
                    <a:lnTo>
                      <a:pt x="37" y="39"/>
                    </a:lnTo>
                    <a:lnTo>
                      <a:pt x="35" y="39"/>
                    </a:lnTo>
                    <a:lnTo>
                      <a:pt x="32" y="39"/>
                    </a:lnTo>
                    <a:lnTo>
                      <a:pt x="28" y="39"/>
                    </a:lnTo>
                    <a:lnTo>
                      <a:pt x="27" y="40"/>
                    </a:lnTo>
                    <a:lnTo>
                      <a:pt x="25" y="40"/>
                    </a:lnTo>
                    <a:lnTo>
                      <a:pt x="23" y="42"/>
                    </a:lnTo>
                    <a:lnTo>
                      <a:pt x="22" y="42"/>
                    </a:lnTo>
                    <a:lnTo>
                      <a:pt x="18" y="42"/>
                    </a:lnTo>
                    <a:lnTo>
                      <a:pt x="17" y="42"/>
                    </a:lnTo>
                    <a:lnTo>
                      <a:pt x="15" y="42"/>
                    </a:lnTo>
                    <a:lnTo>
                      <a:pt x="13" y="40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023" name="Freeform 397">
                <a:extLst>
                  <a:ext uri="{FF2B5EF4-FFF2-40B4-BE49-F238E27FC236}">
                    <a16:creationId xmlns:a16="http://schemas.microsoft.com/office/drawing/2014/main" id="{F9AB9BE7-090B-C347-B290-B21CB2EF65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" y="524"/>
                <a:ext cx="119" cy="49"/>
              </a:xfrm>
              <a:custGeom>
                <a:avLst/>
                <a:gdLst>
                  <a:gd name="T0" fmla="*/ 11 w 119"/>
                  <a:gd name="T1" fmla="*/ 40 h 49"/>
                  <a:gd name="T2" fmla="*/ 8 w 119"/>
                  <a:gd name="T3" fmla="*/ 39 h 49"/>
                  <a:gd name="T4" fmla="*/ 0 w 119"/>
                  <a:gd name="T5" fmla="*/ 30 h 49"/>
                  <a:gd name="T6" fmla="*/ 5 w 119"/>
                  <a:gd name="T7" fmla="*/ 29 h 49"/>
                  <a:gd name="T8" fmla="*/ 8 w 119"/>
                  <a:gd name="T9" fmla="*/ 30 h 49"/>
                  <a:gd name="T10" fmla="*/ 13 w 119"/>
                  <a:gd name="T11" fmla="*/ 32 h 49"/>
                  <a:gd name="T12" fmla="*/ 17 w 119"/>
                  <a:gd name="T13" fmla="*/ 29 h 49"/>
                  <a:gd name="T14" fmla="*/ 23 w 119"/>
                  <a:gd name="T15" fmla="*/ 30 h 49"/>
                  <a:gd name="T16" fmla="*/ 30 w 119"/>
                  <a:gd name="T17" fmla="*/ 29 h 49"/>
                  <a:gd name="T18" fmla="*/ 35 w 119"/>
                  <a:gd name="T19" fmla="*/ 27 h 49"/>
                  <a:gd name="T20" fmla="*/ 42 w 119"/>
                  <a:gd name="T21" fmla="*/ 27 h 49"/>
                  <a:gd name="T22" fmla="*/ 47 w 119"/>
                  <a:gd name="T23" fmla="*/ 25 h 49"/>
                  <a:gd name="T24" fmla="*/ 50 w 119"/>
                  <a:gd name="T25" fmla="*/ 25 h 49"/>
                  <a:gd name="T26" fmla="*/ 54 w 119"/>
                  <a:gd name="T27" fmla="*/ 27 h 49"/>
                  <a:gd name="T28" fmla="*/ 52 w 119"/>
                  <a:gd name="T29" fmla="*/ 22 h 49"/>
                  <a:gd name="T30" fmla="*/ 54 w 119"/>
                  <a:gd name="T31" fmla="*/ 15 h 49"/>
                  <a:gd name="T32" fmla="*/ 59 w 119"/>
                  <a:gd name="T33" fmla="*/ 12 h 49"/>
                  <a:gd name="T34" fmla="*/ 62 w 119"/>
                  <a:gd name="T35" fmla="*/ 8 h 49"/>
                  <a:gd name="T36" fmla="*/ 65 w 119"/>
                  <a:gd name="T37" fmla="*/ 7 h 49"/>
                  <a:gd name="T38" fmla="*/ 70 w 119"/>
                  <a:gd name="T39" fmla="*/ 5 h 49"/>
                  <a:gd name="T40" fmla="*/ 76 w 119"/>
                  <a:gd name="T41" fmla="*/ 7 h 49"/>
                  <a:gd name="T42" fmla="*/ 81 w 119"/>
                  <a:gd name="T43" fmla="*/ 7 h 49"/>
                  <a:gd name="T44" fmla="*/ 86 w 119"/>
                  <a:gd name="T45" fmla="*/ 2 h 49"/>
                  <a:gd name="T46" fmla="*/ 89 w 119"/>
                  <a:gd name="T47" fmla="*/ 0 h 49"/>
                  <a:gd name="T48" fmla="*/ 94 w 119"/>
                  <a:gd name="T49" fmla="*/ 0 h 49"/>
                  <a:gd name="T50" fmla="*/ 99 w 119"/>
                  <a:gd name="T51" fmla="*/ 2 h 49"/>
                  <a:gd name="T52" fmla="*/ 108 w 119"/>
                  <a:gd name="T53" fmla="*/ 3 h 49"/>
                  <a:gd name="T54" fmla="*/ 114 w 119"/>
                  <a:gd name="T55" fmla="*/ 5 h 49"/>
                  <a:gd name="T56" fmla="*/ 116 w 119"/>
                  <a:gd name="T57" fmla="*/ 15 h 49"/>
                  <a:gd name="T58" fmla="*/ 119 w 119"/>
                  <a:gd name="T59" fmla="*/ 18 h 49"/>
                  <a:gd name="T60" fmla="*/ 119 w 119"/>
                  <a:gd name="T61" fmla="*/ 22 h 49"/>
                  <a:gd name="T62" fmla="*/ 113 w 119"/>
                  <a:gd name="T63" fmla="*/ 25 h 49"/>
                  <a:gd name="T64" fmla="*/ 109 w 119"/>
                  <a:gd name="T65" fmla="*/ 27 h 49"/>
                  <a:gd name="T66" fmla="*/ 109 w 119"/>
                  <a:gd name="T67" fmla="*/ 32 h 49"/>
                  <a:gd name="T68" fmla="*/ 108 w 119"/>
                  <a:gd name="T69" fmla="*/ 35 h 49"/>
                  <a:gd name="T70" fmla="*/ 106 w 119"/>
                  <a:gd name="T71" fmla="*/ 39 h 49"/>
                  <a:gd name="T72" fmla="*/ 103 w 119"/>
                  <a:gd name="T73" fmla="*/ 42 h 49"/>
                  <a:gd name="T74" fmla="*/ 99 w 119"/>
                  <a:gd name="T75" fmla="*/ 44 h 49"/>
                  <a:gd name="T76" fmla="*/ 96 w 119"/>
                  <a:gd name="T77" fmla="*/ 44 h 49"/>
                  <a:gd name="T78" fmla="*/ 92 w 119"/>
                  <a:gd name="T79" fmla="*/ 45 h 49"/>
                  <a:gd name="T80" fmla="*/ 89 w 119"/>
                  <a:gd name="T81" fmla="*/ 45 h 49"/>
                  <a:gd name="T82" fmla="*/ 82 w 119"/>
                  <a:gd name="T83" fmla="*/ 45 h 49"/>
                  <a:gd name="T84" fmla="*/ 81 w 119"/>
                  <a:gd name="T85" fmla="*/ 49 h 49"/>
                  <a:gd name="T86" fmla="*/ 77 w 119"/>
                  <a:gd name="T87" fmla="*/ 49 h 49"/>
                  <a:gd name="T88" fmla="*/ 74 w 119"/>
                  <a:gd name="T89" fmla="*/ 49 h 49"/>
                  <a:gd name="T90" fmla="*/ 69 w 119"/>
                  <a:gd name="T91" fmla="*/ 49 h 49"/>
                  <a:gd name="T92" fmla="*/ 65 w 119"/>
                  <a:gd name="T93" fmla="*/ 49 h 49"/>
                  <a:gd name="T94" fmla="*/ 60 w 119"/>
                  <a:gd name="T95" fmla="*/ 49 h 49"/>
                  <a:gd name="T96" fmla="*/ 55 w 119"/>
                  <a:gd name="T97" fmla="*/ 47 h 49"/>
                  <a:gd name="T98" fmla="*/ 50 w 119"/>
                  <a:gd name="T99" fmla="*/ 47 h 49"/>
                  <a:gd name="T100" fmla="*/ 45 w 119"/>
                  <a:gd name="T101" fmla="*/ 45 h 49"/>
                  <a:gd name="T102" fmla="*/ 42 w 119"/>
                  <a:gd name="T103" fmla="*/ 44 h 49"/>
                  <a:gd name="T104" fmla="*/ 40 w 119"/>
                  <a:gd name="T105" fmla="*/ 39 h 49"/>
                  <a:gd name="T106" fmla="*/ 38 w 119"/>
                  <a:gd name="T107" fmla="*/ 37 h 49"/>
                  <a:gd name="T108" fmla="*/ 35 w 119"/>
                  <a:gd name="T109" fmla="*/ 39 h 49"/>
                  <a:gd name="T110" fmla="*/ 28 w 119"/>
                  <a:gd name="T111" fmla="*/ 39 h 49"/>
                  <a:gd name="T112" fmla="*/ 25 w 119"/>
                  <a:gd name="T113" fmla="*/ 40 h 49"/>
                  <a:gd name="T114" fmla="*/ 22 w 119"/>
                  <a:gd name="T115" fmla="*/ 42 h 49"/>
                  <a:gd name="T116" fmla="*/ 17 w 119"/>
                  <a:gd name="T117" fmla="*/ 42 h 49"/>
                  <a:gd name="T118" fmla="*/ 13 w 119"/>
                  <a:gd name="T119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9" h="49">
                    <a:moveTo>
                      <a:pt x="13" y="40"/>
                    </a:moveTo>
                    <a:lnTo>
                      <a:pt x="11" y="40"/>
                    </a:lnTo>
                    <a:lnTo>
                      <a:pt x="10" y="42"/>
                    </a:lnTo>
                    <a:lnTo>
                      <a:pt x="8" y="39"/>
                    </a:lnTo>
                    <a:lnTo>
                      <a:pt x="5" y="37"/>
                    </a:lnTo>
                    <a:lnTo>
                      <a:pt x="0" y="30"/>
                    </a:lnTo>
                    <a:lnTo>
                      <a:pt x="3" y="29"/>
                    </a:lnTo>
                    <a:lnTo>
                      <a:pt x="5" y="29"/>
                    </a:lnTo>
                    <a:lnTo>
                      <a:pt x="8" y="29"/>
                    </a:lnTo>
                    <a:lnTo>
                      <a:pt x="8" y="30"/>
                    </a:lnTo>
                    <a:lnTo>
                      <a:pt x="11" y="32"/>
                    </a:lnTo>
                    <a:lnTo>
                      <a:pt x="13" y="32"/>
                    </a:lnTo>
                    <a:lnTo>
                      <a:pt x="15" y="30"/>
                    </a:lnTo>
                    <a:lnTo>
                      <a:pt x="17" y="29"/>
                    </a:lnTo>
                    <a:lnTo>
                      <a:pt x="20" y="29"/>
                    </a:lnTo>
                    <a:lnTo>
                      <a:pt x="23" y="30"/>
                    </a:lnTo>
                    <a:lnTo>
                      <a:pt x="27" y="30"/>
                    </a:lnTo>
                    <a:lnTo>
                      <a:pt x="30" y="29"/>
                    </a:lnTo>
                    <a:lnTo>
                      <a:pt x="32" y="27"/>
                    </a:lnTo>
                    <a:lnTo>
                      <a:pt x="35" y="27"/>
                    </a:lnTo>
                    <a:lnTo>
                      <a:pt x="38" y="27"/>
                    </a:lnTo>
                    <a:lnTo>
                      <a:pt x="42" y="27"/>
                    </a:lnTo>
                    <a:lnTo>
                      <a:pt x="44" y="25"/>
                    </a:lnTo>
                    <a:lnTo>
                      <a:pt x="47" y="25"/>
                    </a:lnTo>
                    <a:lnTo>
                      <a:pt x="49" y="25"/>
                    </a:lnTo>
                    <a:lnTo>
                      <a:pt x="50" y="25"/>
                    </a:lnTo>
                    <a:lnTo>
                      <a:pt x="52" y="29"/>
                    </a:lnTo>
                    <a:lnTo>
                      <a:pt x="54" y="27"/>
                    </a:lnTo>
                    <a:lnTo>
                      <a:pt x="54" y="25"/>
                    </a:lnTo>
                    <a:lnTo>
                      <a:pt x="52" y="22"/>
                    </a:lnTo>
                    <a:lnTo>
                      <a:pt x="52" y="17"/>
                    </a:lnTo>
                    <a:lnTo>
                      <a:pt x="54" y="15"/>
                    </a:lnTo>
                    <a:lnTo>
                      <a:pt x="57" y="13"/>
                    </a:lnTo>
                    <a:lnTo>
                      <a:pt x="59" y="12"/>
                    </a:lnTo>
                    <a:lnTo>
                      <a:pt x="60" y="10"/>
                    </a:lnTo>
                    <a:lnTo>
                      <a:pt x="62" y="8"/>
                    </a:lnTo>
                    <a:lnTo>
                      <a:pt x="64" y="7"/>
                    </a:lnTo>
                    <a:lnTo>
                      <a:pt x="65" y="7"/>
                    </a:lnTo>
                    <a:lnTo>
                      <a:pt x="67" y="5"/>
                    </a:lnTo>
                    <a:lnTo>
                      <a:pt x="70" y="5"/>
                    </a:lnTo>
                    <a:lnTo>
                      <a:pt x="72" y="7"/>
                    </a:lnTo>
                    <a:lnTo>
                      <a:pt x="76" y="7"/>
                    </a:lnTo>
                    <a:lnTo>
                      <a:pt x="79" y="7"/>
                    </a:lnTo>
                    <a:lnTo>
                      <a:pt x="81" y="7"/>
                    </a:lnTo>
                    <a:lnTo>
                      <a:pt x="84" y="3"/>
                    </a:lnTo>
                    <a:lnTo>
                      <a:pt x="86" y="2"/>
                    </a:lnTo>
                    <a:lnTo>
                      <a:pt x="87" y="0"/>
                    </a:lnTo>
                    <a:lnTo>
                      <a:pt x="89" y="0"/>
                    </a:lnTo>
                    <a:lnTo>
                      <a:pt x="91" y="0"/>
                    </a:lnTo>
                    <a:lnTo>
                      <a:pt x="94" y="0"/>
                    </a:lnTo>
                    <a:lnTo>
                      <a:pt x="96" y="0"/>
                    </a:lnTo>
                    <a:lnTo>
                      <a:pt x="99" y="2"/>
                    </a:lnTo>
                    <a:lnTo>
                      <a:pt x="103" y="3"/>
                    </a:lnTo>
                    <a:lnTo>
                      <a:pt x="108" y="3"/>
                    </a:lnTo>
                    <a:lnTo>
                      <a:pt x="113" y="3"/>
                    </a:lnTo>
                    <a:lnTo>
                      <a:pt x="114" y="5"/>
                    </a:lnTo>
                    <a:lnTo>
                      <a:pt x="114" y="8"/>
                    </a:lnTo>
                    <a:lnTo>
                      <a:pt x="116" y="15"/>
                    </a:lnTo>
                    <a:lnTo>
                      <a:pt x="119" y="17"/>
                    </a:lnTo>
                    <a:lnTo>
                      <a:pt x="119" y="18"/>
                    </a:lnTo>
                    <a:lnTo>
                      <a:pt x="119" y="20"/>
                    </a:lnTo>
                    <a:lnTo>
                      <a:pt x="119" y="22"/>
                    </a:lnTo>
                    <a:lnTo>
                      <a:pt x="118" y="25"/>
                    </a:lnTo>
                    <a:lnTo>
                      <a:pt x="113" y="25"/>
                    </a:lnTo>
                    <a:lnTo>
                      <a:pt x="109" y="25"/>
                    </a:lnTo>
                    <a:lnTo>
                      <a:pt x="109" y="27"/>
                    </a:lnTo>
                    <a:lnTo>
                      <a:pt x="111" y="29"/>
                    </a:lnTo>
                    <a:lnTo>
                      <a:pt x="109" y="32"/>
                    </a:lnTo>
                    <a:lnTo>
                      <a:pt x="108" y="34"/>
                    </a:lnTo>
                    <a:lnTo>
                      <a:pt x="108" y="35"/>
                    </a:lnTo>
                    <a:lnTo>
                      <a:pt x="108" y="39"/>
                    </a:lnTo>
                    <a:lnTo>
                      <a:pt x="106" y="39"/>
                    </a:lnTo>
                    <a:lnTo>
                      <a:pt x="103" y="40"/>
                    </a:lnTo>
                    <a:lnTo>
                      <a:pt x="103" y="42"/>
                    </a:lnTo>
                    <a:lnTo>
                      <a:pt x="99" y="42"/>
                    </a:lnTo>
                    <a:lnTo>
                      <a:pt x="99" y="44"/>
                    </a:lnTo>
                    <a:lnTo>
                      <a:pt x="97" y="44"/>
                    </a:lnTo>
                    <a:lnTo>
                      <a:pt x="96" y="44"/>
                    </a:lnTo>
                    <a:lnTo>
                      <a:pt x="94" y="44"/>
                    </a:lnTo>
                    <a:lnTo>
                      <a:pt x="92" y="45"/>
                    </a:lnTo>
                    <a:lnTo>
                      <a:pt x="91" y="45"/>
                    </a:lnTo>
                    <a:lnTo>
                      <a:pt x="89" y="45"/>
                    </a:lnTo>
                    <a:lnTo>
                      <a:pt x="86" y="45"/>
                    </a:lnTo>
                    <a:lnTo>
                      <a:pt x="82" y="45"/>
                    </a:lnTo>
                    <a:lnTo>
                      <a:pt x="81" y="47"/>
                    </a:lnTo>
                    <a:lnTo>
                      <a:pt x="81" y="49"/>
                    </a:lnTo>
                    <a:lnTo>
                      <a:pt x="79" y="49"/>
                    </a:lnTo>
                    <a:lnTo>
                      <a:pt x="77" y="49"/>
                    </a:lnTo>
                    <a:lnTo>
                      <a:pt x="76" y="49"/>
                    </a:lnTo>
                    <a:lnTo>
                      <a:pt x="74" y="49"/>
                    </a:lnTo>
                    <a:lnTo>
                      <a:pt x="72" y="49"/>
                    </a:lnTo>
                    <a:lnTo>
                      <a:pt x="69" y="49"/>
                    </a:lnTo>
                    <a:lnTo>
                      <a:pt x="67" y="49"/>
                    </a:lnTo>
                    <a:lnTo>
                      <a:pt x="65" y="49"/>
                    </a:lnTo>
                    <a:lnTo>
                      <a:pt x="62" y="49"/>
                    </a:lnTo>
                    <a:lnTo>
                      <a:pt x="60" y="49"/>
                    </a:lnTo>
                    <a:lnTo>
                      <a:pt x="59" y="47"/>
                    </a:lnTo>
                    <a:lnTo>
                      <a:pt x="55" y="47"/>
                    </a:lnTo>
                    <a:lnTo>
                      <a:pt x="52" y="47"/>
                    </a:lnTo>
                    <a:lnTo>
                      <a:pt x="50" y="47"/>
                    </a:lnTo>
                    <a:lnTo>
                      <a:pt x="47" y="45"/>
                    </a:lnTo>
                    <a:lnTo>
                      <a:pt x="45" y="45"/>
                    </a:lnTo>
                    <a:lnTo>
                      <a:pt x="44" y="44"/>
                    </a:lnTo>
                    <a:lnTo>
                      <a:pt x="42" y="44"/>
                    </a:lnTo>
                    <a:lnTo>
                      <a:pt x="42" y="40"/>
                    </a:lnTo>
                    <a:lnTo>
                      <a:pt x="40" y="39"/>
                    </a:lnTo>
                    <a:lnTo>
                      <a:pt x="40" y="37"/>
                    </a:lnTo>
                    <a:lnTo>
                      <a:pt x="38" y="37"/>
                    </a:lnTo>
                    <a:lnTo>
                      <a:pt x="37" y="39"/>
                    </a:lnTo>
                    <a:lnTo>
                      <a:pt x="35" y="39"/>
                    </a:lnTo>
                    <a:lnTo>
                      <a:pt x="32" y="39"/>
                    </a:lnTo>
                    <a:lnTo>
                      <a:pt x="28" y="39"/>
                    </a:lnTo>
                    <a:lnTo>
                      <a:pt x="27" y="40"/>
                    </a:lnTo>
                    <a:lnTo>
                      <a:pt x="25" y="40"/>
                    </a:lnTo>
                    <a:lnTo>
                      <a:pt x="23" y="42"/>
                    </a:lnTo>
                    <a:lnTo>
                      <a:pt x="22" y="42"/>
                    </a:lnTo>
                    <a:lnTo>
                      <a:pt x="18" y="42"/>
                    </a:lnTo>
                    <a:lnTo>
                      <a:pt x="17" y="42"/>
                    </a:lnTo>
                    <a:lnTo>
                      <a:pt x="15" y="42"/>
                    </a:lnTo>
                    <a:lnTo>
                      <a:pt x="13" y="40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37" name="Group 1636">
              <a:extLst>
                <a:ext uri="{FF2B5EF4-FFF2-40B4-BE49-F238E27FC236}">
                  <a16:creationId xmlns:a16="http://schemas.microsoft.com/office/drawing/2014/main" id="{FA4C3978-731E-9F4A-B6C3-D000F92327B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9" y="554"/>
              <a:ext cx="10" cy="12"/>
              <a:chOff x="309" y="554"/>
              <a:chExt cx="10" cy="12"/>
            </a:xfrm>
          </p:grpSpPr>
          <p:sp>
            <p:nvSpPr>
              <p:cNvPr id="2020" name="Freeform 394">
                <a:extLst>
                  <a:ext uri="{FF2B5EF4-FFF2-40B4-BE49-F238E27FC236}">
                    <a16:creationId xmlns:a16="http://schemas.microsoft.com/office/drawing/2014/main" id="{9C683BAE-075E-2A49-B9D3-3A74CEFF3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" y="554"/>
                <a:ext cx="10" cy="12"/>
              </a:xfrm>
              <a:custGeom>
                <a:avLst/>
                <a:gdLst>
                  <a:gd name="T0" fmla="*/ 10 w 10"/>
                  <a:gd name="T1" fmla="*/ 12 h 12"/>
                  <a:gd name="T2" fmla="*/ 6 w 10"/>
                  <a:gd name="T3" fmla="*/ 10 h 12"/>
                  <a:gd name="T4" fmla="*/ 5 w 10"/>
                  <a:gd name="T5" fmla="*/ 10 h 12"/>
                  <a:gd name="T6" fmla="*/ 3 w 10"/>
                  <a:gd name="T7" fmla="*/ 9 h 12"/>
                  <a:gd name="T8" fmla="*/ 1 w 10"/>
                  <a:gd name="T9" fmla="*/ 7 h 12"/>
                  <a:gd name="T10" fmla="*/ 0 w 10"/>
                  <a:gd name="T11" fmla="*/ 5 h 12"/>
                  <a:gd name="T12" fmla="*/ 1 w 10"/>
                  <a:gd name="T13" fmla="*/ 4 h 12"/>
                  <a:gd name="T14" fmla="*/ 1 w 10"/>
                  <a:gd name="T15" fmla="*/ 2 h 12"/>
                  <a:gd name="T16" fmla="*/ 0 w 10"/>
                  <a:gd name="T17" fmla="*/ 0 h 12"/>
                  <a:gd name="T18" fmla="*/ 5 w 10"/>
                  <a:gd name="T19" fmla="*/ 7 h 12"/>
                  <a:gd name="T20" fmla="*/ 8 w 10"/>
                  <a:gd name="T21" fmla="*/ 9 h 12"/>
                  <a:gd name="T22" fmla="*/ 10 w 10"/>
                  <a:gd name="T2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2">
                    <a:moveTo>
                      <a:pt x="10" y="12"/>
                    </a:moveTo>
                    <a:lnTo>
                      <a:pt x="6" y="10"/>
                    </a:lnTo>
                    <a:lnTo>
                      <a:pt x="5" y="10"/>
                    </a:lnTo>
                    <a:lnTo>
                      <a:pt x="3" y="9"/>
                    </a:lnTo>
                    <a:lnTo>
                      <a:pt x="1" y="7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5" y="7"/>
                    </a:lnTo>
                    <a:lnTo>
                      <a:pt x="8" y="9"/>
                    </a:lnTo>
                    <a:lnTo>
                      <a:pt x="10" y="12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021" name="Freeform 395">
                <a:extLst>
                  <a:ext uri="{FF2B5EF4-FFF2-40B4-BE49-F238E27FC236}">
                    <a16:creationId xmlns:a16="http://schemas.microsoft.com/office/drawing/2014/main" id="{9B560323-493C-5E45-9295-ED96F089CA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" y="554"/>
                <a:ext cx="10" cy="12"/>
              </a:xfrm>
              <a:custGeom>
                <a:avLst/>
                <a:gdLst>
                  <a:gd name="T0" fmla="*/ 10 w 10"/>
                  <a:gd name="T1" fmla="*/ 12 h 12"/>
                  <a:gd name="T2" fmla="*/ 6 w 10"/>
                  <a:gd name="T3" fmla="*/ 10 h 12"/>
                  <a:gd name="T4" fmla="*/ 5 w 10"/>
                  <a:gd name="T5" fmla="*/ 10 h 12"/>
                  <a:gd name="T6" fmla="*/ 3 w 10"/>
                  <a:gd name="T7" fmla="*/ 9 h 12"/>
                  <a:gd name="T8" fmla="*/ 1 w 10"/>
                  <a:gd name="T9" fmla="*/ 7 h 12"/>
                  <a:gd name="T10" fmla="*/ 0 w 10"/>
                  <a:gd name="T11" fmla="*/ 5 h 12"/>
                  <a:gd name="T12" fmla="*/ 1 w 10"/>
                  <a:gd name="T13" fmla="*/ 4 h 12"/>
                  <a:gd name="T14" fmla="*/ 1 w 10"/>
                  <a:gd name="T15" fmla="*/ 2 h 12"/>
                  <a:gd name="T16" fmla="*/ 0 w 10"/>
                  <a:gd name="T17" fmla="*/ 0 h 12"/>
                  <a:gd name="T18" fmla="*/ 5 w 10"/>
                  <a:gd name="T19" fmla="*/ 7 h 12"/>
                  <a:gd name="T20" fmla="*/ 8 w 10"/>
                  <a:gd name="T21" fmla="*/ 9 h 12"/>
                  <a:gd name="T22" fmla="*/ 10 w 10"/>
                  <a:gd name="T2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2">
                    <a:moveTo>
                      <a:pt x="10" y="12"/>
                    </a:moveTo>
                    <a:lnTo>
                      <a:pt x="6" y="10"/>
                    </a:lnTo>
                    <a:lnTo>
                      <a:pt x="5" y="10"/>
                    </a:lnTo>
                    <a:lnTo>
                      <a:pt x="3" y="9"/>
                    </a:lnTo>
                    <a:lnTo>
                      <a:pt x="1" y="7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5" y="7"/>
                    </a:lnTo>
                    <a:lnTo>
                      <a:pt x="8" y="9"/>
                    </a:lnTo>
                    <a:lnTo>
                      <a:pt x="10" y="12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38" name="Group 1637">
              <a:extLst>
                <a:ext uri="{FF2B5EF4-FFF2-40B4-BE49-F238E27FC236}">
                  <a16:creationId xmlns:a16="http://schemas.microsoft.com/office/drawing/2014/main" id="{3805EB3D-3C4E-344B-855B-77543A4A896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62" y="649"/>
              <a:ext cx="27" cy="55"/>
              <a:chOff x="462" y="649"/>
              <a:chExt cx="27" cy="55"/>
            </a:xfrm>
          </p:grpSpPr>
          <p:sp>
            <p:nvSpPr>
              <p:cNvPr id="2018" name="Freeform 392">
                <a:extLst>
                  <a:ext uri="{FF2B5EF4-FFF2-40B4-BE49-F238E27FC236}">
                    <a16:creationId xmlns:a16="http://schemas.microsoft.com/office/drawing/2014/main" id="{1B5C570B-58E3-4E4B-9934-4D20C5C9D0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" y="649"/>
                <a:ext cx="27" cy="55"/>
              </a:xfrm>
              <a:custGeom>
                <a:avLst/>
                <a:gdLst>
                  <a:gd name="T0" fmla="*/ 27 w 27"/>
                  <a:gd name="T1" fmla="*/ 33 h 55"/>
                  <a:gd name="T2" fmla="*/ 25 w 27"/>
                  <a:gd name="T3" fmla="*/ 32 h 55"/>
                  <a:gd name="T4" fmla="*/ 22 w 27"/>
                  <a:gd name="T5" fmla="*/ 28 h 55"/>
                  <a:gd name="T6" fmla="*/ 19 w 27"/>
                  <a:gd name="T7" fmla="*/ 23 h 55"/>
                  <a:gd name="T8" fmla="*/ 19 w 27"/>
                  <a:gd name="T9" fmla="*/ 20 h 55"/>
                  <a:gd name="T10" fmla="*/ 20 w 27"/>
                  <a:gd name="T11" fmla="*/ 15 h 55"/>
                  <a:gd name="T12" fmla="*/ 20 w 27"/>
                  <a:gd name="T13" fmla="*/ 10 h 55"/>
                  <a:gd name="T14" fmla="*/ 17 w 27"/>
                  <a:gd name="T15" fmla="*/ 6 h 55"/>
                  <a:gd name="T16" fmla="*/ 15 w 27"/>
                  <a:gd name="T17" fmla="*/ 5 h 55"/>
                  <a:gd name="T18" fmla="*/ 14 w 27"/>
                  <a:gd name="T19" fmla="*/ 1 h 55"/>
                  <a:gd name="T20" fmla="*/ 12 w 27"/>
                  <a:gd name="T21" fmla="*/ 0 h 55"/>
                  <a:gd name="T22" fmla="*/ 7 w 27"/>
                  <a:gd name="T23" fmla="*/ 0 h 55"/>
                  <a:gd name="T24" fmla="*/ 3 w 27"/>
                  <a:gd name="T25" fmla="*/ 1 h 55"/>
                  <a:gd name="T26" fmla="*/ 2 w 27"/>
                  <a:gd name="T27" fmla="*/ 5 h 55"/>
                  <a:gd name="T28" fmla="*/ 2 w 27"/>
                  <a:gd name="T29" fmla="*/ 8 h 55"/>
                  <a:gd name="T30" fmla="*/ 2 w 27"/>
                  <a:gd name="T31" fmla="*/ 10 h 55"/>
                  <a:gd name="T32" fmla="*/ 0 w 27"/>
                  <a:gd name="T33" fmla="*/ 15 h 55"/>
                  <a:gd name="T34" fmla="*/ 3 w 27"/>
                  <a:gd name="T35" fmla="*/ 15 h 55"/>
                  <a:gd name="T36" fmla="*/ 3 w 27"/>
                  <a:gd name="T37" fmla="*/ 17 h 55"/>
                  <a:gd name="T38" fmla="*/ 3 w 27"/>
                  <a:gd name="T39" fmla="*/ 20 h 55"/>
                  <a:gd name="T40" fmla="*/ 2 w 27"/>
                  <a:gd name="T41" fmla="*/ 22 h 55"/>
                  <a:gd name="T42" fmla="*/ 2 w 27"/>
                  <a:gd name="T43" fmla="*/ 23 h 55"/>
                  <a:gd name="T44" fmla="*/ 2 w 27"/>
                  <a:gd name="T45" fmla="*/ 25 h 55"/>
                  <a:gd name="T46" fmla="*/ 3 w 27"/>
                  <a:gd name="T47" fmla="*/ 27 h 55"/>
                  <a:gd name="T48" fmla="*/ 2 w 27"/>
                  <a:gd name="T49" fmla="*/ 30 h 55"/>
                  <a:gd name="T50" fmla="*/ 2 w 27"/>
                  <a:gd name="T51" fmla="*/ 32 h 55"/>
                  <a:gd name="T52" fmla="*/ 0 w 27"/>
                  <a:gd name="T53" fmla="*/ 35 h 55"/>
                  <a:gd name="T54" fmla="*/ 2 w 27"/>
                  <a:gd name="T55" fmla="*/ 38 h 55"/>
                  <a:gd name="T56" fmla="*/ 2 w 27"/>
                  <a:gd name="T57" fmla="*/ 42 h 55"/>
                  <a:gd name="T58" fmla="*/ 0 w 27"/>
                  <a:gd name="T59" fmla="*/ 42 h 55"/>
                  <a:gd name="T60" fmla="*/ 2 w 27"/>
                  <a:gd name="T61" fmla="*/ 44 h 55"/>
                  <a:gd name="T62" fmla="*/ 3 w 27"/>
                  <a:gd name="T63" fmla="*/ 47 h 55"/>
                  <a:gd name="T64" fmla="*/ 9 w 27"/>
                  <a:gd name="T65" fmla="*/ 49 h 55"/>
                  <a:gd name="T66" fmla="*/ 10 w 27"/>
                  <a:gd name="T67" fmla="*/ 52 h 55"/>
                  <a:gd name="T68" fmla="*/ 10 w 27"/>
                  <a:gd name="T69" fmla="*/ 54 h 55"/>
                  <a:gd name="T70" fmla="*/ 14 w 27"/>
                  <a:gd name="T71" fmla="*/ 55 h 55"/>
                  <a:gd name="T72" fmla="*/ 17 w 27"/>
                  <a:gd name="T73" fmla="*/ 54 h 55"/>
                  <a:gd name="T74" fmla="*/ 17 w 27"/>
                  <a:gd name="T75" fmla="*/ 52 h 55"/>
                  <a:gd name="T76" fmla="*/ 19 w 27"/>
                  <a:gd name="T77" fmla="*/ 49 h 55"/>
                  <a:gd name="T78" fmla="*/ 20 w 27"/>
                  <a:gd name="T79" fmla="*/ 47 h 55"/>
                  <a:gd name="T80" fmla="*/ 24 w 27"/>
                  <a:gd name="T81" fmla="*/ 44 h 55"/>
                  <a:gd name="T82" fmla="*/ 27 w 27"/>
                  <a:gd name="T83" fmla="*/ 40 h 55"/>
                  <a:gd name="T84" fmla="*/ 27 w 27"/>
                  <a:gd name="T85" fmla="*/ 37 h 55"/>
                  <a:gd name="T86" fmla="*/ 27 w 27"/>
                  <a:gd name="T87" fmla="*/ 3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7" h="55">
                    <a:moveTo>
                      <a:pt x="27" y="33"/>
                    </a:moveTo>
                    <a:lnTo>
                      <a:pt x="25" y="32"/>
                    </a:lnTo>
                    <a:lnTo>
                      <a:pt x="22" y="28"/>
                    </a:lnTo>
                    <a:lnTo>
                      <a:pt x="19" y="23"/>
                    </a:lnTo>
                    <a:lnTo>
                      <a:pt x="19" y="20"/>
                    </a:lnTo>
                    <a:lnTo>
                      <a:pt x="20" y="15"/>
                    </a:lnTo>
                    <a:lnTo>
                      <a:pt x="20" y="10"/>
                    </a:lnTo>
                    <a:lnTo>
                      <a:pt x="17" y="6"/>
                    </a:lnTo>
                    <a:lnTo>
                      <a:pt x="15" y="5"/>
                    </a:lnTo>
                    <a:lnTo>
                      <a:pt x="14" y="1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3" y="1"/>
                    </a:lnTo>
                    <a:lnTo>
                      <a:pt x="2" y="5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3" y="15"/>
                    </a:lnTo>
                    <a:lnTo>
                      <a:pt x="3" y="17"/>
                    </a:lnTo>
                    <a:lnTo>
                      <a:pt x="3" y="20"/>
                    </a:lnTo>
                    <a:lnTo>
                      <a:pt x="2" y="22"/>
                    </a:lnTo>
                    <a:lnTo>
                      <a:pt x="2" y="23"/>
                    </a:lnTo>
                    <a:lnTo>
                      <a:pt x="2" y="25"/>
                    </a:lnTo>
                    <a:lnTo>
                      <a:pt x="3" y="27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0" y="35"/>
                    </a:lnTo>
                    <a:lnTo>
                      <a:pt x="2" y="38"/>
                    </a:lnTo>
                    <a:lnTo>
                      <a:pt x="2" y="42"/>
                    </a:lnTo>
                    <a:lnTo>
                      <a:pt x="0" y="42"/>
                    </a:lnTo>
                    <a:lnTo>
                      <a:pt x="2" y="44"/>
                    </a:lnTo>
                    <a:lnTo>
                      <a:pt x="3" y="47"/>
                    </a:lnTo>
                    <a:lnTo>
                      <a:pt x="9" y="49"/>
                    </a:lnTo>
                    <a:lnTo>
                      <a:pt x="10" y="52"/>
                    </a:lnTo>
                    <a:lnTo>
                      <a:pt x="10" y="54"/>
                    </a:lnTo>
                    <a:lnTo>
                      <a:pt x="14" y="55"/>
                    </a:lnTo>
                    <a:lnTo>
                      <a:pt x="17" y="54"/>
                    </a:lnTo>
                    <a:lnTo>
                      <a:pt x="17" y="52"/>
                    </a:lnTo>
                    <a:lnTo>
                      <a:pt x="19" y="49"/>
                    </a:lnTo>
                    <a:lnTo>
                      <a:pt x="20" y="47"/>
                    </a:lnTo>
                    <a:lnTo>
                      <a:pt x="24" y="44"/>
                    </a:lnTo>
                    <a:lnTo>
                      <a:pt x="27" y="40"/>
                    </a:lnTo>
                    <a:lnTo>
                      <a:pt x="27" y="37"/>
                    </a:lnTo>
                    <a:lnTo>
                      <a:pt x="27" y="33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019" name="Freeform 393">
                <a:extLst>
                  <a:ext uri="{FF2B5EF4-FFF2-40B4-BE49-F238E27FC236}">
                    <a16:creationId xmlns:a16="http://schemas.microsoft.com/office/drawing/2014/main" id="{37612B46-70B2-CB41-846A-DECB51FBF8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" y="649"/>
                <a:ext cx="27" cy="55"/>
              </a:xfrm>
              <a:custGeom>
                <a:avLst/>
                <a:gdLst>
                  <a:gd name="T0" fmla="*/ 27 w 27"/>
                  <a:gd name="T1" fmla="*/ 33 h 55"/>
                  <a:gd name="T2" fmla="*/ 25 w 27"/>
                  <a:gd name="T3" fmla="*/ 32 h 55"/>
                  <a:gd name="T4" fmla="*/ 22 w 27"/>
                  <a:gd name="T5" fmla="*/ 28 h 55"/>
                  <a:gd name="T6" fmla="*/ 19 w 27"/>
                  <a:gd name="T7" fmla="*/ 23 h 55"/>
                  <a:gd name="T8" fmla="*/ 19 w 27"/>
                  <a:gd name="T9" fmla="*/ 20 h 55"/>
                  <a:gd name="T10" fmla="*/ 20 w 27"/>
                  <a:gd name="T11" fmla="*/ 15 h 55"/>
                  <a:gd name="T12" fmla="*/ 20 w 27"/>
                  <a:gd name="T13" fmla="*/ 10 h 55"/>
                  <a:gd name="T14" fmla="*/ 17 w 27"/>
                  <a:gd name="T15" fmla="*/ 6 h 55"/>
                  <a:gd name="T16" fmla="*/ 15 w 27"/>
                  <a:gd name="T17" fmla="*/ 5 h 55"/>
                  <a:gd name="T18" fmla="*/ 14 w 27"/>
                  <a:gd name="T19" fmla="*/ 1 h 55"/>
                  <a:gd name="T20" fmla="*/ 12 w 27"/>
                  <a:gd name="T21" fmla="*/ 0 h 55"/>
                  <a:gd name="T22" fmla="*/ 7 w 27"/>
                  <a:gd name="T23" fmla="*/ 0 h 55"/>
                  <a:gd name="T24" fmla="*/ 3 w 27"/>
                  <a:gd name="T25" fmla="*/ 1 h 55"/>
                  <a:gd name="T26" fmla="*/ 2 w 27"/>
                  <a:gd name="T27" fmla="*/ 5 h 55"/>
                  <a:gd name="T28" fmla="*/ 2 w 27"/>
                  <a:gd name="T29" fmla="*/ 8 h 55"/>
                  <a:gd name="T30" fmla="*/ 2 w 27"/>
                  <a:gd name="T31" fmla="*/ 10 h 55"/>
                  <a:gd name="T32" fmla="*/ 0 w 27"/>
                  <a:gd name="T33" fmla="*/ 15 h 55"/>
                  <a:gd name="T34" fmla="*/ 3 w 27"/>
                  <a:gd name="T35" fmla="*/ 15 h 55"/>
                  <a:gd name="T36" fmla="*/ 3 w 27"/>
                  <a:gd name="T37" fmla="*/ 17 h 55"/>
                  <a:gd name="T38" fmla="*/ 3 w 27"/>
                  <a:gd name="T39" fmla="*/ 20 h 55"/>
                  <a:gd name="T40" fmla="*/ 2 w 27"/>
                  <a:gd name="T41" fmla="*/ 22 h 55"/>
                  <a:gd name="T42" fmla="*/ 2 w 27"/>
                  <a:gd name="T43" fmla="*/ 23 h 55"/>
                  <a:gd name="T44" fmla="*/ 2 w 27"/>
                  <a:gd name="T45" fmla="*/ 25 h 55"/>
                  <a:gd name="T46" fmla="*/ 3 w 27"/>
                  <a:gd name="T47" fmla="*/ 27 h 55"/>
                  <a:gd name="T48" fmla="*/ 2 w 27"/>
                  <a:gd name="T49" fmla="*/ 30 h 55"/>
                  <a:gd name="T50" fmla="*/ 2 w 27"/>
                  <a:gd name="T51" fmla="*/ 32 h 55"/>
                  <a:gd name="T52" fmla="*/ 0 w 27"/>
                  <a:gd name="T53" fmla="*/ 35 h 55"/>
                  <a:gd name="T54" fmla="*/ 2 w 27"/>
                  <a:gd name="T55" fmla="*/ 38 h 55"/>
                  <a:gd name="T56" fmla="*/ 2 w 27"/>
                  <a:gd name="T57" fmla="*/ 42 h 55"/>
                  <a:gd name="T58" fmla="*/ 0 w 27"/>
                  <a:gd name="T59" fmla="*/ 42 h 55"/>
                  <a:gd name="T60" fmla="*/ 2 w 27"/>
                  <a:gd name="T61" fmla="*/ 44 h 55"/>
                  <a:gd name="T62" fmla="*/ 3 w 27"/>
                  <a:gd name="T63" fmla="*/ 47 h 55"/>
                  <a:gd name="T64" fmla="*/ 9 w 27"/>
                  <a:gd name="T65" fmla="*/ 49 h 55"/>
                  <a:gd name="T66" fmla="*/ 10 w 27"/>
                  <a:gd name="T67" fmla="*/ 52 h 55"/>
                  <a:gd name="T68" fmla="*/ 10 w 27"/>
                  <a:gd name="T69" fmla="*/ 54 h 55"/>
                  <a:gd name="T70" fmla="*/ 14 w 27"/>
                  <a:gd name="T71" fmla="*/ 55 h 55"/>
                  <a:gd name="T72" fmla="*/ 17 w 27"/>
                  <a:gd name="T73" fmla="*/ 54 h 55"/>
                  <a:gd name="T74" fmla="*/ 17 w 27"/>
                  <a:gd name="T75" fmla="*/ 52 h 55"/>
                  <a:gd name="T76" fmla="*/ 19 w 27"/>
                  <a:gd name="T77" fmla="*/ 49 h 55"/>
                  <a:gd name="T78" fmla="*/ 20 w 27"/>
                  <a:gd name="T79" fmla="*/ 47 h 55"/>
                  <a:gd name="T80" fmla="*/ 24 w 27"/>
                  <a:gd name="T81" fmla="*/ 44 h 55"/>
                  <a:gd name="T82" fmla="*/ 27 w 27"/>
                  <a:gd name="T83" fmla="*/ 40 h 55"/>
                  <a:gd name="T84" fmla="*/ 27 w 27"/>
                  <a:gd name="T85" fmla="*/ 37 h 55"/>
                  <a:gd name="T86" fmla="*/ 27 w 27"/>
                  <a:gd name="T87" fmla="*/ 3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7" h="55">
                    <a:moveTo>
                      <a:pt x="27" y="33"/>
                    </a:moveTo>
                    <a:lnTo>
                      <a:pt x="25" y="32"/>
                    </a:lnTo>
                    <a:lnTo>
                      <a:pt x="22" y="28"/>
                    </a:lnTo>
                    <a:lnTo>
                      <a:pt x="19" y="23"/>
                    </a:lnTo>
                    <a:lnTo>
                      <a:pt x="19" y="20"/>
                    </a:lnTo>
                    <a:lnTo>
                      <a:pt x="20" y="15"/>
                    </a:lnTo>
                    <a:lnTo>
                      <a:pt x="20" y="10"/>
                    </a:lnTo>
                    <a:lnTo>
                      <a:pt x="17" y="6"/>
                    </a:lnTo>
                    <a:lnTo>
                      <a:pt x="15" y="5"/>
                    </a:lnTo>
                    <a:lnTo>
                      <a:pt x="14" y="1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3" y="1"/>
                    </a:lnTo>
                    <a:lnTo>
                      <a:pt x="2" y="5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3" y="15"/>
                    </a:lnTo>
                    <a:lnTo>
                      <a:pt x="3" y="17"/>
                    </a:lnTo>
                    <a:lnTo>
                      <a:pt x="3" y="20"/>
                    </a:lnTo>
                    <a:lnTo>
                      <a:pt x="2" y="22"/>
                    </a:lnTo>
                    <a:lnTo>
                      <a:pt x="2" y="23"/>
                    </a:lnTo>
                    <a:lnTo>
                      <a:pt x="2" y="25"/>
                    </a:lnTo>
                    <a:lnTo>
                      <a:pt x="3" y="27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0" y="35"/>
                    </a:lnTo>
                    <a:lnTo>
                      <a:pt x="2" y="38"/>
                    </a:lnTo>
                    <a:lnTo>
                      <a:pt x="2" y="42"/>
                    </a:lnTo>
                    <a:lnTo>
                      <a:pt x="0" y="42"/>
                    </a:lnTo>
                    <a:lnTo>
                      <a:pt x="2" y="44"/>
                    </a:lnTo>
                    <a:lnTo>
                      <a:pt x="3" y="47"/>
                    </a:lnTo>
                    <a:lnTo>
                      <a:pt x="9" y="49"/>
                    </a:lnTo>
                    <a:lnTo>
                      <a:pt x="10" y="52"/>
                    </a:lnTo>
                    <a:lnTo>
                      <a:pt x="10" y="54"/>
                    </a:lnTo>
                    <a:lnTo>
                      <a:pt x="14" y="55"/>
                    </a:lnTo>
                    <a:lnTo>
                      <a:pt x="17" y="54"/>
                    </a:lnTo>
                    <a:lnTo>
                      <a:pt x="17" y="52"/>
                    </a:lnTo>
                    <a:lnTo>
                      <a:pt x="19" y="49"/>
                    </a:lnTo>
                    <a:lnTo>
                      <a:pt x="20" y="47"/>
                    </a:lnTo>
                    <a:lnTo>
                      <a:pt x="24" y="44"/>
                    </a:lnTo>
                    <a:lnTo>
                      <a:pt x="27" y="40"/>
                    </a:lnTo>
                    <a:lnTo>
                      <a:pt x="27" y="37"/>
                    </a:lnTo>
                    <a:lnTo>
                      <a:pt x="27" y="33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39" name="Group 1638">
              <a:extLst>
                <a:ext uri="{FF2B5EF4-FFF2-40B4-BE49-F238E27FC236}">
                  <a16:creationId xmlns:a16="http://schemas.microsoft.com/office/drawing/2014/main" id="{2C9A3392-B0FB-6D43-9D62-E9A44BA0426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82" y="649"/>
              <a:ext cx="7" cy="3"/>
              <a:chOff x="182" y="649"/>
              <a:chExt cx="7" cy="3"/>
            </a:xfrm>
          </p:grpSpPr>
          <p:sp>
            <p:nvSpPr>
              <p:cNvPr id="2016" name="Freeform 390">
                <a:extLst>
                  <a:ext uri="{FF2B5EF4-FFF2-40B4-BE49-F238E27FC236}">
                    <a16:creationId xmlns:a16="http://schemas.microsoft.com/office/drawing/2014/main" id="{A62D5AA3-893B-7B46-9E32-BC4C7F57B7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" y="649"/>
                <a:ext cx="7" cy="3"/>
              </a:xfrm>
              <a:custGeom>
                <a:avLst/>
                <a:gdLst>
                  <a:gd name="T0" fmla="*/ 4 w 7"/>
                  <a:gd name="T1" fmla="*/ 1 h 3"/>
                  <a:gd name="T2" fmla="*/ 4 w 7"/>
                  <a:gd name="T3" fmla="*/ 3 h 3"/>
                  <a:gd name="T4" fmla="*/ 5 w 7"/>
                  <a:gd name="T5" fmla="*/ 3 h 3"/>
                  <a:gd name="T6" fmla="*/ 7 w 7"/>
                  <a:gd name="T7" fmla="*/ 1 h 3"/>
                  <a:gd name="T8" fmla="*/ 5 w 7"/>
                  <a:gd name="T9" fmla="*/ 0 h 3"/>
                  <a:gd name="T10" fmla="*/ 2 w 7"/>
                  <a:gd name="T11" fmla="*/ 0 h 3"/>
                  <a:gd name="T12" fmla="*/ 0 w 7"/>
                  <a:gd name="T13" fmla="*/ 0 h 3"/>
                  <a:gd name="T14" fmla="*/ 4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4" y="1"/>
                    </a:moveTo>
                    <a:lnTo>
                      <a:pt x="4" y="3"/>
                    </a:lnTo>
                    <a:lnTo>
                      <a:pt x="5" y="3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4" y="1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017" name="Freeform 391">
                <a:extLst>
                  <a:ext uri="{FF2B5EF4-FFF2-40B4-BE49-F238E27FC236}">
                    <a16:creationId xmlns:a16="http://schemas.microsoft.com/office/drawing/2014/main" id="{5679BB21-A14A-C949-85D2-C01112ACE1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" y="649"/>
                <a:ext cx="7" cy="3"/>
              </a:xfrm>
              <a:custGeom>
                <a:avLst/>
                <a:gdLst>
                  <a:gd name="T0" fmla="*/ 4 w 7"/>
                  <a:gd name="T1" fmla="*/ 1 h 3"/>
                  <a:gd name="T2" fmla="*/ 4 w 7"/>
                  <a:gd name="T3" fmla="*/ 3 h 3"/>
                  <a:gd name="T4" fmla="*/ 5 w 7"/>
                  <a:gd name="T5" fmla="*/ 3 h 3"/>
                  <a:gd name="T6" fmla="*/ 7 w 7"/>
                  <a:gd name="T7" fmla="*/ 1 h 3"/>
                  <a:gd name="T8" fmla="*/ 5 w 7"/>
                  <a:gd name="T9" fmla="*/ 0 h 3"/>
                  <a:gd name="T10" fmla="*/ 2 w 7"/>
                  <a:gd name="T11" fmla="*/ 0 h 3"/>
                  <a:gd name="T12" fmla="*/ 0 w 7"/>
                  <a:gd name="T13" fmla="*/ 0 h 3"/>
                  <a:gd name="T14" fmla="*/ 4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4" y="1"/>
                    </a:moveTo>
                    <a:lnTo>
                      <a:pt x="4" y="3"/>
                    </a:lnTo>
                    <a:lnTo>
                      <a:pt x="5" y="3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4" y="1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40" name="Group 1639">
              <a:extLst>
                <a:ext uri="{FF2B5EF4-FFF2-40B4-BE49-F238E27FC236}">
                  <a16:creationId xmlns:a16="http://schemas.microsoft.com/office/drawing/2014/main" id="{F01FD2A1-A761-F44C-B341-D66994A4D1B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4" y="473"/>
              <a:ext cx="54" cy="39"/>
              <a:chOff x="204" y="473"/>
              <a:chExt cx="54" cy="39"/>
            </a:xfrm>
          </p:grpSpPr>
          <p:sp>
            <p:nvSpPr>
              <p:cNvPr id="2014" name="Freeform 388">
                <a:extLst>
                  <a:ext uri="{FF2B5EF4-FFF2-40B4-BE49-F238E27FC236}">
                    <a16:creationId xmlns:a16="http://schemas.microsoft.com/office/drawing/2014/main" id="{85EDD143-56F8-B749-9CD3-F25AC24ED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" y="473"/>
                <a:ext cx="54" cy="39"/>
              </a:xfrm>
              <a:custGeom>
                <a:avLst/>
                <a:gdLst>
                  <a:gd name="T0" fmla="*/ 52 w 54"/>
                  <a:gd name="T1" fmla="*/ 16 h 39"/>
                  <a:gd name="T2" fmla="*/ 52 w 54"/>
                  <a:gd name="T3" fmla="*/ 17 h 39"/>
                  <a:gd name="T4" fmla="*/ 52 w 54"/>
                  <a:gd name="T5" fmla="*/ 19 h 39"/>
                  <a:gd name="T6" fmla="*/ 54 w 54"/>
                  <a:gd name="T7" fmla="*/ 21 h 39"/>
                  <a:gd name="T8" fmla="*/ 54 w 54"/>
                  <a:gd name="T9" fmla="*/ 22 h 39"/>
                  <a:gd name="T10" fmla="*/ 51 w 54"/>
                  <a:gd name="T11" fmla="*/ 27 h 39"/>
                  <a:gd name="T12" fmla="*/ 49 w 54"/>
                  <a:gd name="T13" fmla="*/ 27 h 39"/>
                  <a:gd name="T14" fmla="*/ 46 w 54"/>
                  <a:gd name="T15" fmla="*/ 29 h 39"/>
                  <a:gd name="T16" fmla="*/ 44 w 54"/>
                  <a:gd name="T17" fmla="*/ 32 h 39"/>
                  <a:gd name="T18" fmla="*/ 46 w 54"/>
                  <a:gd name="T19" fmla="*/ 34 h 39"/>
                  <a:gd name="T20" fmla="*/ 46 w 54"/>
                  <a:gd name="T21" fmla="*/ 37 h 39"/>
                  <a:gd name="T22" fmla="*/ 44 w 54"/>
                  <a:gd name="T23" fmla="*/ 39 h 39"/>
                  <a:gd name="T24" fmla="*/ 41 w 54"/>
                  <a:gd name="T25" fmla="*/ 37 h 39"/>
                  <a:gd name="T26" fmla="*/ 39 w 54"/>
                  <a:gd name="T27" fmla="*/ 36 h 39"/>
                  <a:gd name="T28" fmla="*/ 36 w 54"/>
                  <a:gd name="T29" fmla="*/ 36 h 39"/>
                  <a:gd name="T30" fmla="*/ 36 w 54"/>
                  <a:gd name="T31" fmla="*/ 34 h 39"/>
                  <a:gd name="T32" fmla="*/ 34 w 54"/>
                  <a:gd name="T33" fmla="*/ 32 h 39"/>
                  <a:gd name="T34" fmla="*/ 34 w 54"/>
                  <a:gd name="T35" fmla="*/ 29 h 39"/>
                  <a:gd name="T36" fmla="*/ 34 w 54"/>
                  <a:gd name="T37" fmla="*/ 27 h 39"/>
                  <a:gd name="T38" fmla="*/ 32 w 54"/>
                  <a:gd name="T39" fmla="*/ 27 h 39"/>
                  <a:gd name="T40" fmla="*/ 30 w 54"/>
                  <a:gd name="T41" fmla="*/ 29 h 39"/>
                  <a:gd name="T42" fmla="*/ 29 w 54"/>
                  <a:gd name="T43" fmla="*/ 31 h 39"/>
                  <a:gd name="T44" fmla="*/ 27 w 54"/>
                  <a:gd name="T45" fmla="*/ 31 h 39"/>
                  <a:gd name="T46" fmla="*/ 24 w 54"/>
                  <a:gd name="T47" fmla="*/ 31 h 39"/>
                  <a:gd name="T48" fmla="*/ 24 w 54"/>
                  <a:gd name="T49" fmla="*/ 26 h 39"/>
                  <a:gd name="T50" fmla="*/ 22 w 54"/>
                  <a:gd name="T51" fmla="*/ 24 h 39"/>
                  <a:gd name="T52" fmla="*/ 20 w 54"/>
                  <a:gd name="T53" fmla="*/ 22 h 39"/>
                  <a:gd name="T54" fmla="*/ 17 w 54"/>
                  <a:gd name="T55" fmla="*/ 22 h 39"/>
                  <a:gd name="T56" fmla="*/ 15 w 54"/>
                  <a:gd name="T57" fmla="*/ 21 h 39"/>
                  <a:gd name="T58" fmla="*/ 14 w 54"/>
                  <a:gd name="T59" fmla="*/ 21 h 39"/>
                  <a:gd name="T60" fmla="*/ 10 w 54"/>
                  <a:gd name="T61" fmla="*/ 19 h 39"/>
                  <a:gd name="T62" fmla="*/ 9 w 54"/>
                  <a:gd name="T63" fmla="*/ 17 h 39"/>
                  <a:gd name="T64" fmla="*/ 9 w 54"/>
                  <a:gd name="T65" fmla="*/ 16 h 39"/>
                  <a:gd name="T66" fmla="*/ 5 w 54"/>
                  <a:gd name="T67" fmla="*/ 16 h 39"/>
                  <a:gd name="T68" fmla="*/ 2 w 54"/>
                  <a:gd name="T69" fmla="*/ 14 h 39"/>
                  <a:gd name="T70" fmla="*/ 0 w 54"/>
                  <a:gd name="T71" fmla="*/ 12 h 39"/>
                  <a:gd name="T72" fmla="*/ 0 w 54"/>
                  <a:gd name="T73" fmla="*/ 9 h 39"/>
                  <a:gd name="T74" fmla="*/ 0 w 54"/>
                  <a:gd name="T75" fmla="*/ 7 h 39"/>
                  <a:gd name="T76" fmla="*/ 4 w 54"/>
                  <a:gd name="T77" fmla="*/ 5 h 39"/>
                  <a:gd name="T78" fmla="*/ 7 w 54"/>
                  <a:gd name="T79" fmla="*/ 4 h 39"/>
                  <a:gd name="T80" fmla="*/ 10 w 54"/>
                  <a:gd name="T81" fmla="*/ 2 h 39"/>
                  <a:gd name="T82" fmla="*/ 12 w 54"/>
                  <a:gd name="T83" fmla="*/ 2 h 39"/>
                  <a:gd name="T84" fmla="*/ 14 w 54"/>
                  <a:gd name="T85" fmla="*/ 4 h 39"/>
                  <a:gd name="T86" fmla="*/ 17 w 54"/>
                  <a:gd name="T87" fmla="*/ 5 h 39"/>
                  <a:gd name="T88" fmla="*/ 19 w 54"/>
                  <a:gd name="T89" fmla="*/ 5 h 39"/>
                  <a:gd name="T90" fmla="*/ 22 w 54"/>
                  <a:gd name="T91" fmla="*/ 4 h 39"/>
                  <a:gd name="T92" fmla="*/ 27 w 54"/>
                  <a:gd name="T93" fmla="*/ 2 h 39"/>
                  <a:gd name="T94" fmla="*/ 30 w 54"/>
                  <a:gd name="T95" fmla="*/ 0 h 39"/>
                  <a:gd name="T96" fmla="*/ 34 w 54"/>
                  <a:gd name="T97" fmla="*/ 0 h 39"/>
                  <a:gd name="T98" fmla="*/ 36 w 54"/>
                  <a:gd name="T99" fmla="*/ 2 h 39"/>
                  <a:gd name="T100" fmla="*/ 37 w 54"/>
                  <a:gd name="T101" fmla="*/ 2 h 39"/>
                  <a:gd name="T102" fmla="*/ 37 w 54"/>
                  <a:gd name="T103" fmla="*/ 4 h 39"/>
                  <a:gd name="T104" fmla="*/ 39 w 54"/>
                  <a:gd name="T105" fmla="*/ 4 h 39"/>
                  <a:gd name="T106" fmla="*/ 42 w 54"/>
                  <a:gd name="T107" fmla="*/ 5 h 39"/>
                  <a:gd name="T108" fmla="*/ 44 w 54"/>
                  <a:gd name="T109" fmla="*/ 5 h 39"/>
                  <a:gd name="T110" fmla="*/ 46 w 54"/>
                  <a:gd name="T111" fmla="*/ 9 h 39"/>
                  <a:gd name="T112" fmla="*/ 44 w 54"/>
                  <a:gd name="T113" fmla="*/ 10 h 39"/>
                  <a:gd name="T114" fmla="*/ 46 w 54"/>
                  <a:gd name="T115" fmla="*/ 14 h 39"/>
                  <a:gd name="T116" fmla="*/ 47 w 54"/>
                  <a:gd name="T117" fmla="*/ 16 h 39"/>
                  <a:gd name="T118" fmla="*/ 51 w 54"/>
                  <a:gd name="T119" fmla="*/ 16 h 39"/>
                  <a:gd name="T120" fmla="*/ 52 w 54"/>
                  <a:gd name="T121" fmla="*/ 1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4" h="39">
                    <a:moveTo>
                      <a:pt x="52" y="16"/>
                    </a:moveTo>
                    <a:lnTo>
                      <a:pt x="52" y="17"/>
                    </a:lnTo>
                    <a:lnTo>
                      <a:pt x="52" y="19"/>
                    </a:lnTo>
                    <a:lnTo>
                      <a:pt x="54" y="21"/>
                    </a:lnTo>
                    <a:lnTo>
                      <a:pt x="54" y="22"/>
                    </a:lnTo>
                    <a:lnTo>
                      <a:pt x="51" y="27"/>
                    </a:lnTo>
                    <a:lnTo>
                      <a:pt x="49" y="27"/>
                    </a:lnTo>
                    <a:lnTo>
                      <a:pt x="46" y="29"/>
                    </a:lnTo>
                    <a:lnTo>
                      <a:pt x="44" y="32"/>
                    </a:lnTo>
                    <a:lnTo>
                      <a:pt x="46" y="34"/>
                    </a:lnTo>
                    <a:lnTo>
                      <a:pt x="46" y="37"/>
                    </a:lnTo>
                    <a:lnTo>
                      <a:pt x="44" y="39"/>
                    </a:lnTo>
                    <a:lnTo>
                      <a:pt x="41" y="37"/>
                    </a:lnTo>
                    <a:lnTo>
                      <a:pt x="39" y="36"/>
                    </a:lnTo>
                    <a:lnTo>
                      <a:pt x="36" y="36"/>
                    </a:lnTo>
                    <a:lnTo>
                      <a:pt x="36" y="34"/>
                    </a:lnTo>
                    <a:lnTo>
                      <a:pt x="34" y="32"/>
                    </a:lnTo>
                    <a:lnTo>
                      <a:pt x="34" y="29"/>
                    </a:lnTo>
                    <a:lnTo>
                      <a:pt x="34" y="27"/>
                    </a:lnTo>
                    <a:lnTo>
                      <a:pt x="32" y="27"/>
                    </a:lnTo>
                    <a:lnTo>
                      <a:pt x="30" y="29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4" y="31"/>
                    </a:lnTo>
                    <a:lnTo>
                      <a:pt x="24" y="26"/>
                    </a:lnTo>
                    <a:lnTo>
                      <a:pt x="22" y="24"/>
                    </a:lnTo>
                    <a:lnTo>
                      <a:pt x="20" y="22"/>
                    </a:lnTo>
                    <a:lnTo>
                      <a:pt x="17" y="22"/>
                    </a:lnTo>
                    <a:lnTo>
                      <a:pt x="15" y="21"/>
                    </a:lnTo>
                    <a:lnTo>
                      <a:pt x="14" y="21"/>
                    </a:lnTo>
                    <a:lnTo>
                      <a:pt x="10" y="19"/>
                    </a:lnTo>
                    <a:lnTo>
                      <a:pt x="9" y="17"/>
                    </a:lnTo>
                    <a:lnTo>
                      <a:pt x="9" y="16"/>
                    </a:lnTo>
                    <a:lnTo>
                      <a:pt x="5" y="16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4" y="5"/>
                    </a:lnTo>
                    <a:lnTo>
                      <a:pt x="7" y="4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4" y="4"/>
                    </a:lnTo>
                    <a:lnTo>
                      <a:pt x="17" y="5"/>
                    </a:lnTo>
                    <a:lnTo>
                      <a:pt x="19" y="5"/>
                    </a:lnTo>
                    <a:lnTo>
                      <a:pt x="22" y="4"/>
                    </a:lnTo>
                    <a:lnTo>
                      <a:pt x="27" y="2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6" y="2"/>
                    </a:lnTo>
                    <a:lnTo>
                      <a:pt x="37" y="2"/>
                    </a:lnTo>
                    <a:lnTo>
                      <a:pt x="37" y="4"/>
                    </a:lnTo>
                    <a:lnTo>
                      <a:pt x="39" y="4"/>
                    </a:lnTo>
                    <a:lnTo>
                      <a:pt x="42" y="5"/>
                    </a:lnTo>
                    <a:lnTo>
                      <a:pt x="44" y="5"/>
                    </a:lnTo>
                    <a:lnTo>
                      <a:pt x="46" y="9"/>
                    </a:lnTo>
                    <a:lnTo>
                      <a:pt x="44" y="10"/>
                    </a:lnTo>
                    <a:lnTo>
                      <a:pt x="46" y="14"/>
                    </a:lnTo>
                    <a:lnTo>
                      <a:pt x="47" y="16"/>
                    </a:lnTo>
                    <a:lnTo>
                      <a:pt x="51" y="16"/>
                    </a:lnTo>
                    <a:lnTo>
                      <a:pt x="52" y="16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015" name="Freeform 389">
                <a:extLst>
                  <a:ext uri="{FF2B5EF4-FFF2-40B4-BE49-F238E27FC236}">
                    <a16:creationId xmlns:a16="http://schemas.microsoft.com/office/drawing/2014/main" id="{411E76C0-195A-2948-9AF8-68522CBFF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" y="473"/>
                <a:ext cx="54" cy="39"/>
              </a:xfrm>
              <a:custGeom>
                <a:avLst/>
                <a:gdLst>
                  <a:gd name="T0" fmla="*/ 52 w 54"/>
                  <a:gd name="T1" fmla="*/ 16 h 39"/>
                  <a:gd name="T2" fmla="*/ 52 w 54"/>
                  <a:gd name="T3" fmla="*/ 17 h 39"/>
                  <a:gd name="T4" fmla="*/ 52 w 54"/>
                  <a:gd name="T5" fmla="*/ 19 h 39"/>
                  <a:gd name="T6" fmla="*/ 54 w 54"/>
                  <a:gd name="T7" fmla="*/ 21 h 39"/>
                  <a:gd name="T8" fmla="*/ 54 w 54"/>
                  <a:gd name="T9" fmla="*/ 22 h 39"/>
                  <a:gd name="T10" fmla="*/ 51 w 54"/>
                  <a:gd name="T11" fmla="*/ 27 h 39"/>
                  <a:gd name="T12" fmla="*/ 49 w 54"/>
                  <a:gd name="T13" fmla="*/ 27 h 39"/>
                  <a:gd name="T14" fmla="*/ 46 w 54"/>
                  <a:gd name="T15" fmla="*/ 29 h 39"/>
                  <a:gd name="T16" fmla="*/ 44 w 54"/>
                  <a:gd name="T17" fmla="*/ 32 h 39"/>
                  <a:gd name="T18" fmla="*/ 46 w 54"/>
                  <a:gd name="T19" fmla="*/ 34 h 39"/>
                  <a:gd name="T20" fmla="*/ 46 w 54"/>
                  <a:gd name="T21" fmla="*/ 37 h 39"/>
                  <a:gd name="T22" fmla="*/ 44 w 54"/>
                  <a:gd name="T23" fmla="*/ 39 h 39"/>
                  <a:gd name="T24" fmla="*/ 41 w 54"/>
                  <a:gd name="T25" fmla="*/ 37 h 39"/>
                  <a:gd name="T26" fmla="*/ 39 w 54"/>
                  <a:gd name="T27" fmla="*/ 36 h 39"/>
                  <a:gd name="T28" fmla="*/ 36 w 54"/>
                  <a:gd name="T29" fmla="*/ 36 h 39"/>
                  <a:gd name="T30" fmla="*/ 36 w 54"/>
                  <a:gd name="T31" fmla="*/ 34 h 39"/>
                  <a:gd name="T32" fmla="*/ 34 w 54"/>
                  <a:gd name="T33" fmla="*/ 32 h 39"/>
                  <a:gd name="T34" fmla="*/ 34 w 54"/>
                  <a:gd name="T35" fmla="*/ 29 h 39"/>
                  <a:gd name="T36" fmla="*/ 34 w 54"/>
                  <a:gd name="T37" fmla="*/ 27 h 39"/>
                  <a:gd name="T38" fmla="*/ 32 w 54"/>
                  <a:gd name="T39" fmla="*/ 27 h 39"/>
                  <a:gd name="T40" fmla="*/ 30 w 54"/>
                  <a:gd name="T41" fmla="*/ 29 h 39"/>
                  <a:gd name="T42" fmla="*/ 29 w 54"/>
                  <a:gd name="T43" fmla="*/ 31 h 39"/>
                  <a:gd name="T44" fmla="*/ 27 w 54"/>
                  <a:gd name="T45" fmla="*/ 31 h 39"/>
                  <a:gd name="T46" fmla="*/ 24 w 54"/>
                  <a:gd name="T47" fmla="*/ 31 h 39"/>
                  <a:gd name="T48" fmla="*/ 24 w 54"/>
                  <a:gd name="T49" fmla="*/ 26 h 39"/>
                  <a:gd name="T50" fmla="*/ 22 w 54"/>
                  <a:gd name="T51" fmla="*/ 24 h 39"/>
                  <a:gd name="T52" fmla="*/ 20 w 54"/>
                  <a:gd name="T53" fmla="*/ 22 h 39"/>
                  <a:gd name="T54" fmla="*/ 17 w 54"/>
                  <a:gd name="T55" fmla="*/ 22 h 39"/>
                  <a:gd name="T56" fmla="*/ 15 w 54"/>
                  <a:gd name="T57" fmla="*/ 21 h 39"/>
                  <a:gd name="T58" fmla="*/ 14 w 54"/>
                  <a:gd name="T59" fmla="*/ 21 h 39"/>
                  <a:gd name="T60" fmla="*/ 10 w 54"/>
                  <a:gd name="T61" fmla="*/ 19 h 39"/>
                  <a:gd name="T62" fmla="*/ 9 w 54"/>
                  <a:gd name="T63" fmla="*/ 17 h 39"/>
                  <a:gd name="T64" fmla="*/ 9 w 54"/>
                  <a:gd name="T65" fmla="*/ 16 h 39"/>
                  <a:gd name="T66" fmla="*/ 5 w 54"/>
                  <a:gd name="T67" fmla="*/ 16 h 39"/>
                  <a:gd name="T68" fmla="*/ 2 w 54"/>
                  <a:gd name="T69" fmla="*/ 14 h 39"/>
                  <a:gd name="T70" fmla="*/ 0 w 54"/>
                  <a:gd name="T71" fmla="*/ 12 h 39"/>
                  <a:gd name="T72" fmla="*/ 0 w 54"/>
                  <a:gd name="T73" fmla="*/ 9 h 39"/>
                  <a:gd name="T74" fmla="*/ 0 w 54"/>
                  <a:gd name="T75" fmla="*/ 7 h 39"/>
                  <a:gd name="T76" fmla="*/ 4 w 54"/>
                  <a:gd name="T77" fmla="*/ 5 h 39"/>
                  <a:gd name="T78" fmla="*/ 7 w 54"/>
                  <a:gd name="T79" fmla="*/ 4 h 39"/>
                  <a:gd name="T80" fmla="*/ 10 w 54"/>
                  <a:gd name="T81" fmla="*/ 2 h 39"/>
                  <a:gd name="T82" fmla="*/ 12 w 54"/>
                  <a:gd name="T83" fmla="*/ 2 h 39"/>
                  <a:gd name="T84" fmla="*/ 14 w 54"/>
                  <a:gd name="T85" fmla="*/ 4 h 39"/>
                  <a:gd name="T86" fmla="*/ 17 w 54"/>
                  <a:gd name="T87" fmla="*/ 5 h 39"/>
                  <a:gd name="T88" fmla="*/ 19 w 54"/>
                  <a:gd name="T89" fmla="*/ 5 h 39"/>
                  <a:gd name="T90" fmla="*/ 22 w 54"/>
                  <a:gd name="T91" fmla="*/ 4 h 39"/>
                  <a:gd name="T92" fmla="*/ 27 w 54"/>
                  <a:gd name="T93" fmla="*/ 2 h 39"/>
                  <a:gd name="T94" fmla="*/ 30 w 54"/>
                  <a:gd name="T95" fmla="*/ 0 h 39"/>
                  <a:gd name="T96" fmla="*/ 34 w 54"/>
                  <a:gd name="T97" fmla="*/ 0 h 39"/>
                  <a:gd name="T98" fmla="*/ 36 w 54"/>
                  <a:gd name="T99" fmla="*/ 2 h 39"/>
                  <a:gd name="T100" fmla="*/ 37 w 54"/>
                  <a:gd name="T101" fmla="*/ 2 h 39"/>
                  <a:gd name="T102" fmla="*/ 37 w 54"/>
                  <a:gd name="T103" fmla="*/ 4 h 39"/>
                  <a:gd name="T104" fmla="*/ 39 w 54"/>
                  <a:gd name="T105" fmla="*/ 4 h 39"/>
                  <a:gd name="T106" fmla="*/ 42 w 54"/>
                  <a:gd name="T107" fmla="*/ 5 h 39"/>
                  <a:gd name="T108" fmla="*/ 44 w 54"/>
                  <a:gd name="T109" fmla="*/ 5 h 39"/>
                  <a:gd name="T110" fmla="*/ 46 w 54"/>
                  <a:gd name="T111" fmla="*/ 9 h 39"/>
                  <a:gd name="T112" fmla="*/ 44 w 54"/>
                  <a:gd name="T113" fmla="*/ 10 h 39"/>
                  <a:gd name="T114" fmla="*/ 46 w 54"/>
                  <a:gd name="T115" fmla="*/ 14 h 39"/>
                  <a:gd name="T116" fmla="*/ 47 w 54"/>
                  <a:gd name="T117" fmla="*/ 16 h 39"/>
                  <a:gd name="T118" fmla="*/ 51 w 54"/>
                  <a:gd name="T119" fmla="*/ 16 h 39"/>
                  <a:gd name="T120" fmla="*/ 52 w 54"/>
                  <a:gd name="T121" fmla="*/ 1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4" h="39">
                    <a:moveTo>
                      <a:pt x="52" y="16"/>
                    </a:moveTo>
                    <a:lnTo>
                      <a:pt x="52" y="17"/>
                    </a:lnTo>
                    <a:lnTo>
                      <a:pt x="52" y="19"/>
                    </a:lnTo>
                    <a:lnTo>
                      <a:pt x="54" y="21"/>
                    </a:lnTo>
                    <a:lnTo>
                      <a:pt x="54" y="22"/>
                    </a:lnTo>
                    <a:lnTo>
                      <a:pt x="51" y="27"/>
                    </a:lnTo>
                    <a:lnTo>
                      <a:pt x="49" y="27"/>
                    </a:lnTo>
                    <a:lnTo>
                      <a:pt x="46" y="29"/>
                    </a:lnTo>
                    <a:lnTo>
                      <a:pt x="44" y="32"/>
                    </a:lnTo>
                    <a:lnTo>
                      <a:pt x="46" y="34"/>
                    </a:lnTo>
                    <a:lnTo>
                      <a:pt x="46" y="37"/>
                    </a:lnTo>
                    <a:lnTo>
                      <a:pt x="44" y="39"/>
                    </a:lnTo>
                    <a:lnTo>
                      <a:pt x="41" y="37"/>
                    </a:lnTo>
                    <a:lnTo>
                      <a:pt x="39" y="36"/>
                    </a:lnTo>
                    <a:lnTo>
                      <a:pt x="36" y="36"/>
                    </a:lnTo>
                    <a:lnTo>
                      <a:pt x="36" y="34"/>
                    </a:lnTo>
                    <a:lnTo>
                      <a:pt x="34" y="32"/>
                    </a:lnTo>
                    <a:lnTo>
                      <a:pt x="34" y="29"/>
                    </a:lnTo>
                    <a:lnTo>
                      <a:pt x="34" y="27"/>
                    </a:lnTo>
                    <a:lnTo>
                      <a:pt x="32" y="27"/>
                    </a:lnTo>
                    <a:lnTo>
                      <a:pt x="30" y="29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4" y="31"/>
                    </a:lnTo>
                    <a:lnTo>
                      <a:pt x="24" y="26"/>
                    </a:lnTo>
                    <a:lnTo>
                      <a:pt x="22" y="24"/>
                    </a:lnTo>
                    <a:lnTo>
                      <a:pt x="20" y="22"/>
                    </a:lnTo>
                    <a:lnTo>
                      <a:pt x="17" y="22"/>
                    </a:lnTo>
                    <a:lnTo>
                      <a:pt x="15" y="21"/>
                    </a:lnTo>
                    <a:lnTo>
                      <a:pt x="14" y="21"/>
                    </a:lnTo>
                    <a:lnTo>
                      <a:pt x="10" y="19"/>
                    </a:lnTo>
                    <a:lnTo>
                      <a:pt x="9" y="17"/>
                    </a:lnTo>
                    <a:lnTo>
                      <a:pt x="9" y="16"/>
                    </a:lnTo>
                    <a:lnTo>
                      <a:pt x="5" y="16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4" y="5"/>
                    </a:lnTo>
                    <a:lnTo>
                      <a:pt x="7" y="4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4" y="4"/>
                    </a:lnTo>
                    <a:lnTo>
                      <a:pt x="17" y="5"/>
                    </a:lnTo>
                    <a:lnTo>
                      <a:pt x="19" y="5"/>
                    </a:lnTo>
                    <a:lnTo>
                      <a:pt x="22" y="4"/>
                    </a:lnTo>
                    <a:lnTo>
                      <a:pt x="27" y="2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6" y="2"/>
                    </a:lnTo>
                    <a:lnTo>
                      <a:pt x="37" y="2"/>
                    </a:lnTo>
                    <a:lnTo>
                      <a:pt x="37" y="4"/>
                    </a:lnTo>
                    <a:lnTo>
                      <a:pt x="39" y="4"/>
                    </a:lnTo>
                    <a:lnTo>
                      <a:pt x="42" y="5"/>
                    </a:lnTo>
                    <a:lnTo>
                      <a:pt x="44" y="5"/>
                    </a:lnTo>
                    <a:lnTo>
                      <a:pt x="46" y="9"/>
                    </a:lnTo>
                    <a:lnTo>
                      <a:pt x="44" y="10"/>
                    </a:lnTo>
                    <a:lnTo>
                      <a:pt x="46" y="14"/>
                    </a:lnTo>
                    <a:lnTo>
                      <a:pt x="47" y="16"/>
                    </a:lnTo>
                    <a:lnTo>
                      <a:pt x="51" y="16"/>
                    </a:lnTo>
                    <a:lnTo>
                      <a:pt x="52" y="16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41" name="Group 1640">
              <a:extLst>
                <a:ext uri="{FF2B5EF4-FFF2-40B4-BE49-F238E27FC236}">
                  <a16:creationId xmlns:a16="http://schemas.microsoft.com/office/drawing/2014/main" id="{882AB866-9705-B848-8D65-81B41C22309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6" y="596"/>
              <a:ext cx="61" cy="53"/>
              <a:chOff x="406" y="596"/>
              <a:chExt cx="61" cy="53"/>
            </a:xfrm>
          </p:grpSpPr>
          <p:sp>
            <p:nvSpPr>
              <p:cNvPr id="2012" name="Freeform 386">
                <a:extLst>
                  <a:ext uri="{FF2B5EF4-FFF2-40B4-BE49-F238E27FC236}">
                    <a16:creationId xmlns:a16="http://schemas.microsoft.com/office/drawing/2014/main" id="{39BD8CC2-4623-3343-8591-41D7FB49B7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" y="596"/>
                <a:ext cx="61" cy="53"/>
              </a:xfrm>
              <a:custGeom>
                <a:avLst/>
                <a:gdLst>
                  <a:gd name="T0" fmla="*/ 56 w 61"/>
                  <a:gd name="T1" fmla="*/ 32 h 53"/>
                  <a:gd name="T2" fmla="*/ 56 w 61"/>
                  <a:gd name="T3" fmla="*/ 29 h 53"/>
                  <a:gd name="T4" fmla="*/ 54 w 61"/>
                  <a:gd name="T5" fmla="*/ 26 h 53"/>
                  <a:gd name="T6" fmla="*/ 56 w 61"/>
                  <a:gd name="T7" fmla="*/ 27 h 53"/>
                  <a:gd name="T8" fmla="*/ 59 w 61"/>
                  <a:gd name="T9" fmla="*/ 26 h 53"/>
                  <a:gd name="T10" fmla="*/ 61 w 61"/>
                  <a:gd name="T11" fmla="*/ 24 h 53"/>
                  <a:gd name="T12" fmla="*/ 58 w 61"/>
                  <a:gd name="T13" fmla="*/ 24 h 53"/>
                  <a:gd name="T14" fmla="*/ 54 w 61"/>
                  <a:gd name="T15" fmla="*/ 19 h 53"/>
                  <a:gd name="T16" fmla="*/ 53 w 61"/>
                  <a:gd name="T17" fmla="*/ 14 h 53"/>
                  <a:gd name="T18" fmla="*/ 54 w 61"/>
                  <a:gd name="T19" fmla="*/ 11 h 53"/>
                  <a:gd name="T20" fmla="*/ 53 w 61"/>
                  <a:gd name="T21" fmla="*/ 7 h 53"/>
                  <a:gd name="T22" fmla="*/ 46 w 61"/>
                  <a:gd name="T23" fmla="*/ 5 h 53"/>
                  <a:gd name="T24" fmla="*/ 43 w 61"/>
                  <a:gd name="T25" fmla="*/ 2 h 53"/>
                  <a:gd name="T26" fmla="*/ 36 w 61"/>
                  <a:gd name="T27" fmla="*/ 2 h 53"/>
                  <a:gd name="T28" fmla="*/ 34 w 61"/>
                  <a:gd name="T29" fmla="*/ 4 h 53"/>
                  <a:gd name="T30" fmla="*/ 31 w 61"/>
                  <a:gd name="T31" fmla="*/ 4 h 53"/>
                  <a:gd name="T32" fmla="*/ 27 w 61"/>
                  <a:gd name="T33" fmla="*/ 2 h 53"/>
                  <a:gd name="T34" fmla="*/ 24 w 61"/>
                  <a:gd name="T35" fmla="*/ 0 h 53"/>
                  <a:gd name="T36" fmla="*/ 21 w 61"/>
                  <a:gd name="T37" fmla="*/ 2 h 53"/>
                  <a:gd name="T38" fmla="*/ 17 w 61"/>
                  <a:gd name="T39" fmla="*/ 0 h 53"/>
                  <a:gd name="T40" fmla="*/ 16 w 61"/>
                  <a:gd name="T41" fmla="*/ 2 h 53"/>
                  <a:gd name="T42" fmla="*/ 11 w 61"/>
                  <a:gd name="T43" fmla="*/ 2 h 53"/>
                  <a:gd name="T44" fmla="*/ 9 w 61"/>
                  <a:gd name="T45" fmla="*/ 7 h 53"/>
                  <a:gd name="T46" fmla="*/ 2 w 61"/>
                  <a:gd name="T47" fmla="*/ 2 h 53"/>
                  <a:gd name="T48" fmla="*/ 0 w 61"/>
                  <a:gd name="T49" fmla="*/ 4 h 53"/>
                  <a:gd name="T50" fmla="*/ 0 w 61"/>
                  <a:gd name="T51" fmla="*/ 7 h 53"/>
                  <a:gd name="T52" fmla="*/ 2 w 61"/>
                  <a:gd name="T53" fmla="*/ 12 h 53"/>
                  <a:gd name="T54" fmla="*/ 4 w 61"/>
                  <a:gd name="T55" fmla="*/ 11 h 53"/>
                  <a:gd name="T56" fmla="*/ 14 w 61"/>
                  <a:gd name="T57" fmla="*/ 26 h 53"/>
                  <a:gd name="T58" fmla="*/ 21 w 61"/>
                  <a:gd name="T59" fmla="*/ 34 h 53"/>
                  <a:gd name="T60" fmla="*/ 24 w 61"/>
                  <a:gd name="T61" fmla="*/ 34 h 53"/>
                  <a:gd name="T62" fmla="*/ 26 w 61"/>
                  <a:gd name="T63" fmla="*/ 36 h 53"/>
                  <a:gd name="T64" fmla="*/ 27 w 61"/>
                  <a:gd name="T65" fmla="*/ 41 h 53"/>
                  <a:gd name="T66" fmla="*/ 31 w 61"/>
                  <a:gd name="T67" fmla="*/ 43 h 53"/>
                  <a:gd name="T68" fmla="*/ 29 w 61"/>
                  <a:gd name="T69" fmla="*/ 44 h 53"/>
                  <a:gd name="T70" fmla="*/ 31 w 61"/>
                  <a:gd name="T71" fmla="*/ 46 h 53"/>
                  <a:gd name="T72" fmla="*/ 36 w 61"/>
                  <a:gd name="T73" fmla="*/ 48 h 53"/>
                  <a:gd name="T74" fmla="*/ 43 w 61"/>
                  <a:gd name="T75" fmla="*/ 53 h 53"/>
                  <a:gd name="T76" fmla="*/ 46 w 61"/>
                  <a:gd name="T77" fmla="*/ 49 h 53"/>
                  <a:gd name="T78" fmla="*/ 44 w 61"/>
                  <a:gd name="T79" fmla="*/ 48 h 53"/>
                  <a:gd name="T80" fmla="*/ 44 w 61"/>
                  <a:gd name="T81" fmla="*/ 44 h 53"/>
                  <a:gd name="T82" fmla="*/ 48 w 61"/>
                  <a:gd name="T83" fmla="*/ 44 h 53"/>
                  <a:gd name="T84" fmla="*/ 48 w 61"/>
                  <a:gd name="T85" fmla="*/ 41 h 53"/>
                  <a:gd name="T86" fmla="*/ 49 w 61"/>
                  <a:gd name="T87" fmla="*/ 39 h 53"/>
                  <a:gd name="T88" fmla="*/ 53 w 61"/>
                  <a:gd name="T89" fmla="*/ 39 h 53"/>
                  <a:gd name="T90" fmla="*/ 51 w 61"/>
                  <a:gd name="T91" fmla="*/ 37 h 53"/>
                  <a:gd name="T92" fmla="*/ 51 w 61"/>
                  <a:gd name="T93" fmla="*/ 34 h 53"/>
                  <a:gd name="T94" fmla="*/ 54 w 61"/>
                  <a:gd name="T95" fmla="*/ 34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1" h="53">
                    <a:moveTo>
                      <a:pt x="56" y="34"/>
                    </a:moveTo>
                    <a:lnTo>
                      <a:pt x="56" y="32"/>
                    </a:lnTo>
                    <a:lnTo>
                      <a:pt x="56" y="31"/>
                    </a:lnTo>
                    <a:lnTo>
                      <a:pt x="56" y="29"/>
                    </a:lnTo>
                    <a:lnTo>
                      <a:pt x="54" y="27"/>
                    </a:lnTo>
                    <a:lnTo>
                      <a:pt x="54" y="26"/>
                    </a:lnTo>
                    <a:lnTo>
                      <a:pt x="56" y="26"/>
                    </a:lnTo>
                    <a:lnTo>
                      <a:pt x="56" y="27"/>
                    </a:lnTo>
                    <a:lnTo>
                      <a:pt x="58" y="27"/>
                    </a:lnTo>
                    <a:lnTo>
                      <a:pt x="59" y="26"/>
                    </a:lnTo>
                    <a:lnTo>
                      <a:pt x="61" y="26"/>
                    </a:lnTo>
                    <a:lnTo>
                      <a:pt x="61" y="24"/>
                    </a:lnTo>
                    <a:lnTo>
                      <a:pt x="59" y="24"/>
                    </a:lnTo>
                    <a:lnTo>
                      <a:pt x="58" y="24"/>
                    </a:lnTo>
                    <a:lnTo>
                      <a:pt x="56" y="21"/>
                    </a:lnTo>
                    <a:lnTo>
                      <a:pt x="54" y="19"/>
                    </a:lnTo>
                    <a:lnTo>
                      <a:pt x="53" y="17"/>
                    </a:lnTo>
                    <a:lnTo>
                      <a:pt x="53" y="14"/>
                    </a:lnTo>
                    <a:lnTo>
                      <a:pt x="53" y="12"/>
                    </a:lnTo>
                    <a:lnTo>
                      <a:pt x="54" y="11"/>
                    </a:lnTo>
                    <a:lnTo>
                      <a:pt x="56" y="7"/>
                    </a:lnTo>
                    <a:lnTo>
                      <a:pt x="53" y="7"/>
                    </a:lnTo>
                    <a:lnTo>
                      <a:pt x="49" y="7"/>
                    </a:lnTo>
                    <a:lnTo>
                      <a:pt x="46" y="5"/>
                    </a:lnTo>
                    <a:lnTo>
                      <a:pt x="44" y="4"/>
                    </a:lnTo>
                    <a:lnTo>
                      <a:pt x="43" y="2"/>
                    </a:lnTo>
                    <a:lnTo>
                      <a:pt x="39" y="4"/>
                    </a:lnTo>
                    <a:lnTo>
                      <a:pt x="36" y="2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3" y="4"/>
                    </a:lnTo>
                    <a:lnTo>
                      <a:pt x="31" y="4"/>
                    </a:lnTo>
                    <a:lnTo>
                      <a:pt x="29" y="2"/>
                    </a:lnTo>
                    <a:lnTo>
                      <a:pt x="27" y="2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4" y="2"/>
                    </a:lnTo>
                    <a:lnTo>
                      <a:pt x="21" y="2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2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9" y="7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1"/>
                    </a:lnTo>
                    <a:lnTo>
                      <a:pt x="9" y="21"/>
                    </a:lnTo>
                    <a:lnTo>
                      <a:pt x="14" y="26"/>
                    </a:lnTo>
                    <a:lnTo>
                      <a:pt x="21" y="32"/>
                    </a:lnTo>
                    <a:lnTo>
                      <a:pt x="21" y="34"/>
                    </a:lnTo>
                    <a:lnTo>
                      <a:pt x="22" y="34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6" y="37"/>
                    </a:lnTo>
                    <a:lnTo>
                      <a:pt x="27" y="41"/>
                    </a:lnTo>
                    <a:lnTo>
                      <a:pt x="29" y="43"/>
                    </a:lnTo>
                    <a:lnTo>
                      <a:pt x="31" y="43"/>
                    </a:lnTo>
                    <a:lnTo>
                      <a:pt x="31" y="44"/>
                    </a:lnTo>
                    <a:lnTo>
                      <a:pt x="29" y="44"/>
                    </a:lnTo>
                    <a:lnTo>
                      <a:pt x="29" y="46"/>
                    </a:lnTo>
                    <a:lnTo>
                      <a:pt x="31" y="46"/>
                    </a:lnTo>
                    <a:lnTo>
                      <a:pt x="33" y="44"/>
                    </a:lnTo>
                    <a:lnTo>
                      <a:pt x="36" y="48"/>
                    </a:lnTo>
                    <a:lnTo>
                      <a:pt x="39" y="49"/>
                    </a:lnTo>
                    <a:lnTo>
                      <a:pt x="43" y="53"/>
                    </a:lnTo>
                    <a:lnTo>
                      <a:pt x="44" y="53"/>
                    </a:lnTo>
                    <a:lnTo>
                      <a:pt x="46" y="49"/>
                    </a:lnTo>
                    <a:lnTo>
                      <a:pt x="46" y="48"/>
                    </a:lnTo>
                    <a:lnTo>
                      <a:pt x="44" y="48"/>
                    </a:lnTo>
                    <a:lnTo>
                      <a:pt x="44" y="46"/>
                    </a:lnTo>
                    <a:lnTo>
                      <a:pt x="44" y="44"/>
                    </a:lnTo>
                    <a:lnTo>
                      <a:pt x="46" y="44"/>
                    </a:lnTo>
                    <a:lnTo>
                      <a:pt x="48" y="44"/>
                    </a:lnTo>
                    <a:lnTo>
                      <a:pt x="48" y="43"/>
                    </a:lnTo>
                    <a:lnTo>
                      <a:pt x="48" y="41"/>
                    </a:lnTo>
                    <a:lnTo>
                      <a:pt x="48" y="39"/>
                    </a:lnTo>
                    <a:lnTo>
                      <a:pt x="49" y="39"/>
                    </a:lnTo>
                    <a:lnTo>
                      <a:pt x="51" y="39"/>
                    </a:lnTo>
                    <a:lnTo>
                      <a:pt x="53" y="39"/>
                    </a:lnTo>
                    <a:lnTo>
                      <a:pt x="53" y="37"/>
                    </a:lnTo>
                    <a:lnTo>
                      <a:pt x="51" y="37"/>
                    </a:lnTo>
                    <a:lnTo>
                      <a:pt x="51" y="36"/>
                    </a:lnTo>
                    <a:lnTo>
                      <a:pt x="51" y="34"/>
                    </a:lnTo>
                    <a:lnTo>
                      <a:pt x="53" y="34"/>
                    </a:lnTo>
                    <a:lnTo>
                      <a:pt x="54" y="34"/>
                    </a:lnTo>
                    <a:lnTo>
                      <a:pt x="56" y="34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013" name="Freeform 387">
                <a:extLst>
                  <a:ext uri="{FF2B5EF4-FFF2-40B4-BE49-F238E27FC236}">
                    <a16:creationId xmlns:a16="http://schemas.microsoft.com/office/drawing/2014/main" id="{885D9EBF-D0EA-5942-A2AA-7A558815EE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" y="596"/>
                <a:ext cx="61" cy="53"/>
              </a:xfrm>
              <a:custGeom>
                <a:avLst/>
                <a:gdLst>
                  <a:gd name="T0" fmla="*/ 56 w 61"/>
                  <a:gd name="T1" fmla="*/ 32 h 53"/>
                  <a:gd name="T2" fmla="*/ 56 w 61"/>
                  <a:gd name="T3" fmla="*/ 29 h 53"/>
                  <a:gd name="T4" fmla="*/ 54 w 61"/>
                  <a:gd name="T5" fmla="*/ 26 h 53"/>
                  <a:gd name="T6" fmla="*/ 56 w 61"/>
                  <a:gd name="T7" fmla="*/ 27 h 53"/>
                  <a:gd name="T8" fmla="*/ 59 w 61"/>
                  <a:gd name="T9" fmla="*/ 26 h 53"/>
                  <a:gd name="T10" fmla="*/ 61 w 61"/>
                  <a:gd name="T11" fmla="*/ 24 h 53"/>
                  <a:gd name="T12" fmla="*/ 58 w 61"/>
                  <a:gd name="T13" fmla="*/ 24 h 53"/>
                  <a:gd name="T14" fmla="*/ 54 w 61"/>
                  <a:gd name="T15" fmla="*/ 19 h 53"/>
                  <a:gd name="T16" fmla="*/ 53 w 61"/>
                  <a:gd name="T17" fmla="*/ 14 h 53"/>
                  <a:gd name="T18" fmla="*/ 54 w 61"/>
                  <a:gd name="T19" fmla="*/ 11 h 53"/>
                  <a:gd name="T20" fmla="*/ 53 w 61"/>
                  <a:gd name="T21" fmla="*/ 7 h 53"/>
                  <a:gd name="T22" fmla="*/ 46 w 61"/>
                  <a:gd name="T23" fmla="*/ 5 h 53"/>
                  <a:gd name="T24" fmla="*/ 43 w 61"/>
                  <a:gd name="T25" fmla="*/ 2 h 53"/>
                  <a:gd name="T26" fmla="*/ 36 w 61"/>
                  <a:gd name="T27" fmla="*/ 2 h 53"/>
                  <a:gd name="T28" fmla="*/ 34 w 61"/>
                  <a:gd name="T29" fmla="*/ 4 h 53"/>
                  <a:gd name="T30" fmla="*/ 31 w 61"/>
                  <a:gd name="T31" fmla="*/ 4 h 53"/>
                  <a:gd name="T32" fmla="*/ 27 w 61"/>
                  <a:gd name="T33" fmla="*/ 2 h 53"/>
                  <a:gd name="T34" fmla="*/ 24 w 61"/>
                  <a:gd name="T35" fmla="*/ 0 h 53"/>
                  <a:gd name="T36" fmla="*/ 21 w 61"/>
                  <a:gd name="T37" fmla="*/ 2 h 53"/>
                  <a:gd name="T38" fmla="*/ 17 w 61"/>
                  <a:gd name="T39" fmla="*/ 0 h 53"/>
                  <a:gd name="T40" fmla="*/ 16 w 61"/>
                  <a:gd name="T41" fmla="*/ 2 h 53"/>
                  <a:gd name="T42" fmla="*/ 11 w 61"/>
                  <a:gd name="T43" fmla="*/ 2 h 53"/>
                  <a:gd name="T44" fmla="*/ 9 w 61"/>
                  <a:gd name="T45" fmla="*/ 7 h 53"/>
                  <a:gd name="T46" fmla="*/ 2 w 61"/>
                  <a:gd name="T47" fmla="*/ 2 h 53"/>
                  <a:gd name="T48" fmla="*/ 0 w 61"/>
                  <a:gd name="T49" fmla="*/ 4 h 53"/>
                  <a:gd name="T50" fmla="*/ 0 w 61"/>
                  <a:gd name="T51" fmla="*/ 7 h 53"/>
                  <a:gd name="T52" fmla="*/ 2 w 61"/>
                  <a:gd name="T53" fmla="*/ 12 h 53"/>
                  <a:gd name="T54" fmla="*/ 4 w 61"/>
                  <a:gd name="T55" fmla="*/ 11 h 53"/>
                  <a:gd name="T56" fmla="*/ 14 w 61"/>
                  <a:gd name="T57" fmla="*/ 26 h 53"/>
                  <a:gd name="T58" fmla="*/ 21 w 61"/>
                  <a:gd name="T59" fmla="*/ 34 h 53"/>
                  <a:gd name="T60" fmla="*/ 24 w 61"/>
                  <a:gd name="T61" fmla="*/ 34 h 53"/>
                  <a:gd name="T62" fmla="*/ 26 w 61"/>
                  <a:gd name="T63" fmla="*/ 36 h 53"/>
                  <a:gd name="T64" fmla="*/ 27 w 61"/>
                  <a:gd name="T65" fmla="*/ 41 h 53"/>
                  <a:gd name="T66" fmla="*/ 31 w 61"/>
                  <a:gd name="T67" fmla="*/ 43 h 53"/>
                  <a:gd name="T68" fmla="*/ 29 w 61"/>
                  <a:gd name="T69" fmla="*/ 44 h 53"/>
                  <a:gd name="T70" fmla="*/ 31 w 61"/>
                  <a:gd name="T71" fmla="*/ 46 h 53"/>
                  <a:gd name="T72" fmla="*/ 36 w 61"/>
                  <a:gd name="T73" fmla="*/ 48 h 53"/>
                  <a:gd name="T74" fmla="*/ 43 w 61"/>
                  <a:gd name="T75" fmla="*/ 53 h 53"/>
                  <a:gd name="T76" fmla="*/ 46 w 61"/>
                  <a:gd name="T77" fmla="*/ 49 h 53"/>
                  <a:gd name="T78" fmla="*/ 44 w 61"/>
                  <a:gd name="T79" fmla="*/ 48 h 53"/>
                  <a:gd name="T80" fmla="*/ 44 w 61"/>
                  <a:gd name="T81" fmla="*/ 44 h 53"/>
                  <a:gd name="T82" fmla="*/ 48 w 61"/>
                  <a:gd name="T83" fmla="*/ 44 h 53"/>
                  <a:gd name="T84" fmla="*/ 48 w 61"/>
                  <a:gd name="T85" fmla="*/ 41 h 53"/>
                  <a:gd name="T86" fmla="*/ 49 w 61"/>
                  <a:gd name="T87" fmla="*/ 39 h 53"/>
                  <a:gd name="T88" fmla="*/ 53 w 61"/>
                  <a:gd name="T89" fmla="*/ 39 h 53"/>
                  <a:gd name="T90" fmla="*/ 51 w 61"/>
                  <a:gd name="T91" fmla="*/ 37 h 53"/>
                  <a:gd name="T92" fmla="*/ 51 w 61"/>
                  <a:gd name="T93" fmla="*/ 34 h 53"/>
                  <a:gd name="T94" fmla="*/ 54 w 61"/>
                  <a:gd name="T95" fmla="*/ 34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1" h="53">
                    <a:moveTo>
                      <a:pt x="56" y="34"/>
                    </a:moveTo>
                    <a:lnTo>
                      <a:pt x="56" y="32"/>
                    </a:lnTo>
                    <a:lnTo>
                      <a:pt x="56" y="31"/>
                    </a:lnTo>
                    <a:lnTo>
                      <a:pt x="56" y="29"/>
                    </a:lnTo>
                    <a:lnTo>
                      <a:pt x="54" y="27"/>
                    </a:lnTo>
                    <a:lnTo>
                      <a:pt x="54" y="26"/>
                    </a:lnTo>
                    <a:lnTo>
                      <a:pt x="56" y="26"/>
                    </a:lnTo>
                    <a:lnTo>
                      <a:pt x="56" y="27"/>
                    </a:lnTo>
                    <a:lnTo>
                      <a:pt x="58" y="27"/>
                    </a:lnTo>
                    <a:lnTo>
                      <a:pt x="59" y="26"/>
                    </a:lnTo>
                    <a:lnTo>
                      <a:pt x="61" y="26"/>
                    </a:lnTo>
                    <a:lnTo>
                      <a:pt x="61" y="24"/>
                    </a:lnTo>
                    <a:lnTo>
                      <a:pt x="59" y="24"/>
                    </a:lnTo>
                    <a:lnTo>
                      <a:pt x="58" y="24"/>
                    </a:lnTo>
                    <a:lnTo>
                      <a:pt x="56" y="21"/>
                    </a:lnTo>
                    <a:lnTo>
                      <a:pt x="54" y="19"/>
                    </a:lnTo>
                    <a:lnTo>
                      <a:pt x="53" y="17"/>
                    </a:lnTo>
                    <a:lnTo>
                      <a:pt x="53" y="14"/>
                    </a:lnTo>
                    <a:lnTo>
                      <a:pt x="53" y="12"/>
                    </a:lnTo>
                    <a:lnTo>
                      <a:pt x="54" y="11"/>
                    </a:lnTo>
                    <a:lnTo>
                      <a:pt x="56" y="7"/>
                    </a:lnTo>
                    <a:lnTo>
                      <a:pt x="53" y="7"/>
                    </a:lnTo>
                    <a:lnTo>
                      <a:pt x="49" y="7"/>
                    </a:lnTo>
                    <a:lnTo>
                      <a:pt x="46" y="5"/>
                    </a:lnTo>
                    <a:lnTo>
                      <a:pt x="44" y="4"/>
                    </a:lnTo>
                    <a:lnTo>
                      <a:pt x="43" y="2"/>
                    </a:lnTo>
                    <a:lnTo>
                      <a:pt x="39" y="4"/>
                    </a:lnTo>
                    <a:lnTo>
                      <a:pt x="36" y="2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3" y="4"/>
                    </a:lnTo>
                    <a:lnTo>
                      <a:pt x="31" y="4"/>
                    </a:lnTo>
                    <a:lnTo>
                      <a:pt x="29" y="2"/>
                    </a:lnTo>
                    <a:lnTo>
                      <a:pt x="27" y="2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4" y="2"/>
                    </a:lnTo>
                    <a:lnTo>
                      <a:pt x="21" y="2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2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9" y="7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1"/>
                    </a:lnTo>
                    <a:lnTo>
                      <a:pt x="9" y="21"/>
                    </a:lnTo>
                    <a:lnTo>
                      <a:pt x="14" y="26"/>
                    </a:lnTo>
                    <a:lnTo>
                      <a:pt x="21" y="32"/>
                    </a:lnTo>
                    <a:lnTo>
                      <a:pt x="21" y="34"/>
                    </a:lnTo>
                    <a:lnTo>
                      <a:pt x="22" y="34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6" y="37"/>
                    </a:lnTo>
                    <a:lnTo>
                      <a:pt x="27" y="41"/>
                    </a:lnTo>
                    <a:lnTo>
                      <a:pt x="29" y="43"/>
                    </a:lnTo>
                    <a:lnTo>
                      <a:pt x="31" y="43"/>
                    </a:lnTo>
                    <a:lnTo>
                      <a:pt x="31" y="44"/>
                    </a:lnTo>
                    <a:lnTo>
                      <a:pt x="29" y="44"/>
                    </a:lnTo>
                    <a:lnTo>
                      <a:pt x="29" y="46"/>
                    </a:lnTo>
                    <a:lnTo>
                      <a:pt x="31" y="46"/>
                    </a:lnTo>
                    <a:lnTo>
                      <a:pt x="33" y="44"/>
                    </a:lnTo>
                    <a:lnTo>
                      <a:pt x="36" y="48"/>
                    </a:lnTo>
                    <a:lnTo>
                      <a:pt x="39" y="49"/>
                    </a:lnTo>
                    <a:lnTo>
                      <a:pt x="43" y="53"/>
                    </a:lnTo>
                    <a:lnTo>
                      <a:pt x="44" y="53"/>
                    </a:lnTo>
                    <a:lnTo>
                      <a:pt x="46" y="49"/>
                    </a:lnTo>
                    <a:lnTo>
                      <a:pt x="46" y="48"/>
                    </a:lnTo>
                    <a:lnTo>
                      <a:pt x="44" y="48"/>
                    </a:lnTo>
                    <a:lnTo>
                      <a:pt x="44" y="46"/>
                    </a:lnTo>
                    <a:lnTo>
                      <a:pt x="44" y="44"/>
                    </a:lnTo>
                    <a:lnTo>
                      <a:pt x="46" y="44"/>
                    </a:lnTo>
                    <a:lnTo>
                      <a:pt x="48" y="44"/>
                    </a:lnTo>
                    <a:lnTo>
                      <a:pt x="48" y="43"/>
                    </a:lnTo>
                    <a:lnTo>
                      <a:pt x="48" y="41"/>
                    </a:lnTo>
                    <a:lnTo>
                      <a:pt x="48" y="39"/>
                    </a:lnTo>
                    <a:lnTo>
                      <a:pt x="49" y="39"/>
                    </a:lnTo>
                    <a:lnTo>
                      <a:pt x="51" y="39"/>
                    </a:lnTo>
                    <a:lnTo>
                      <a:pt x="53" y="39"/>
                    </a:lnTo>
                    <a:lnTo>
                      <a:pt x="53" y="37"/>
                    </a:lnTo>
                    <a:lnTo>
                      <a:pt x="51" y="37"/>
                    </a:lnTo>
                    <a:lnTo>
                      <a:pt x="51" y="36"/>
                    </a:lnTo>
                    <a:lnTo>
                      <a:pt x="51" y="34"/>
                    </a:lnTo>
                    <a:lnTo>
                      <a:pt x="53" y="34"/>
                    </a:lnTo>
                    <a:lnTo>
                      <a:pt x="54" y="34"/>
                    </a:lnTo>
                    <a:lnTo>
                      <a:pt x="56" y="34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42" name="Group 1641">
              <a:extLst>
                <a:ext uri="{FF2B5EF4-FFF2-40B4-BE49-F238E27FC236}">
                  <a16:creationId xmlns:a16="http://schemas.microsoft.com/office/drawing/2014/main" id="{8F7C4AD4-12BA-AD4F-AFFD-C9AA48F48A8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" y="618"/>
              <a:ext cx="100" cy="54"/>
              <a:chOff x="509" y="618"/>
              <a:chExt cx="100" cy="54"/>
            </a:xfrm>
          </p:grpSpPr>
          <p:sp>
            <p:nvSpPr>
              <p:cNvPr id="2010" name="Freeform 384">
                <a:extLst>
                  <a:ext uri="{FF2B5EF4-FFF2-40B4-BE49-F238E27FC236}">
                    <a16:creationId xmlns:a16="http://schemas.microsoft.com/office/drawing/2014/main" id="{81404DFD-F41E-7A41-B4F1-392B449149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" y="618"/>
                <a:ext cx="100" cy="54"/>
              </a:xfrm>
              <a:custGeom>
                <a:avLst/>
                <a:gdLst>
                  <a:gd name="T0" fmla="*/ 9 w 100"/>
                  <a:gd name="T1" fmla="*/ 41 h 54"/>
                  <a:gd name="T2" fmla="*/ 2 w 100"/>
                  <a:gd name="T3" fmla="*/ 29 h 54"/>
                  <a:gd name="T4" fmla="*/ 9 w 100"/>
                  <a:gd name="T5" fmla="*/ 21 h 54"/>
                  <a:gd name="T6" fmla="*/ 2 w 100"/>
                  <a:gd name="T7" fmla="*/ 12 h 54"/>
                  <a:gd name="T8" fmla="*/ 2 w 100"/>
                  <a:gd name="T9" fmla="*/ 2 h 54"/>
                  <a:gd name="T10" fmla="*/ 10 w 100"/>
                  <a:gd name="T11" fmla="*/ 0 h 54"/>
                  <a:gd name="T12" fmla="*/ 12 w 100"/>
                  <a:gd name="T13" fmla="*/ 7 h 54"/>
                  <a:gd name="T14" fmla="*/ 26 w 100"/>
                  <a:gd name="T15" fmla="*/ 7 h 54"/>
                  <a:gd name="T16" fmla="*/ 42 w 100"/>
                  <a:gd name="T17" fmla="*/ 9 h 54"/>
                  <a:gd name="T18" fmla="*/ 54 w 100"/>
                  <a:gd name="T19" fmla="*/ 9 h 54"/>
                  <a:gd name="T20" fmla="*/ 66 w 100"/>
                  <a:gd name="T21" fmla="*/ 4 h 54"/>
                  <a:gd name="T22" fmla="*/ 78 w 100"/>
                  <a:gd name="T23" fmla="*/ 0 h 54"/>
                  <a:gd name="T24" fmla="*/ 88 w 100"/>
                  <a:gd name="T25" fmla="*/ 4 h 54"/>
                  <a:gd name="T26" fmla="*/ 100 w 100"/>
                  <a:gd name="T27" fmla="*/ 7 h 54"/>
                  <a:gd name="T28" fmla="*/ 96 w 100"/>
                  <a:gd name="T29" fmla="*/ 14 h 54"/>
                  <a:gd name="T30" fmla="*/ 88 w 100"/>
                  <a:gd name="T31" fmla="*/ 19 h 54"/>
                  <a:gd name="T32" fmla="*/ 88 w 100"/>
                  <a:gd name="T33" fmla="*/ 27 h 54"/>
                  <a:gd name="T34" fmla="*/ 85 w 100"/>
                  <a:gd name="T35" fmla="*/ 29 h 54"/>
                  <a:gd name="T36" fmla="*/ 81 w 100"/>
                  <a:gd name="T37" fmla="*/ 31 h 54"/>
                  <a:gd name="T38" fmla="*/ 85 w 100"/>
                  <a:gd name="T39" fmla="*/ 32 h 54"/>
                  <a:gd name="T40" fmla="*/ 86 w 100"/>
                  <a:gd name="T41" fmla="*/ 37 h 54"/>
                  <a:gd name="T42" fmla="*/ 90 w 100"/>
                  <a:gd name="T43" fmla="*/ 41 h 54"/>
                  <a:gd name="T44" fmla="*/ 88 w 100"/>
                  <a:gd name="T45" fmla="*/ 42 h 54"/>
                  <a:gd name="T46" fmla="*/ 76 w 100"/>
                  <a:gd name="T47" fmla="*/ 41 h 54"/>
                  <a:gd name="T48" fmla="*/ 66 w 100"/>
                  <a:gd name="T49" fmla="*/ 42 h 54"/>
                  <a:gd name="T50" fmla="*/ 63 w 100"/>
                  <a:gd name="T51" fmla="*/ 44 h 54"/>
                  <a:gd name="T52" fmla="*/ 59 w 100"/>
                  <a:gd name="T53" fmla="*/ 51 h 54"/>
                  <a:gd name="T54" fmla="*/ 49 w 100"/>
                  <a:gd name="T55" fmla="*/ 54 h 54"/>
                  <a:gd name="T56" fmla="*/ 39 w 100"/>
                  <a:gd name="T57" fmla="*/ 51 h 54"/>
                  <a:gd name="T58" fmla="*/ 34 w 100"/>
                  <a:gd name="T59" fmla="*/ 49 h 54"/>
                  <a:gd name="T60" fmla="*/ 26 w 100"/>
                  <a:gd name="T61" fmla="*/ 51 h 54"/>
                  <a:gd name="T62" fmla="*/ 14 w 100"/>
                  <a:gd name="T63" fmla="*/ 53 h 54"/>
                  <a:gd name="T64" fmla="*/ 10 w 100"/>
                  <a:gd name="T65" fmla="*/ 4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0" h="54">
                    <a:moveTo>
                      <a:pt x="10" y="48"/>
                    </a:moveTo>
                    <a:lnTo>
                      <a:pt x="9" y="41"/>
                    </a:lnTo>
                    <a:lnTo>
                      <a:pt x="2" y="36"/>
                    </a:lnTo>
                    <a:lnTo>
                      <a:pt x="2" y="29"/>
                    </a:lnTo>
                    <a:lnTo>
                      <a:pt x="5" y="24"/>
                    </a:lnTo>
                    <a:lnTo>
                      <a:pt x="9" y="21"/>
                    </a:lnTo>
                    <a:lnTo>
                      <a:pt x="4" y="15"/>
                    </a:lnTo>
                    <a:lnTo>
                      <a:pt x="2" y="12"/>
                    </a:ln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9" y="4"/>
                    </a:lnTo>
                    <a:lnTo>
                      <a:pt x="12" y="7"/>
                    </a:lnTo>
                    <a:lnTo>
                      <a:pt x="15" y="7"/>
                    </a:lnTo>
                    <a:lnTo>
                      <a:pt x="26" y="7"/>
                    </a:lnTo>
                    <a:lnTo>
                      <a:pt x="37" y="7"/>
                    </a:lnTo>
                    <a:lnTo>
                      <a:pt x="42" y="9"/>
                    </a:lnTo>
                    <a:lnTo>
                      <a:pt x="49" y="10"/>
                    </a:lnTo>
                    <a:lnTo>
                      <a:pt x="54" y="9"/>
                    </a:lnTo>
                    <a:lnTo>
                      <a:pt x="59" y="5"/>
                    </a:lnTo>
                    <a:lnTo>
                      <a:pt x="66" y="4"/>
                    </a:lnTo>
                    <a:lnTo>
                      <a:pt x="73" y="0"/>
                    </a:lnTo>
                    <a:lnTo>
                      <a:pt x="78" y="0"/>
                    </a:lnTo>
                    <a:lnTo>
                      <a:pt x="80" y="2"/>
                    </a:lnTo>
                    <a:lnTo>
                      <a:pt x="88" y="4"/>
                    </a:lnTo>
                    <a:lnTo>
                      <a:pt x="95" y="9"/>
                    </a:lnTo>
                    <a:lnTo>
                      <a:pt x="100" y="7"/>
                    </a:lnTo>
                    <a:lnTo>
                      <a:pt x="98" y="12"/>
                    </a:lnTo>
                    <a:lnTo>
                      <a:pt x="96" y="14"/>
                    </a:lnTo>
                    <a:lnTo>
                      <a:pt x="91" y="15"/>
                    </a:lnTo>
                    <a:lnTo>
                      <a:pt x="88" y="19"/>
                    </a:lnTo>
                    <a:lnTo>
                      <a:pt x="88" y="22"/>
                    </a:lnTo>
                    <a:lnTo>
                      <a:pt x="88" y="27"/>
                    </a:lnTo>
                    <a:lnTo>
                      <a:pt x="86" y="27"/>
                    </a:lnTo>
                    <a:lnTo>
                      <a:pt x="85" y="29"/>
                    </a:lnTo>
                    <a:lnTo>
                      <a:pt x="83" y="31"/>
                    </a:lnTo>
                    <a:lnTo>
                      <a:pt x="81" y="31"/>
                    </a:lnTo>
                    <a:lnTo>
                      <a:pt x="83" y="32"/>
                    </a:lnTo>
                    <a:lnTo>
                      <a:pt x="85" y="32"/>
                    </a:lnTo>
                    <a:lnTo>
                      <a:pt x="85" y="34"/>
                    </a:lnTo>
                    <a:lnTo>
                      <a:pt x="86" y="37"/>
                    </a:lnTo>
                    <a:lnTo>
                      <a:pt x="88" y="39"/>
                    </a:lnTo>
                    <a:lnTo>
                      <a:pt x="90" y="41"/>
                    </a:lnTo>
                    <a:lnTo>
                      <a:pt x="90" y="42"/>
                    </a:lnTo>
                    <a:lnTo>
                      <a:pt x="88" y="42"/>
                    </a:lnTo>
                    <a:lnTo>
                      <a:pt x="81" y="42"/>
                    </a:lnTo>
                    <a:lnTo>
                      <a:pt x="76" y="41"/>
                    </a:lnTo>
                    <a:lnTo>
                      <a:pt x="69" y="42"/>
                    </a:lnTo>
                    <a:lnTo>
                      <a:pt x="66" y="42"/>
                    </a:lnTo>
                    <a:lnTo>
                      <a:pt x="64" y="44"/>
                    </a:lnTo>
                    <a:lnTo>
                      <a:pt x="63" y="44"/>
                    </a:lnTo>
                    <a:lnTo>
                      <a:pt x="59" y="46"/>
                    </a:lnTo>
                    <a:lnTo>
                      <a:pt x="59" y="51"/>
                    </a:lnTo>
                    <a:lnTo>
                      <a:pt x="56" y="53"/>
                    </a:lnTo>
                    <a:lnTo>
                      <a:pt x="49" y="54"/>
                    </a:lnTo>
                    <a:lnTo>
                      <a:pt x="44" y="53"/>
                    </a:lnTo>
                    <a:lnTo>
                      <a:pt x="39" y="51"/>
                    </a:lnTo>
                    <a:lnTo>
                      <a:pt x="37" y="49"/>
                    </a:lnTo>
                    <a:lnTo>
                      <a:pt x="34" y="49"/>
                    </a:lnTo>
                    <a:lnTo>
                      <a:pt x="31" y="49"/>
                    </a:lnTo>
                    <a:lnTo>
                      <a:pt x="26" y="51"/>
                    </a:lnTo>
                    <a:lnTo>
                      <a:pt x="19" y="51"/>
                    </a:lnTo>
                    <a:lnTo>
                      <a:pt x="14" y="53"/>
                    </a:lnTo>
                    <a:lnTo>
                      <a:pt x="10" y="53"/>
                    </a:lnTo>
                    <a:lnTo>
                      <a:pt x="10" y="48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011" name="Freeform 385">
                <a:extLst>
                  <a:ext uri="{FF2B5EF4-FFF2-40B4-BE49-F238E27FC236}">
                    <a16:creationId xmlns:a16="http://schemas.microsoft.com/office/drawing/2014/main" id="{1FF002FC-DFCD-3444-A3A6-5CD6F43D93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" y="618"/>
                <a:ext cx="100" cy="54"/>
              </a:xfrm>
              <a:custGeom>
                <a:avLst/>
                <a:gdLst>
                  <a:gd name="T0" fmla="*/ 9 w 100"/>
                  <a:gd name="T1" fmla="*/ 41 h 54"/>
                  <a:gd name="T2" fmla="*/ 2 w 100"/>
                  <a:gd name="T3" fmla="*/ 29 h 54"/>
                  <a:gd name="T4" fmla="*/ 9 w 100"/>
                  <a:gd name="T5" fmla="*/ 21 h 54"/>
                  <a:gd name="T6" fmla="*/ 2 w 100"/>
                  <a:gd name="T7" fmla="*/ 12 h 54"/>
                  <a:gd name="T8" fmla="*/ 2 w 100"/>
                  <a:gd name="T9" fmla="*/ 2 h 54"/>
                  <a:gd name="T10" fmla="*/ 10 w 100"/>
                  <a:gd name="T11" fmla="*/ 0 h 54"/>
                  <a:gd name="T12" fmla="*/ 12 w 100"/>
                  <a:gd name="T13" fmla="*/ 7 h 54"/>
                  <a:gd name="T14" fmla="*/ 26 w 100"/>
                  <a:gd name="T15" fmla="*/ 7 h 54"/>
                  <a:gd name="T16" fmla="*/ 42 w 100"/>
                  <a:gd name="T17" fmla="*/ 9 h 54"/>
                  <a:gd name="T18" fmla="*/ 54 w 100"/>
                  <a:gd name="T19" fmla="*/ 9 h 54"/>
                  <a:gd name="T20" fmla="*/ 66 w 100"/>
                  <a:gd name="T21" fmla="*/ 4 h 54"/>
                  <a:gd name="T22" fmla="*/ 78 w 100"/>
                  <a:gd name="T23" fmla="*/ 0 h 54"/>
                  <a:gd name="T24" fmla="*/ 88 w 100"/>
                  <a:gd name="T25" fmla="*/ 4 h 54"/>
                  <a:gd name="T26" fmla="*/ 100 w 100"/>
                  <a:gd name="T27" fmla="*/ 7 h 54"/>
                  <a:gd name="T28" fmla="*/ 96 w 100"/>
                  <a:gd name="T29" fmla="*/ 14 h 54"/>
                  <a:gd name="T30" fmla="*/ 88 w 100"/>
                  <a:gd name="T31" fmla="*/ 19 h 54"/>
                  <a:gd name="T32" fmla="*/ 88 w 100"/>
                  <a:gd name="T33" fmla="*/ 27 h 54"/>
                  <a:gd name="T34" fmla="*/ 85 w 100"/>
                  <a:gd name="T35" fmla="*/ 29 h 54"/>
                  <a:gd name="T36" fmla="*/ 81 w 100"/>
                  <a:gd name="T37" fmla="*/ 31 h 54"/>
                  <a:gd name="T38" fmla="*/ 85 w 100"/>
                  <a:gd name="T39" fmla="*/ 32 h 54"/>
                  <a:gd name="T40" fmla="*/ 86 w 100"/>
                  <a:gd name="T41" fmla="*/ 37 h 54"/>
                  <a:gd name="T42" fmla="*/ 90 w 100"/>
                  <a:gd name="T43" fmla="*/ 41 h 54"/>
                  <a:gd name="T44" fmla="*/ 88 w 100"/>
                  <a:gd name="T45" fmla="*/ 42 h 54"/>
                  <a:gd name="T46" fmla="*/ 76 w 100"/>
                  <a:gd name="T47" fmla="*/ 41 h 54"/>
                  <a:gd name="T48" fmla="*/ 66 w 100"/>
                  <a:gd name="T49" fmla="*/ 42 h 54"/>
                  <a:gd name="T50" fmla="*/ 63 w 100"/>
                  <a:gd name="T51" fmla="*/ 44 h 54"/>
                  <a:gd name="T52" fmla="*/ 59 w 100"/>
                  <a:gd name="T53" fmla="*/ 51 h 54"/>
                  <a:gd name="T54" fmla="*/ 49 w 100"/>
                  <a:gd name="T55" fmla="*/ 54 h 54"/>
                  <a:gd name="T56" fmla="*/ 39 w 100"/>
                  <a:gd name="T57" fmla="*/ 51 h 54"/>
                  <a:gd name="T58" fmla="*/ 34 w 100"/>
                  <a:gd name="T59" fmla="*/ 49 h 54"/>
                  <a:gd name="T60" fmla="*/ 26 w 100"/>
                  <a:gd name="T61" fmla="*/ 51 h 54"/>
                  <a:gd name="T62" fmla="*/ 14 w 100"/>
                  <a:gd name="T63" fmla="*/ 53 h 54"/>
                  <a:gd name="T64" fmla="*/ 10 w 100"/>
                  <a:gd name="T65" fmla="*/ 4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0" h="54">
                    <a:moveTo>
                      <a:pt x="10" y="48"/>
                    </a:moveTo>
                    <a:lnTo>
                      <a:pt x="9" y="41"/>
                    </a:lnTo>
                    <a:lnTo>
                      <a:pt x="2" y="36"/>
                    </a:lnTo>
                    <a:lnTo>
                      <a:pt x="2" y="29"/>
                    </a:lnTo>
                    <a:lnTo>
                      <a:pt x="5" y="24"/>
                    </a:lnTo>
                    <a:lnTo>
                      <a:pt x="9" y="21"/>
                    </a:lnTo>
                    <a:lnTo>
                      <a:pt x="4" y="15"/>
                    </a:lnTo>
                    <a:lnTo>
                      <a:pt x="2" y="12"/>
                    </a:ln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9" y="4"/>
                    </a:lnTo>
                    <a:lnTo>
                      <a:pt x="12" y="7"/>
                    </a:lnTo>
                    <a:lnTo>
                      <a:pt x="15" y="7"/>
                    </a:lnTo>
                    <a:lnTo>
                      <a:pt x="26" y="7"/>
                    </a:lnTo>
                    <a:lnTo>
                      <a:pt x="37" y="7"/>
                    </a:lnTo>
                    <a:lnTo>
                      <a:pt x="42" y="9"/>
                    </a:lnTo>
                    <a:lnTo>
                      <a:pt x="49" y="10"/>
                    </a:lnTo>
                    <a:lnTo>
                      <a:pt x="54" y="9"/>
                    </a:lnTo>
                    <a:lnTo>
                      <a:pt x="59" y="5"/>
                    </a:lnTo>
                    <a:lnTo>
                      <a:pt x="66" y="4"/>
                    </a:lnTo>
                    <a:lnTo>
                      <a:pt x="73" y="0"/>
                    </a:lnTo>
                    <a:lnTo>
                      <a:pt x="78" y="0"/>
                    </a:lnTo>
                    <a:lnTo>
                      <a:pt x="80" y="2"/>
                    </a:lnTo>
                    <a:lnTo>
                      <a:pt x="88" y="4"/>
                    </a:lnTo>
                    <a:lnTo>
                      <a:pt x="95" y="9"/>
                    </a:lnTo>
                    <a:lnTo>
                      <a:pt x="100" y="7"/>
                    </a:lnTo>
                    <a:lnTo>
                      <a:pt x="98" y="12"/>
                    </a:lnTo>
                    <a:lnTo>
                      <a:pt x="96" y="14"/>
                    </a:lnTo>
                    <a:lnTo>
                      <a:pt x="91" y="15"/>
                    </a:lnTo>
                    <a:lnTo>
                      <a:pt x="88" y="19"/>
                    </a:lnTo>
                    <a:lnTo>
                      <a:pt x="88" y="22"/>
                    </a:lnTo>
                    <a:lnTo>
                      <a:pt x="88" y="27"/>
                    </a:lnTo>
                    <a:lnTo>
                      <a:pt x="86" y="27"/>
                    </a:lnTo>
                    <a:lnTo>
                      <a:pt x="85" y="29"/>
                    </a:lnTo>
                    <a:lnTo>
                      <a:pt x="83" y="31"/>
                    </a:lnTo>
                    <a:lnTo>
                      <a:pt x="81" y="31"/>
                    </a:lnTo>
                    <a:lnTo>
                      <a:pt x="83" y="32"/>
                    </a:lnTo>
                    <a:lnTo>
                      <a:pt x="85" y="32"/>
                    </a:lnTo>
                    <a:lnTo>
                      <a:pt x="85" y="34"/>
                    </a:lnTo>
                    <a:lnTo>
                      <a:pt x="86" y="37"/>
                    </a:lnTo>
                    <a:lnTo>
                      <a:pt x="88" y="39"/>
                    </a:lnTo>
                    <a:lnTo>
                      <a:pt x="90" y="41"/>
                    </a:lnTo>
                    <a:lnTo>
                      <a:pt x="90" y="42"/>
                    </a:lnTo>
                    <a:lnTo>
                      <a:pt x="88" y="42"/>
                    </a:lnTo>
                    <a:lnTo>
                      <a:pt x="81" y="42"/>
                    </a:lnTo>
                    <a:lnTo>
                      <a:pt x="76" y="41"/>
                    </a:lnTo>
                    <a:lnTo>
                      <a:pt x="69" y="42"/>
                    </a:lnTo>
                    <a:lnTo>
                      <a:pt x="66" y="42"/>
                    </a:lnTo>
                    <a:lnTo>
                      <a:pt x="64" y="44"/>
                    </a:lnTo>
                    <a:lnTo>
                      <a:pt x="63" y="44"/>
                    </a:lnTo>
                    <a:lnTo>
                      <a:pt x="59" y="46"/>
                    </a:lnTo>
                    <a:lnTo>
                      <a:pt x="59" y="51"/>
                    </a:lnTo>
                    <a:lnTo>
                      <a:pt x="56" y="53"/>
                    </a:lnTo>
                    <a:lnTo>
                      <a:pt x="49" y="54"/>
                    </a:lnTo>
                    <a:lnTo>
                      <a:pt x="44" y="53"/>
                    </a:lnTo>
                    <a:lnTo>
                      <a:pt x="39" y="51"/>
                    </a:lnTo>
                    <a:lnTo>
                      <a:pt x="37" y="49"/>
                    </a:lnTo>
                    <a:lnTo>
                      <a:pt x="34" y="49"/>
                    </a:lnTo>
                    <a:lnTo>
                      <a:pt x="31" y="49"/>
                    </a:lnTo>
                    <a:lnTo>
                      <a:pt x="26" y="51"/>
                    </a:lnTo>
                    <a:lnTo>
                      <a:pt x="19" y="51"/>
                    </a:lnTo>
                    <a:lnTo>
                      <a:pt x="14" y="53"/>
                    </a:lnTo>
                    <a:lnTo>
                      <a:pt x="10" y="53"/>
                    </a:lnTo>
                    <a:lnTo>
                      <a:pt x="10" y="48"/>
                    </a:lnTo>
                    <a:close/>
                  </a:path>
                </a:pathLst>
              </a:custGeom>
              <a:solidFill>
                <a:srgbClr val="EB1562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43" name="Group 1642">
              <a:extLst>
                <a:ext uri="{FF2B5EF4-FFF2-40B4-BE49-F238E27FC236}">
                  <a16:creationId xmlns:a16="http://schemas.microsoft.com/office/drawing/2014/main" id="{28F5AB00-69E0-DA4E-99BD-11A40E82FD3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1" y="573"/>
              <a:ext cx="94" cy="77"/>
              <a:chOff x="371" y="573"/>
              <a:chExt cx="94" cy="77"/>
            </a:xfrm>
          </p:grpSpPr>
          <p:sp>
            <p:nvSpPr>
              <p:cNvPr id="2008" name="Freeform 382">
                <a:extLst>
                  <a:ext uri="{FF2B5EF4-FFF2-40B4-BE49-F238E27FC236}">
                    <a16:creationId xmlns:a16="http://schemas.microsoft.com/office/drawing/2014/main" id="{5F75F549-4294-914E-8662-A9417FC37F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" y="573"/>
                <a:ext cx="94" cy="77"/>
              </a:xfrm>
              <a:custGeom>
                <a:avLst/>
                <a:gdLst>
                  <a:gd name="T0" fmla="*/ 93 w 94"/>
                  <a:gd name="T1" fmla="*/ 25 h 77"/>
                  <a:gd name="T2" fmla="*/ 86 w 94"/>
                  <a:gd name="T3" fmla="*/ 20 h 77"/>
                  <a:gd name="T4" fmla="*/ 84 w 94"/>
                  <a:gd name="T5" fmla="*/ 18 h 77"/>
                  <a:gd name="T6" fmla="*/ 84 w 94"/>
                  <a:gd name="T7" fmla="*/ 10 h 77"/>
                  <a:gd name="T8" fmla="*/ 74 w 94"/>
                  <a:gd name="T9" fmla="*/ 13 h 77"/>
                  <a:gd name="T10" fmla="*/ 62 w 94"/>
                  <a:gd name="T11" fmla="*/ 10 h 77"/>
                  <a:gd name="T12" fmla="*/ 52 w 94"/>
                  <a:gd name="T13" fmla="*/ 1 h 77"/>
                  <a:gd name="T14" fmla="*/ 46 w 94"/>
                  <a:gd name="T15" fmla="*/ 0 h 77"/>
                  <a:gd name="T16" fmla="*/ 42 w 94"/>
                  <a:gd name="T17" fmla="*/ 1 h 77"/>
                  <a:gd name="T18" fmla="*/ 39 w 94"/>
                  <a:gd name="T19" fmla="*/ 3 h 77"/>
                  <a:gd name="T20" fmla="*/ 32 w 94"/>
                  <a:gd name="T21" fmla="*/ 8 h 77"/>
                  <a:gd name="T22" fmla="*/ 34 w 94"/>
                  <a:gd name="T23" fmla="*/ 12 h 77"/>
                  <a:gd name="T24" fmla="*/ 30 w 94"/>
                  <a:gd name="T25" fmla="*/ 15 h 77"/>
                  <a:gd name="T26" fmla="*/ 29 w 94"/>
                  <a:gd name="T27" fmla="*/ 17 h 77"/>
                  <a:gd name="T28" fmla="*/ 27 w 94"/>
                  <a:gd name="T29" fmla="*/ 20 h 77"/>
                  <a:gd name="T30" fmla="*/ 24 w 94"/>
                  <a:gd name="T31" fmla="*/ 18 h 77"/>
                  <a:gd name="T32" fmla="*/ 22 w 94"/>
                  <a:gd name="T33" fmla="*/ 18 h 77"/>
                  <a:gd name="T34" fmla="*/ 19 w 94"/>
                  <a:gd name="T35" fmla="*/ 18 h 77"/>
                  <a:gd name="T36" fmla="*/ 15 w 94"/>
                  <a:gd name="T37" fmla="*/ 20 h 77"/>
                  <a:gd name="T38" fmla="*/ 12 w 94"/>
                  <a:gd name="T39" fmla="*/ 22 h 77"/>
                  <a:gd name="T40" fmla="*/ 8 w 94"/>
                  <a:gd name="T41" fmla="*/ 20 h 77"/>
                  <a:gd name="T42" fmla="*/ 5 w 94"/>
                  <a:gd name="T43" fmla="*/ 22 h 77"/>
                  <a:gd name="T44" fmla="*/ 2 w 94"/>
                  <a:gd name="T45" fmla="*/ 20 h 77"/>
                  <a:gd name="T46" fmla="*/ 2 w 94"/>
                  <a:gd name="T47" fmla="*/ 22 h 77"/>
                  <a:gd name="T48" fmla="*/ 5 w 94"/>
                  <a:gd name="T49" fmla="*/ 32 h 77"/>
                  <a:gd name="T50" fmla="*/ 10 w 94"/>
                  <a:gd name="T51" fmla="*/ 30 h 77"/>
                  <a:gd name="T52" fmla="*/ 17 w 94"/>
                  <a:gd name="T53" fmla="*/ 23 h 77"/>
                  <a:gd name="T54" fmla="*/ 20 w 94"/>
                  <a:gd name="T55" fmla="*/ 27 h 77"/>
                  <a:gd name="T56" fmla="*/ 22 w 94"/>
                  <a:gd name="T57" fmla="*/ 34 h 77"/>
                  <a:gd name="T58" fmla="*/ 30 w 94"/>
                  <a:gd name="T59" fmla="*/ 42 h 77"/>
                  <a:gd name="T60" fmla="*/ 27 w 94"/>
                  <a:gd name="T61" fmla="*/ 45 h 77"/>
                  <a:gd name="T62" fmla="*/ 35 w 94"/>
                  <a:gd name="T63" fmla="*/ 52 h 77"/>
                  <a:gd name="T64" fmla="*/ 39 w 94"/>
                  <a:gd name="T65" fmla="*/ 57 h 77"/>
                  <a:gd name="T66" fmla="*/ 49 w 94"/>
                  <a:gd name="T67" fmla="*/ 57 h 77"/>
                  <a:gd name="T68" fmla="*/ 61 w 94"/>
                  <a:gd name="T69" fmla="*/ 66 h 77"/>
                  <a:gd name="T70" fmla="*/ 62 w 94"/>
                  <a:gd name="T71" fmla="*/ 69 h 77"/>
                  <a:gd name="T72" fmla="*/ 56 w 94"/>
                  <a:gd name="T73" fmla="*/ 67 h 77"/>
                  <a:gd name="T74" fmla="*/ 66 w 94"/>
                  <a:gd name="T75" fmla="*/ 71 h 77"/>
                  <a:gd name="T76" fmla="*/ 74 w 94"/>
                  <a:gd name="T77" fmla="*/ 74 h 77"/>
                  <a:gd name="T78" fmla="*/ 79 w 94"/>
                  <a:gd name="T79" fmla="*/ 76 h 77"/>
                  <a:gd name="T80" fmla="*/ 71 w 94"/>
                  <a:gd name="T81" fmla="*/ 71 h 77"/>
                  <a:gd name="T82" fmla="*/ 64 w 94"/>
                  <a:gd name="T83" fmla="*/ 69 h 77"/>
                  <a:gd name="T84" fmla="*/ 66 w 94"/>
                  <a:gd name="T85" fmla="*/ 66 h 77"/>
                  <a:gd name="T86" fmla="*/ 61 w 94"/>
                  <a:gd name="T87" fmla="*/ 60 h 77"/>
                  <a:gd name="T88" fmla="*/ 59 w 94"/>
                  <a:gd name="T89" fmla="*/ 57 h 77"/>
                  <a:gd name="T90" fmla="*/ 56 w 94"/>
                  <a:gd name="T91" fmla="*/ 55 h 77"/>
                  <a:gd name="T92" fmla="*/ 39 w 94"/>
                  <a:gd name="T93" fmla="*/ 34 h 77"/>
                  <a:gd name="T94" fmla="*/ 35 w 94"/>
                  <a:gd name="T95" fmla="*/ 34 h 77"/>
                  <a:gd name="T96" fmla="*/ 35 w 94"/>
                  <a:gd name="T97" fmla="*/ 27 h 77"/>
                  <a:gd name="T98" fmla="*/ 39 w 94"/>
                  <a:gd name="T99" fmla="*/ 25 h 77"/>
                  <a:gd name="T100" fmla="*/ 46 w 94"/>
                  <a:gd name="T101" fmla="*/ 25 h 77"/>
                  <a:gd name="T102" fmla="*/ 51 w 94"/>
                  <a:gd name="T103" fmla="*/ 23 h 77"/>
                  <a:gd name="T104" fmla="*/ 56 w 94"/>
                  <a:gd name="T105" fmla="*/ 25 h 77"/>
                  <a:gd name="T106" fmla="*/ 61 w 94"/>
                  <a:gd name="T107" fmla="*/ 23 h 77"/>
                  <a:gd name="T108" fmla="*/ 66 w 94"/>
                  <a:gd name="T109" fmla="*/ 27 h 77"/>
                  <a:gd name="T110" fmla="*/ 71 w 94"/>
                  <a:gd name="T111" fmla="*/ 27 h 77"/>
                  <a:gd name="T112" fmla="*/ 78 w 94"/>
                  <a:gd name="T113" fmla="*/ 25 h 77"/>
                  <a:gd name="T114" fmla="*/ 84 w 94"/>
                  <a:gd name="T115" fmla="*/ 30 h 77"/>
                  <a:gd name="T116" fmla="*/ 88 w 94"/>
                  <a:gd name="T117" fmla="*/ 27 h 77"/>
                  <a:gd name="T118" fmla="*/ 91 w 94"/>
                  <a:gd name="T119" fmla="*/ 2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4" h="77">
                    <a:moveTo>
                      <a:pt x="93" y="25"/>
                    </a:moveTo>
                    <a:lnTo>
                      <a:pt x="94" y="25"/>
                    </a:lnTo>
                    <a:lnTo>
                      <a:pt x="93" y="25"/>
                    </a:lnTo>
                    <a:lnTo>
                      <a:pt x="89" y="23"/>
                    </a:lnTo>
                    <a:lnTo>
                      <a:pt x="86" y="23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86" y="18"/>
                    </a:lnTo>
                    <a:lnTo>
                      <a:pt x="84" y="18"/>
                    </a:lnTo>
                    <a:lnTo>
                      <a:pt x="86" y="17"/>
                    </a:lnTo>
                    <a:lnTo>
                      <a:pt x="86" y="15"/>
                    </a:lnTo>
                    <a:lnTo>
                      <a:pt x="84" y="10"/>
                    </a:lnTo>
                    <a:lnTo>
                      <a:pt x="83" y="10"/>
                    </a:lnTo>
                    <a:lnTo>
                      <a:pt x="78" y="13"/>
                    </a:lnTo>
                    <a:lnTo>
                      <a:pt x="74" y="13"/>
                    </a:lnTo>
                    <a:lnTo>
                      <a:pt x="69" y="13"/>
                    </a:lnTo>
                    <a:lnTo>
                      <a:pt x="66" y="12"/>
                    </a:lnTo>
                    <a:lnTo>
                      <a:pt x="62" y="10"/>
                    </a:lnTo>
                    <a:lnTo>
                      <a:pt x="59" y="7"/>
                    </a:lnTo>
                    <a:lnTo>
                      <a:pt x="54" y="5"/>
                    </a:lnTo>
                    <a:lnTo>
                      <a:pt x="52" y="1"/>
                    </a:lnTo>
                    <a:lnTo>
                      <a:pt x="49" y="0"/>
                    </a:lnTo>
                    <a:lnTo>
                      <a:pt x="47" y="0"/>
                    </a:lnTo>
                    <a:lnTo>
                      <a:pt x="46" y="0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42" y="1"/>
                    </a:lnTo>
                    <a:lnTo>
                      <a:pt x="42" y="3"/>
                    </a:lnTo>
                    <a:lnTo>
                      <a:pt x="41" y="3"/>
                    </a:lnTo>
                    <a:lnTo>
                      <a:pt x="39" y="3"/>
                    </a:lnTo>
                    <a:lnTo>
                      <a:pt x="37" y="3"/>
                    </a:lnTo>
                    <a:lnTo>
                      <a:pt x="32" y="7"/>
                    </a:lnTo>
                    <a:lnTo>
                      <a:pt x="32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2"/>
                    </a:lnTo>
                    <a:lnTo>
                      <a:pt x="34" y="13"/>
                    </a:lnTo>
                    <a:lnTo>
                      <a:pt x="32" y="13"/>
                    </a:lnTo>
                    <a:lnTo>
                      <a:pt x="30" y="15"/>
                    </a:lnTo>
                    <a:lnTo>
                      <a:pt x="29" y="15"/>
                    </a:lnTo>
                    <a:lnTo>
                      <a:pt x="30" y="17"/>
                    </a:lnTo>
                    <a:lnTo>
                      <a:pt x="29" y="17"/>
                    </a:lnTo>
                    <a:lnTo>
                      <a:pt x="29" y="18"/>
                    </a:lnTo>
                    <a:lnTo>
                      <a:pt x="29" y="20"/>
                    </a:lnTo>
                    <a:lnTo>
                      <a:pt x="27" y="20"/>
                    </a:lnTo>
                    <a:lnTo>
                      <a:pt x="27" y="18"/>
                    </a:lnTo>
                    <a:lnTo>
                      <a:pt x="25" y="18"/>
                    </a:lnTo>
                    <a:lnTo>
                      <a:pt x="24" y="18"/>
                    </a:lnTo>
                    <a:lnTo>
                      <a:pt x="24" y="20"/>
                    </a:lnTo>
                    <a:lnTo>
                      <a:pt x="22" y="20"/>
                    </a:lnTo>
                    <a:lnTo>
                      <a:pt x="22" y="18"/>
                    </a:lnTo>
                    <a:lnTo>
                      <a:pt x="20" y="17"/>
                    </a:lnTo>
                    <a:lnTo>
                      <a:pt x="19" y="17"/>
                    </a:lnTo>
                    <a:lnTo>
                      <a:pt x="19" y="18"/>
                    </a:lnTo>
                    <a:lnTo>
                      <a:pt x="19" y="20"/>
                    </a:lnTo>
                    <a:lnTo>
                      <a:pt x="17" y="20"/>
                    </a:lnTo>
                    <a:lnTo>
                      <a:pt x="15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2" y="22"/>
                    </a:lnTo>
                    <a:lnTo>
                      <a:pt x="12" y="20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8" y="22"/>
                    </a:lnTo>
                    <a:lnTo>
                      <a:pt x="7" y="22"/>
                    </a:lnTo>
                    <a:lnTo>
                      <a:pt x="5" y="22"/>
                    </a:lnTo>
                    <a:lnTo>
                      <a:pt x="3" y="22"/>
                    </a:lnTo>
                    <a:lnTo>
                      <a:pt x="3" y="20"/>
                    </a:lnTo>
                    <a:lnTo>
                      <a:pt x="2" y="20"/>
                    </a:lnTo>
                    <a:lnTo>
                      <a:pt x="2" y="18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2" y="25"/>
                    </a:lnTo>
                    <a:lnTo>
                      <a:pt x="3" y="27"/>
                    </a:lnTo>
                    <a:lnTo>
                      <a:pt x="5" y="32"/>
                    </a:lnTo>
                    <a:lnTo>
                      <a:pt x="7" y="32"/>
                    </a:lnTo>
                    <a:lnTo>
                      <a:pt x="8" y="32"/>
                    </a:lnTo>
                    <a:lnTo>
                      <a:pt x="10" y="30"/>
                    </a:lnTo>
                    <a:lnTo>
                      <a:pt x="12" y="27"/>
                    </a:lnTo>
                    <a:lnTo>
                      <a:pt x="14" y="23"/>
                    </a:lnTo>
                    <a:lnTo>
                      <a:pt x="17" y="23"/>
                    </a:lnTo>
                    <a:lnTo>
                      <a:pt x="19" y="25"/>
                    </a:lnTo>
                    <a:lnTo>
                      <a:pt x="19" y="27"/>
                    </a:lnTo>
                    <a:lnTo>
                      <a:pt x="20" y="27"/>
                    </a:lnTo>
                    <a:lnTo>
                      <a:pt x="22" y="27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25" y="39"/>
                    </a:lnTo>
                    <a:lnTo>
                      <a:pt x="27" y="40"/>
                    </a:lnTo>
                    <a:lnTo>
                      <a:pt x="30" y="42"/>
                    </a:lnTo>
                    <a:lnTo>
                      <a:pt x="27" y="42"/>
                    </a:lnTo>
                    <a:lnTo>
                      <a:pt x="27" y="44"/>
                    </a:lnTo>
                    <a:lnTo>
                      <a:pt x="27" y="45"/>
                    </a:lnTo>
                    <a:lnTo>
                      <a:pt x="30" y="49"/>
                    </a:lnTo>
                    <a:lnTo>
                      <a:pt x="32" y="50"/>
                    </a:lnTo>
                    <a:lnTo>
                      <a:pt x="35" y="52"/>
                    </a:lnTo>
                    <a:lnTo>
                      <a:pt x="37" y="54"/>
                    </a:lnTo>
                    <a:lnTo>
                      <a:pt x="39" y="55"/>
                    </a:lnTo>
                    <a:lnTo>
                      <a:pt x="39" y="57"/>
                    </a:lnTo>
                    <a:lnTo>
                      <a:pt x="41" y="57"/>
                    </a:lnTo>
                    <a:lnTo>
                      <a:pt x="44" y="57"/>
                    </a:lnTo>
                    <a:lnTo>
                      <a:pt x="49" y="57"/>
                    </a:lnTo>
                    <a:lnTo>
                      <a:pt x="52" y="59"/>
                    </a:lnTo>
                    <a:lnTo>
                      <a:pt x="57" y="62"/>
                    </a:lnTo>
                    <a:lnTo>
                      <a:pt x="61" y="66"/>
                    </a:lnTo>
                    <a:lnTo>
                      <a:pt x="62" y="67"/>
                    </a:lnTo>
                    <a:lnTo>
                      <a:pt x="64" y="69"/>
                    </a:lnTo>
                    <a:lnTo>
                      <a:pt x="62" y="69"/>
                    </a:lnTo>
                    <a:lnTo>
                      <a:pt x="61" y="67"/>
                    </a:lnTo>
                    <a:lnTo>
                      <a:pt x="57" y="66"/>
                    </a:lnTo>
                    <a:lnTo>
                      <a:pt x="56" y="67"/>
                    </a:lnTo>
                    <a:lnTo>
                      <a:pt x="61" y="67"/>
                    </a:lnTo>
                    <a:lnTo>
                      <a:pt x="64" y="71"/>
                    </a:lnTo>
                    <a:lnTo>
                      <a:pt x="66" y="71"/>
                    </a:lnTo>
                    <a:lnTo>
                      <a:pt x="69" y="71"/>
                    </a:lnTo>
                    <a:lnTo>
                      <a:pt x="71" y="72"/>
                    </a:lnTo>
                    <a:lnTo>
                      <a:pt x="74" y="74"/>
                    </a:lnTo>
                    <a:lnTo>
                      <a:pt x="78" y="76"/>
                    </a:lnTo>
                    <a:lnTo>
                      <a:pt x="79" y="77"/>
                    </a:lnTo>
                    <a:lnTo>
                      <a:pt x="79" y="76"/>
                    </a:lnTo>
                    <a:lnTo>
                      <a:pt x="78" y="76"/>
                    </a:lnTo>
                    <a:lnTo>
                      <a:pt x="74" y="72"/>
                    </a:lnTo>
                    <a:lnTo>
                      <a:pt x="71" y="71"/>
                    </a:lnTo>
                    <a:lnTo>
                      <a:pt x="68" y="67"/>
                    </a:lnTo>
                    <a:lnTo>
                      <a:pt x="66" y="69"/>
                    </a:lnTo>
                    <a:lnTo>
                      <a:pt x="64" y="69"/>
                    </a:lnTo>
                    <a:lnTo>
                      <a:pt x="64" y="67"/>
                    </a:lnTo>
                    <a:lnTo>
                      <a:pt x="66" y="67"/>
                    </a:lnTo>
                    <a:lnTo>
                      <a:pt x="66" y="66"/>
                    </a:lnTo>
                    <a:lnTo>
                      <a:pt x="64" y="66"/>
                    </a:lnTo>
                    <a:lnTo>
                      <a:pt x="62" y="64"/>
                    </a:lnTo>
                    <a:lnTo>
                      <a:pt x="61" y="60"/>
                    </a:lnTo>
                    <a:lnTo>
                      <a:pt x="61" y="59"/>
                    </a:lnTo>
                    <a:lnTo>
                      <a:pt x="61" y="57"/>
                    </a:lnTo>
                    <a:lnTo>
                      <a:pt x="59" y="57"/>
                    </a:lnTo>
                    <a:lnTo>
                      <a:pt x="57" y="57"/>
                    </a:lnTo>
                    <a:lnTo>
                      <a:pt x="56" y="57"/>
                    </a:lnTo>
                    <a:lnTo>
                      <a:pt x="56" y="55"/>
                    </a:lnTo>
                    <a:lnTo>
                      <a:pt x="49" y="49"/>
                    </a:lnTo>
                    <a:lnTo>
                      <a:pt x="44" y="44"/>
                    </a:lnTo>
                    <a:lnTo>
                      <a:pt x="39" y="34"/>
                    </a:lnTo>
                    <a:lnTo>
                      <a:pt x="39" y="35"/>
                    </a:lnTo>
                    <a:lnTo>
                      <a:pt x="37" y="35"/>
                    </a:lnTo>
                    <a:lnTo>
                      <a:pt x="35" y="34"/>
                    </a:lnTo>
                    <a:lnTo>
                      <a:pt x="35" y="30"/>
                    </a:lnTo>
                    <a:lnTo>
                      <a:pt x="35" y="28"/>
                    </a:lnTo>
                    <a:lnTo>
                      <a:pt x="35" y="27"/>
                    </a:lnTo>
                    <a:lnTo>
                      <a:pt x="37" y="27"/>
                    </a:lnTo>
                    <a:lnTo>
                      <a:pt x="37" y="25"/>
                    </a:lnTo>
                    <a:lnTo>
                      <a:pt x="39" y="25"/>
                    </a:lnTo>
                    <a:lnTo>
                      <a:pt x="44" y="30"/>
                    </a:lnTo>
                    <a:lnTo>
                      <a:pt x="46" y="27"/>
                    </a:lnTo>
                    <a:lnTo>
                      <a:pt x="46" y="25"/>
                    </a:lnTo>
                    <a:lnTo>
                      <a:pt x="47" y="25"/>
                    </a:lnTo>
                    <a:lnTo>
                      <a:pt x="51" y="25"/>
                    </a:lnTo>
                    <a:lnTo>
                      <a:pt x="51" y="23"/>
                    </a:lnTo>
                    <a:lnTo>
                      <a:pt x="52" y="23"/>
                    </a:lnTo>
                    <a:lnTo>
                      <a:pt x="54" y="23"/>
                    </a:lnTo>
                    <a:lnTo>
                      <a:pt x="56" y="25"/>
                    </a:lnTo>
                    <a:lnTo>
                      <a:pt x="59" y="25"/>
                    </a:lnTo>
                    <a:lnTo>
                      <a:pt x="59" y="23"/>
                    </a:lnTo>
                    <a:lnTo>
                      <a:pt x="61" y="23"/>
                    </a:lnTo>
                    <a:lnTo>
                      <a:pt x="62" y="25"/>
                    </a:lnTo>
                    <a:lnTo>
                      <a:pt x="64" y="25"/>
                    </a:lnTo>
                    <a:lnTo>
                      <a:pt x="66" y="27"/>
                    </a:lnTo>
                    <a:lnTo>
                      <a:pt x="68" y="27"/>
                    </a:lnTo>
                    <a:lnTo>
                      <a:pt x="69" y="27"/>
                    </a:lnTo>
                    <a:lnTo>
                      <a:pt x="71" y="27"/>
                    </a:lnTo>
                    <a:lnTo>
                      <a:pt x="71" y="25"/>
                    </a:lnTo>
                    <a:lnTo>
                      <a:pt x="74" y="27"/>
                    </a:lnTo>
                    <a:lnTo>
                      <a:pt x="78" y="25"/>
                    </a:lnTo>
                    <a:lnTo>
                      <a:pt x="79" y="27"/>
                    </a:lnTo>
                    <a:lnTo>
                      <a:pt x="81" y="28"/>
                    </a:lnTo>
                    <a:lnTo>
                      <a:pt x="84" y="30"/>
                    </a:lnTo>
                    <a:lnTo>
                      <a:pt x="88" y="30"/>
                    </a:lnTo>
                    <a:lnTo>
                      <a:pt x="88" y="28"/>
                    </a:lnTo>
                    <a:lnTo>
                      <a:pt x="88" y="27"/>
                    </a:lnTo>
                    <a:lnTo>
                      <a:pt x="89" y="27"/>
                    </a:lnTo>
                    <a:lnTo>
                      <a:pt x="89" y="25"/>
                    </a:lnTo>
                    <a:lnTo>
                      <a:pt x="91" y="27"/>
                    </a:lnTo>
                    <a:lnTo>
                      <a:pt x="93" y="27"/>
                    </a:lnTo>
                    <a:lnTo>
                      <a:pt x="93" y="25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009" name="Freeform 383">
                <a:extLst>
                  <a:ext uri="{FF2B5EF4-FFF2-40B4-BE49-F238E27FC236}">
                    <a16:creationId xmlns:a16="http://schemas.microsoft.com/office/drawing/2014/main" id="{48C129D0-CF8C-E14A-9C7D-168996CC33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" y="573"/>
                <a:ext cx="94" cy="77"/>
              </a:xfrm>
              <a:custGeom>
                <a:avLst/>
                <a:gdLst>
                  <a:gd name="T0" fmla="*/ 93 w 94"/>
                  <a:gd name="T1" fmla="*/ 25 h 77"/>
                  <a:gd name="T2" fmla="*/ 86 w 94"/>
                  <a:gd name="T3" fmla="*/ 20 h 77"/>
                  <a:gd name="T4" fmla="*/ 84 w 94"/>
                  <a:gd name="T5" fmla="*/ 18 h 77"/>
                  <a:gd name="T6" fmla="*/ 84 w 94"/>
                  <a:gd name="T7" fmla="*/ 10 h 77"/>
                  <a:gd name="T8" fmla="*/ 74 w 94"/>
                  <a:gd name="T9" fmla="*/ 13 h 77"/>
                  <a:gd name="T10" fmla="*/ 62 w 94"/>
                  <a:gd name="T11" fmla="*/ 10 h 77"/>
                  <a:gd name="T12" fmla="*/ 52 w 94"/>
                  <a:gd name="T13" fmla="*/ 1 h 77"/>
                  <a:gd name="T14" fmla="*/ 46 w 94"/>
                  <a:gd name="T15" fmla="*/ 0 h 77"/>
                  <a:gd name="T16" fmla="*/ 42 w 94"/>
                  <a:gd name="T17" fmla="*/ 1 h 77"/>
                  <a:gd name="T18" fmla="*/ 39 w 94"/>
                  <a:gd name="T19" fmla="*/ 3 h 77"/>
                  <a:gd name="T20" fmla="*/ 32 w 94"/>
                  <a:gd name="T21" fmla="*/ 8 h 77"/>
                  <a:gd name="T22" fmla="*/ 34 w 94"/>
                  <a:gd name="T23" fmla="*/ 12 h 77"/>
                  <a:gd name="T24" fmla="*/ 30 w 94"/>
                  <a:gd name="T25" fmla="*/ 15 h 77"/>
                  <a:gd name="T26" fmla="*/ 29 w 94"/>
                  <a:gd name="T27" fmla="*/ 17 h 77"/>
                  <a:gd name="T28" fmla="*/ 27 w 94"/>
                  <a:gd name="T29" fmla="*/ 20 h 77"/>
                  <a:gd name="T30" fmla="*/ 24 w 94"/>
                  <a:gd name="T31" fmla="*/ 18 h 77"/>
                  <a:gd name="T32" fmla="*/ 22 w 94"/>
                  <a:gd name="T33" fmla="*/ 18 h 77"/>
                  <a:gd name="T34" fmla="*/ 19 w 94"/>
                  <a:gd name="T35" fmla="*/ 18 h 77"/>
                  <a:gd name="T36" fmla="*/ 15 w 94"/>
                  <a:gd name="T37" fmla="*/ 20 h 77"/>
                  <a:gd name="T38" fmla="*/ 12 w 94"/>
                  <a:gd name="T39" fmla="*/ 22 h 77"/>
                  <a:gd name="T40" fmla="*/ 8 w 94"/>
                  <a:gd name="T41" fmla="*/ 20 h 77"/>
                  <a:gd name="T42" fmla="*/ 5 w 94"/>
                  <a:gd name="T43" fmla="*/ 22 h 77"/>
                  <a:gd name="T44" fmla="*/ 2 w 94"/>
                  <a:gd name="T45" fmla="*/ 20 h 77"/>
                  <a:gd name="T46" fmla="*/ 2 w 94"/>
                  <a:gd name="T47" fmla="*/ 22 h 77"/>
                  <a:gd name="T48" fmla="*/ 5 w 94"/>
                  <a:gd name="T49" fmla="*/ 32 h 77"/>
                  <a:gd name="T50" fmla="*/ 10 w 94"/>
                  <a:gd name="T51" fmla="*/ 30 h 77"/>
                  <a:gd name="T52" fmla="*/ 17 w 94"/>
                  <a:gd name="T53" fmla="*/ 23 h 77"/>
                  <a:gd name="T54" fmla="*/ 20 w 94"/>
                  <a:gd name="T55" fmla="*/ 27 h 77"/>
                  <a:gd name="T56" fmla="*/ 22 w 94"/>
                  <a:gd name="T57" fmla="*/ 34 h 77"/>
                  <a:gd name="T58" fmla="*/ 30 w 94"/>
                  <a:gd name="T59" fmla="*/ 42 h 77"/>
                  <a:gd name="T60" fmla="*/ 27 w 94"/>
                  <a:gd name="T61" fmla="*/ 45 h 77"/>
                  <a:gd name="T62" fmla="*/ 35 w 94"/>
                  <a:gd name="T63" fmla="*/ 52 h 77"/>
                  <a:gd name="T64" fmla="*/ 39 w 94"/>
                  <a:gd name="T65" fmla="*/ 57 h 77"/>
                  <a:gd name="T66" fmla="*/ 49 w 94"/>
                  <a:gd name="T67" fmla="*/ 57 h 77"/>
                  <a:gd name="T68" fmla="*/ 61 w 94"/>
                  <a:gd name="T69" fmla="*/ 66 h 77"/>
                  <a:gd name="T70" fmla="*/ 62 w 94"/>
                  <a:gd name="T71" fmla="*/ 69 h 77"/>
                  <a:gd name="T72" fmla="*/ 56 w 94"/>
                  <a:gd name="T73" fmla="*/ 67 h 77"/>
                  <a:gd name="T74" fmla="*/ 66 w 94"/>
                  <a:gd name="T75" fmla="*/ 71 h 77"/>
                  <a:gd name="T76" fmla="*/ 74 w 94"/>
                  <a:gd name="T77" fmla="*/ 74 h 77"/>
                  <a:gd name="T78" fmla="*/ 79 w 94"/>
                  <a:gd name="T79" fmla="*/ 76 h 77"/>
                  <a:gd name="T80" fmla="*/ 71 w 94"/>
                  <a:gd name="T81" fmla="*/ 71 h 77"/>
                  <a:gd name="T82" fmla="*/ 64 w 94"/>
                  <a:gd name="T83" fmla="*/ 69 h 77"/>
                  <a:gd name="T84" fmla="*/ 66 w 94"/>
                  <a:gd name="T85" fmla="*/ 66 h 77"/>
                  <a:gd name="T86" fmla="*/ 61 w 94"/>
                  <a:gd name="T87" fmla="*/ 60 h 77"/>
                  <a:gd name="T88" fmla="*/ 59 w 94"/>
                  <a:gd name="T89" fmla="*/ 57 h 77"/>
                  <a:gd name="T90" fmla="*/ 56 w 94"/>
                  <a:gd name="T91" fmla="*/ 55 h 77"/>
                  <a:gd name="T92" fmla="*/ 39 w 94"/>
                  <a:gd name="T93" fmla="*/ 34 h 77"/>
                  <a:gd name="T94" fmla="*/ 35 w 94"/>
                  <a:gd name="T95" fmla="*/ 34 h 77"/>
                  <a:gd name="T96" fmla="*/ 35 w 94"/>
                  <a:gd name="T97" fmla="*/ 27 h 77"/>
                  <a:gd name="T98" fmla="*/ 39 w 94"/>
                  <a:gd name="T99" fmla="*/ 25 h 77"/>
                  <a:gd name="T100" fmla="*/ 46 w 94"/>
                  <a:gd name="T101" fmla="*/ 25 h 77"/>
                  <a:gd name="T102" fmla="*/ 51 w 94"/>
                  <a:gd name="T103" fmla="*/ 23 h 77"/>
                  <a:gd name="T104" fmla="*/ 56 w 94"/>
                  <a:gd name="T105" fmla="*/ 25 h 77"/>
                  <a:gd name="T106" fmla="*/ 61 w 94"/>
                  <a:gd name="T107" fmla="*/ 23 h 77"/>
                  <a:gd name="T108" fmla="*/ 66 w 94"/>
                  <a:gd name="T109" fmla="*/ 27 h 77"/>
                  <a:gd name="T110" fmla="*/ 71 w 94"/>
                  <a:gd name="T111" fmla="*/ 27 h 77"/>
                  <a:gd name="T112" fmla="*/ 78 w 94"/>
                  <a:gd name="T113" fmla="*/ 25 h 77"/>
                  <a:gd name="T114" fmla="*/ 84 w 94"/>
                  <a:gd name="T115" fmla="*/ 30 h 77"/>
                  <a:gd name="T116" fmla="*/ 88 w 94"/>
                  <a:gd name="T117" fmla="*/ 27 h 77"/>
                  <a:gd name="T118" fmla="*/ 91 w 94"/>
                  <a:gd name="T119" fmla="*/ 2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4" h="77">
                    <a:moveTo>
                      <a:pt x="93" y="25"/>
                    </a:moveTo>
                    <a:lnTo>
                      <a:pt x="94" y="25"/>
                    </a:lnTo>
                    <a:lnTo>
                      <a:pt x="93" y="25"/>
                    </a:lnTo>
                    <a:lnTo>
                      <a:pt x="89" y="23"/>
                    </a:lnTo>
                    <a:lnTo>
                      <a:pt x="86" y="23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86" y="18"/>
                    </a:lnTo>
                    <a:lnTo>
                      <a:pt x="84" y="18"/>
                    </a:lnTo>
                    <a:lnTo>
                      <a:pt x="86" y="17"/>
                    </a:lnTo>
                    <a:lnTo>
                      <a:pt x="86" y="15"/>
                    </a:lnTo>
                    <a:lnTo>
                      <a:pt x="84" y="10"/>
                    </a:lnTo>
                    <a:lnTo>
                      <a:pt x="83" y="10"/>
                    </a:lnTo>
                    <a:lnTo>
                      <a:pt x="78" y="13"/>
                    </a:lnTo>
                    <a:lnTo>
                      <a:pt x="74" y="13"/>
                    </a:lnTo>
                    <a:lnTo>
                      <a:pt x="69" y="13"/>
                    </a:lnTo>
                    <a:lnTo>
                      <a:pt x="66" y="12"/>
                    </a:lnTo>
                    <a:lnTo>
                      <a:pt x="62" y="10"/>
                    </a:lnTo>
                    <a:lnTo>
                      <a:pt x="59" y="7"/>
                    </a:lnTo>
                    <a:lnTo>
                      <a:pt x="54" y="5"/>
                    </a:lnTo>
                    <a:lnTo>
                      <a:pt x="52" y="1"/>
                    </a:lnTo>
                    <a:lnTo>
                      <a:pt x="49" y="0"/>
                    </a:lnTo>
                    <a:lnTo>
                      <a:pt x="47" y="0"/>
                    </a:lnTo>
                    <a:lnTo>
                      <a:pt x="46" y="0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42" y="1"/>
                    </a:lnTo>
                    <a:lnTo>
                      <a:pt x="42" y="3"/>
                    </a:lnTo>
                    <a:lnTo>
                      <a:pt x="41" y="3"/>
                    </a:lnTo>
                    <a:lnTo>
                      <a:pt x="39" y="3"/>
                    </a:lnTo>
                    <a:lnTo>
                      <a:pt x="37" y="3"/>
                    </a:lnTo>
                    <a:lnTo>
                      <a:pt x="32" y="7"/>
                    </a:lnTo>
                    <a:lnTo>
                      <a:pt x="32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2"/>
                    </a:lnTo>
                    <a:lnTo>
                      <a:pt x="34" y="13"/>
                    </a:lnTo>
                    <a:lnTo>
                      <a:pt x="32" y="13"/>
                    </a:lnTo>
                    <a:lnTo>
                      <a:pt x="30" y="15"/>
                    </a:lnTo>
                    <a:lnTo>
                      <a:pt x="29" y="15"/>
                    </a:lnTo>
                    <a:lnTo>
                      <a:pt x="30" y="17"/>
                    </a:lnTo>
                    <a:lnTo>
                      <a:pt x="29" y="17"/>
                    </a:lnTo>
                    <a:lnTo>
                      <a:pt x="29" y="18"/>
                    </a:lnTo>
                    <a:lnTo>
                      <a:pt x="29" y="20"/>
                    </a:lnTo>
                    <a:lnTo>
                      <a:pt x="27" y="20"/>
                    </a:lnTo>
                    <a:lnTo>
                      <a:pt x="27" y="18"/>
                    </a:lnTo>
                    <a:lnTo>
                      <a:pt x="25" y="18"/>
                    </a:lnTo>
                    <a:lnTo>
                      <a:pt x="24" y="18"/>
                    </a:lnTo>
                    <a:lnTo>
                      <a:pt x="24" y="20"/>
                    </a:lnTo>
                    <a:lnTo>
                      <a:pt x="22" y="20"/>
                    </a:lnTo>
                    <a:lnTo>
                      <a:pt x="22" y="18"/>
                    </a:lnTo>
                    <a:lnTo>
                      <a:pt x="20" y="17"/>
                    </a:lnTo>
                    <a:lnTo>
                      <a:pt x="19" y="17"/>
                    </a:lnTo>
                    <a:lnTo>
                      <a:pt x="19" y="18"/>
                    </a:lnTo>
                    <a:lnTo>
                      <a:pt x="19" y="20"/>
                    </a:lnTo>
                    <a:lnTo>
                      <a:pt x="17" y="20"/>
                    </a:lnTo>
                    <a:lnTo>
                      <a:pt x="15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2" y="22"/>
                    </a:lnTo>
                    <a:lnTo>
                      <a:pt x="12" y="20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8" y="22"/>
                    </a:lnTo>
                    <a:lnTo>
                      <a:pt x="7" y="22"/>
                    </a:lnTo>
                    <a:lnTo>
                      <a:pt x="5" y="22"/>
                    </a:lnTo>
                    <a:lnTo>
                      <a:pt x="3" y="22"/>
                    </a:lnTo>
                    <a:lnTo>
                      <a:pt x="3" y="20"/>
                    </a:lnTo>
                    <a:lnTo>
                      <a:pt x="2" y="20"/>
                    </a:lnTo>
                    <a:lnTo>
                      <a:pt x="2" y="18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2" y="25"/>
                    </a:lnTo>
                    <a:lnTo>
                      <a:pt x="3" y="27"/>
                    </a:lnTo>
                    <a:lnTo>
                      <a:pt x="5" y="32"/>
                    </a:lnTo>
                    <a:lnTo>
                      <a:pt x="7" y="32"/>
                    </a:lnTo>
                    <a:lnTo>
                      <a:pt x="8" y="32"/>
                    </a:lnTo>
                    <a:lnTo>
                      <a:pt x="10" y="30"/>
                    </a:lnTo>
                    <a:lnTo>
                      <a:pt x="12" y="27"/>
                    </a:lnTo>
                    <a:lnTo>
                      <a:pt x="14" y="23"/>
                    </a:lnTo>
                    <a:lnTo>
                      <a:pt x="17" y="23"/>
                    </a:lnTo>
                    <a:lnTo>
                      <a:pt x="19" y="25"/>
                    </a:lnTo>
                    <a:lnTo>
                      <a:pt x="19" y="27"/>
                    </a:lnTo>
                    <a:lnTo>
                      <a:pt x="20" y="27"/>
                    </a:lnTo>
                    <a:lnTo>
                      <a:pt x="22" y="27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25" y="39"/>
                    </a:lnTo>
                    <a:lnTo>
                      <a:pt x="27" y="40"/>
                    </a:lnTo>
                    <a:lnTo>
                      <a:pt x="30" y="42"/>
                    </a:lnTo>
                    <a:lnTo>
                      <a:pt x="27" y="42"/>
                    </a:lnTo>
                    <a:lnTo>
                      <a:pt x="27" y="44"/>
                    </a:lnTo>
                    <a:lnTo>
                      <a:pt x="27" y="45"/>
                    </a:lnTo>
                    <a:lnTo>
                      <a:pt x="30" y="49"/>
                    </a:lnTo>
                    <a:lnTo>
                      <a:pt x="32" y="50"/>
                    </a:lnTo>
                    <a:lnTo>
                      <a:pt x="35" y="52"/>
                    </a:lnTo>
                    <a:lnTo>
                      <a:pt x="37" y="54"/>
                    </a:lnTo>
                    <a:lnTo>
                      <a:pt x="39" y="55"/>
                    </a:lnTo>
                    <a:lnTo>
                      <a:pt x="39" y="57"/>
                    </a:lnTo>
                    <a:lnTo>
                      <a:pt x="41" y="57"/>
                    </a:lnTo>
                    <a:lnTo>
                      <a:pt x="44" y="57"/>
                    </a:lnTo>
                    <a:lnTo>
                      <a:pt x="49" y="57"/>
                    </a:lnTo>
                    <a:lnTo>
                      <a:pt x="52" y="59"/>
                    </a:lnTo>
                    <a:lnTo>
                      <a:pt x="57" y="62"/>
                    </a:lnTo>
                    <a:lnTo>
                      <a:pt x="61" y="66"/>
                    </a:lnTo>
                    <a:lnTo>
                      <a:pt x="62" y="67"/>
                    </a:lnTo>
                    <a:lnTo>
                      <a:pt x="64" y="69"/>
                    </a:lnTo>
                    <a:lnTo>
                      <a:pt x="62" y="69"/>
                    </a:lnTo>
                    <a:lnTo>
                      <a:pt x="61" y="67"/>
                    </a:lnTo>
                    <a:lnTo>
                      <a:pt x="57" y="66"/>
                    </a:lnTo>
                    <a:lnTo>
                      <a:pt x="56" y="67"/>
                    </a:lnTo>
                    <a:lnTo>
                      <a:pt x="61" y="67"/>
                    </a:lnTo>
                    <a:lnTo>
                      <a:pt x="64" y="71"/>
                    </a:lnTo>
                    <a:lnTo>
                      <a:pt x="66" y="71"/>
                    </a:lnTo>
                    <a:lnTo>
                      <a:pt x="69" y="71"/>
                    </a:lnTo>
                    <a:lnTo>
                      <a:pt x="71" y="72"/>
                    </a:lnTo>
                    <a:lnTo>
                      <a:pt x="74" y="74"/>
                    </a:lnTo>
                    <a:lnTo>
                      <a:pt x="78" y="76"/>
                    </a:lnTo>
                    <a:lnTo>
                      <a:pt x="79" y="77"/>
                    </a:lnTo>
                    <a:lnTo>
                      <a:pt x="79" y="76"/>
                    </a:lnTo>
                    <a:lnTo>
                      <a:pt x="78" y="76"/>
                    </a:lnTo>
                    <a:lnTo>
                      <a:pt x="74" y="72"/>
                    </a:lnTo>
                    <a:lnTo>
                      <a:pt x="71" y="71"/>
                    </a:lnTo>
                    <a:lnTo>
                      <a:pt x="68" y="67"/>
                    </a:lnTo>
                    <a:lnTo>
                      <a:pt x="66" y="69"/>
                    </a:lnTo>
                    <a:lnTo>
                      <a:pt x="64" y="69"/>
                    </a:lnTo>
                    <a:lnTo>
                      <a:pt x="64" y="67"/>
                    </a:lnTo>
                    <a:lnTo>
                      <a:pt x="66" y="67"/>
                    </a:lnTo>
                    <a:lnTo>
                      <a:pt x="66" y="66"/>
                    </a:lnTo>
                    <a:lnTo>
                      <a:pt x="64" y="66"/>
                    </a:lnTo>
                    <a:lnTo>
                      <a:pt x="62" y="64"/>
                    </a:lnTo>
                    <a:lnTo>
                      <a:pt x="61" y="60"/>
                    </a:lnTo>
                    <a:lnTo>
                      <a:pt x="61" y="59"/>
                    </a:lnTo>
                    <a:lnTo>
                      <a:pt x="61" y="57"/>
                    </a:lnTo>
                    <a:lnTo>
                      <a:pt x="59" y="57"/>
                    </a:lnTo>
                    <a:lnTo>
                      <a:pt x="57" y="57"/>
                    </a:lnTo>
                    <a:lnTo>
                      <a:pt x="56" y="57"/>
                    </a:lnTo>
                    <a:lnTo>
                      <a:pt x="56" y="55"/>
                    </a:lnTo>
                    <a:lnTo>
                      <a:pt x="49" y="49"/>
                    </a:lnTo>
                    <a:lnTo>
                      <a:pt x="44" y="44"/>
                    </a:lnTo>
                    <a:lnTo>
                      <a:pt x="39" y="34"/>
                    </a:lnTo>
                    <a:lnTo>
                      <a:pt x="39" y="35"/>
                    </a:lnTo>
                    <a:lnTo>
                      <a:pt x="37" y="35"/>
                    </a:lnTo>
                    <a:lnTo>
                      <a:pt x="35" y="34"/>
                    </a:lnTo>
                    <a:lnTo>
                      <a:pt x="35" y="30"/>
                    </a:lnTo>
                    <a:lnTo>
                      <a:pt x="35" y="28"/>
                    </a:lnTo>
                    <a:lnTo>
                      <a:pt x="35" y="27"/>
                    </a:lnTo>
                    <a:lnTo>
                      <a:pt x="37" y="27"/>
                    </a:lnTo>
                    <a:lnTo>
                      <a:pt x="37" y="25"/>
                    </a:lnTo>
                    <a:lnTo>
                      <a:pt x="39" y="25"/>
                    </a:lnTo>
                    <a:lnTo>
                      <a:pt x="44" y="30"/>
                    </a:lnTo>
                    <a:lnTo>
                      <a:pt x="46" y="27"/>
                    </a:lnTo>
                    <a:lnTo>
                      <a:pt x="46" y="25"/>
                    </a:lnTo>
                    <a:lnTo>
                      <a:pt x="47" y="25"/>
                    </a:lnTo>
                    <a:lnTo>
                      <a:pt x="51" y="25"/>
                    </a:lnTo>
                    <a:lnTo>
                      <a:pt x="51" y="23"/>
                    </a:lnTo>
                    <a:lnTo>
                      <a:pt x="52" y="23"/>
                    </a:lnTo>
                    <a:lnTo>
                      <a:pt x="54" y="23"/>
                    </a:lnTo>
                    <a:lnTo>
                      <a:pt x="56" y="25"/>
                    </a:lnTo>
                    <a:lnTo>
                      <a:pt x="59" y="25"/>
                    </a:lnTo>
                    <a:lnTo>
                      <a:pt x="59" y="23"/>
                    </a:lnTo>
                    <a:lnTo>
                      <a:pt x="61" y="23"/>
                    </a:lnTo>
                    <a:lnTo>
                      <a:pt x="62" y="25"/>
                    </a:lnTo>
                    <a:lnTo>
                      <a:pt x="64" y="25"/>
                    </a:lnTo>
                    <a:lnTo>
                      <a:pt x="66" y="27"/>
                    </a:lnTo>
                    <a:lnTo>
                      <a:pt x="68" y="27"/>
                    </a:lnTo>
                    <a:lnTo>
                      <a:pt x="69" y="27"/>
                    </a:lnTo>
                    <a:lnTo>
                      <a:pt x="71" y="27"/>
                    </a:lnTo>
                    <a:lnTo>
                      <a:pt x="71" y="25"/>
                    </a:lnTo>
                    <a:lnTo>
                      <a:pt x="74" y="27"/>
                    </a:lnTo>
                    <a:lnTo>
                      <a:pt x="78" y="25"/>
                    </a:lnTo>
                    <a:lnTo>
                      <a:pt x="79" y="27"/>
                    </a:lnTo>
                    <a:lnTo>
                      <a:pt x="81" y="28"/>
                    </a:lnTo>
                    <a:lnTo>
                      <a:pt x="84" y="30"/>
                    </a:lnTo>
                    <a:lnTo>
                      <a:pt x="88" y="30"/>
                    </a:lnTo>
                    <a:lnTo>
                      <a:pt x="88" y="28"/>
                    </a:lnTo>
                    <a:lnTo>
                      <a:pt x="88" y="27"/>
                    </a:lnTo>
                    <a:lnTo>
                      <a:pt x="89" y="27"/>
                    </a:lnTo>
                    <a:lnTo>
                      <a:pt x="89" y="25"/>
                    </a:lnTo>
                    <a:lnTo>
                      <a:pt x="91" y="27"/>
                    </a:lnTo>
                    <a:lnTo>
                      <a:pt x="93" y="27"/>
                    </a:lnTo>
                    <a:lnTo>
                      <a:pt x="93" y="25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44" name="Group 1643">
              <a:extLst>
                <a:ext uri="{FF2B5EF4-FFF2-40B4-BE49-F238E27FC236}">
                  <a16:creationId xmlns:a16="http://schemas.microsoft.com/office/drawing/2014/main" id="{E0C2CFAD-1310-9743-8BE2-58EDBA87ABA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87" y="338"/>
              <a:ext cx="108" cy="70"/>
              <a:chOff x="287" y="338"/>
              <a:chExt cx="108" cy="70"/>
            </a:xfrm>
          </p:grpSpPr>
          <p:grpSp>
            <p:nvGrpSpPr>
              <p:cNvPr id="1987" name="Group 1986">
                <a:extLst>
                  <a:ext uri="{FF2B5EF4-FFF2-40B4-BE49-F238E27FC236}">
                    <a16:creationId xmlns:a16="http://schemas.microsoft.com/office/drawing/2014/main" id="{F2C9FDD9-D481-EC41-BEF0-BA1C1055D50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88" y="392"/>
                <a:ext cx="7" cy="5"/>
                <a:chOff x="388" y="392"/>
                <a:chExt cx="7" cy="5"/>
              </a:xfrm>
            </p:grpSpPr>
            <p:sp>
              <p:nvSpPr>
                <p:cNvPr id="2006" name="Freeform 380">
                  <a:extLst>
                    <a:ext uri="{FF2B5EF4-FFF2-40B4-BE49-F238E27FC236}">
                      <a16:creationId xmlns:a16="http://schemas.microsoft.com/office/drawing/2014/main" id="{C5F17395-6C2A-9A49-9877-79CB2C4956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" y="392"/>
                  <a:ext cx="7" cy="5"/>
                </a:xfrm>
                <a:custGeom>
                  <a:avLst/>
                  <a:gdLst>
                    <a:gd name="T0" fmla="*/ 5 w 7"/>
                    <a:gd name="T1" fmla="*/ 5 h 5"/>
                    <a:gd name="T2" fmla="*/ 3 w 7"/>
                    <a:gd name="T3" fmla="*/ 5 h 5"/>
                    <a:gd name="T4" fmla="*/ 2 w 7"/>
                    <a:gd name="T5" fmla="*/ 5 h 5"/>
                    <a:gd name="T6" fmla="*/ 0 w 7"/>
                    <a:gd name="T7" fmla="*/ 4 h 5"/>
                    <a:gd name="T8" fmla="*/ 2 w 7"/>
                    <a:gd name="T9" fmla="*/ 2 h 5"/>
                    <a:gd name="T10" fmla="*/ 2 w 7"/>
                    <a:gd name="T11" fmla="*/ 0 h 5"/>
                    <a:gd name="T12" fmla="*/ 3 w 7"/>
                    <a:gd name="T13" fmla="*/ 0 h 5"/>
                    <a:gd name="T14" fmla="*/ 7 w 7"/>
                    <a:gd name="T15" fmla="*/ 2 h 5"/>
                    <a:gd name="T16" fmla="*/ 7 w 7"/>
                    <a:gd name="T17" fmla="*/ 5 h 5"/>
                    <a:gd name="T18" fmla="*/ 5 w 7"/>
                    <a:gd name="T1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5">
                      <a:moveTo>
                        <a:pt x="5" y="5"/>
                      </a:moveTo>
                      <a:lnTo>
                        <a:pt x="3" y="5"/>
                      </a:lnTo>
                      <a:lnTo>
                        <a:pt x="2" y="5"/>
                      </a:lnTo>
                      <a:lnTo>
                        <a:pt x="0" y="4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7" y="2"/>
                      </a:lnTo>
                      <a:lnTo>
                        <a:pt x="7" y="5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7" name="Freeform 381">
                  <a:extLst>
                    <a:ext uri="{FF2B5EF4-FFF2-40B4-BE49-F238E27FC236}">
                      <a16:creationId xmlns:a16="http://schemas.microsoft.com/office/drawing/2014/main" id="{3EBEF37C-26B4-EE45-B782-35C15F96CD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" y="392"/>
                  <a:ext cx="7" cy="5"/>
                </a:xfrm>
                <a:custGeom>
                  <a:avLst/>
                  <a:gdLst>
                    <a:gd name="T0" fmla="*/ 5 w 7"/>
                    <a:gd name="T1" fmla="*/ 5 h 5"/>
                    <a:gd name="T2" fmla="*/ 3 w 7"/>
                    <a:gd name="T3" fmla="*/ 5 h 5"/>
                    <a:gd name="T4" fmla="*/ 2 w 7"/>
                    <a:gd name="T5" fmla="*/ 5 h 5"/>
                    <a:gd name="T6" fmla="*/ 0 w 7"/>
                    <a:gd name="T7" fmla="*/ 4 h 5"/>
                    <a:gd name="T8" fmla="*/ 2 w 7"/>
                    <a:gd name="T9" fmla="*/ 2 h 5"/>
                    <a:gd name="T10" fmla="*/ 2 w 7"/>
                    <a:gd name="T11" fmla="*/ 0 h 5"/>
                    <a:gd name="T12" fmla="*/ 3 w 7"/>
                    <a:gd name="T13" fmla="*/ 0 h 5"/>
                    <a:gd name="T14" fmla="*/ 7 w 7"/>
                    <a:gd name="T15" fmla="*/ 2 h 5"/>
                    <a:gd name="T16" fmla="*/ 7 w 7"/>
                    <a:gd name="T17" fmla="*/ 5 h 5"/>
                    <a:gd name="T18" fmla="*/ 5 w 7"/>
                    <a:gd name="T1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5">
                      <a:moveTo>
                        <a:pt x="5" y="5"/>
                      </a:moveTo>
                      <a:lnTo>
                        <a:pt x="3" y="5"/>
                      </a:lnTo>
                      <a:lnTo>
                        <a:pt x="2" y="5"/>
                      </a:lnTo>
                      <a:lnTo>
                        <a:pt x="0" y="4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7" y="2"/>
                      </a:lnTo>
                      <a:lnTo>
                        <a:pt x="7" y="5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88" name="Group 1987">
                <a:extLst>
                  <a:ext uri="{FF2B5EF4-FFF2-40B4-BE49-F238E27FC236}">
                    <a16:creationId xmlns:a16="http://schemas.microsoft.com/office/drawing/2014/main" id="{FB222BCF-A02F-C040-9BE1-5A2B0C2EF97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32" y="372"/>
                <a:ext cx="27" cy="25"/>
                <a:chOff x="332" y="372"/>
                <a:chExt cx="27" cy="25"/>
              </a:xfrm>
            </p:grpSpPr>
            <p:sp>
              <p:nvSpPr>
                <p:cNvPr id="2004" name="Freeform 378">
                  <a:extLst>
                    <a:ext uri="{FF2B5EF4-FFF2-40B4-BE49-F238E27FC236}">
                      <a16:creationId xmlns:a16="http://schemas.microsoft.com/office/drawing/2014/main" id="{F4E20C87-4D37-4840-AD09-2DDBC647FE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2" y="372"/>
                  <a:ext cx="27" cy="25"/>
                </a:xfrm>
                <a:custGeom>
                  <a:avLst/>
                  <a:gdLst>
                    <a:gd name="T0" fmla="*/ 9 w 27"/>
                    <a:gd name="T1" fmla="*/ 5 h 25"/>
                    <a:gd name="T2" fmla="*/ 7 w 27"/>
                    <a:gd name="T3" fmla="*/ 7 h 25"/>
                    <a:gd name="T4" fmla="*/ 5 w 27"/>
                    <a:gd name="T5" fmla="*/ 9 h 25"/>
                    <a:gd name="T6" fmla="*/ 4 w 27"/>
                    <a:gd name="T7" fmla="*/ 10 h 25"/>
                    <a:gd name="T8" fmla="*/ 0 w 27"/>
                    <a:gd name="T9" fmla="*/ 10 h 25"/>
                    <a:gd name="T10" fmla="*/ 0 w 27"/>
                    <a:gd name="T11" fmla="*/ 12 h 25"/>
                    <a:gd name="T12" fmla="*/ 4 w 27"/>
                    <a:gd name="T13" fmla="*/ 12 h 25"/>
                    <a:gd name="T14" fmla="*/ 4 w 27"/>
                    <a:gd name="T15" fmla="*/ 15 h 25"/>
                    <a:gd name="T16" fmla="*/ 4 w 27"/>
                    <a:gd name="T17" fmla="*/ 19 h 25"/>
                    <a:gd name="T18" fmla="*/ 5 w 27"/>
                    <a:gd name="T19" fmla="*/ 20 h 25"/>
                    <a:gd name="T20" fmla="*/ 7 w 27"/>
                    <a:gd name="T21" fmla="*/ 22 h 25"/>
                    <a:gd name="T22" fmla="*/ 10 w 27"/>
                    <a:gd name="T23" fmla="*/ 22 h 25"/>
                    <a:gd name="T24" fmla="*/ 14 w 27"/>
                    <a:gd name="T25" fmla="*/ 22 h 25"/>
                    <a:gd name="T26" fmla="*/ 12 w 27"/>
                    <a:gd name="T27" fmla="*/ 24 h 25"/>
                    <a:gd name="T28" fmla="*/ 14 w 27"/>
                    <a:gd name="T29" fmla="*/ 25 h 25"/>
                    <a:gd name="T30" fmla="*/ 17 w 27"/>
                    <a:gd name="T31" fmla="*/ 25 h 25"/>
                    <a:gd name="T32" fmla="*/ 19 w 27"/>
                    <a:gd name="T33" fmla="*/ 24 h 25"/>
                    <a:gd name="T34" fmla="*/ 19 w 27"/>
                    <a:gd name="T35" fmla="*/ 22 h 25"/>
                    <a:gd name="T36" fmla="*/ 21 w 27"/>
                    <a:gd name="T37" fmla="*/ 20 h 25"/>
                    <a:gd name="T38" fmla="*/ 24 w 27"/>
                    <a:gd name="T39" fmla="*/ 20 h 25"/>
                    <a:gd name="T40" fmla="*/ 24 w 27"/>
                    <a:gd name="T41" fmla="*/ 17 h 25"/>
                    <a:gd name="T42" fmla="*/ 21 w 27"/>
                    <a:gd name="T43" fmla="*/ 17 h 25"/>
                    <a:gd name="T44" fmla="*/ 22 w 27"/>
                    <a:gd name="T45" fmla="*/ 14 h 25"/>
                    <a:gd name="T46" fmla="*/ 24 w 27"/>
                    <a:gd name="T47" fmla="*/ 12 h 25"/>
                    <a:gd name="T48" fmla="*/ 27 w 27"/>
                    <a:gd name="T49" fmla="*/ 12 h 25"/>
                    <a:gd name="T50" fmla="*/ 27 w 27"/>
                    <a:gd name="T51" fmla="*/ 9 h 25"/>
                    <a:gd name="T52" fmla="*/ 26 w 27"/>
                    <a:gd name="T53" fmla="*/ 7 h 25"/>
                    <a:gd name="T54" fmla="*/ 24 w 27"/>
                    <a:gd name="T55" fmla="*/ 4 h 25"/>
                    <a:gd name="T56" fmla="*/ 22 w 27"/>
                    <a:gd name="T57" fmla="*/ 2 h 25"/>
                    <a:gd name="T58" fmla="*/ 21 w 27"/>
                    <a:gd name="T59" fmla="*/ 0 h 25"/>
                    <a:gd name="T60" fmla="*/ 19 w 27"/>
                    <a:gd name="T61" fmla="*/ 2 h 25"/>
                    <a:gd name="T62" fmla="*/ 17 w 27"/>
                    <a:gd name="T63" fmla="*/ 4 h 25"/>
                    <a:gd name="T64" fmla="*/ 15 w 27"/>
                    <a:gd name="T65" fmla="*/ 5 h 25"/>
                    <a:gd name="T66" fmla="*/ 17 w 27"/>
                    <a:gd name="T67" fmla="*/ 7 h 25"/>
                    <a:gd name="T68" fmla="*/ 17 w 27"/>
                    <a:gd name="T69" fmla="*/ 10 h 25"/>
                    <a:gd name="T70" fmla="*/ 17 w 27"/>
                    <a:gd name="T71" fmla="*/ 10 h 25"/>
                    <a:gd name="T72" fmla="*/ 17 w 27"/>
                    <a:gd name="T73" fmla="*/ 10 h 25"/>
                    <a:gd name="T74" fmla="*/ 17 w 27"/>
                    <a:gd name="T75" fmla="*/ 7 h 25"/>
                    <a:gd name="T76" fmla="*/ 15 w 27"/>
                    <a:gd name="T77" fmla="*/ 5 h 25"/>
                    <a:gd name="T78" fmla="*/ 15 w 27"/>
                    <a:gd name="T79" fmla="*/ 9 h 25"/>
                    <a:gd name="T80" fmla="*/ 14 w 27"/>
                    <a:gd name="T81" fmla="*/ 10 h 25"/>
                    <a:gd name="T82" fmla="*/ 14 w 27"/>
                    <a:gd name="T83" fmla="*/ 10 h 25"/>
                    <a:gd name="T84" fmla="*/ 14 w 27"/>
                    <a:gd name="T85" fmla="*/ 9 h 25"/>
                    <a:gd name="T86" fmla="*/ 12 w 27"/>
                    <a:gd name="T87" fmla="*/ 7 h 25"/>
                    <a:gd name="T88" fmla="*/ 14 w 27"/>
                    <a:gd name="T89" fmla="*/ 5 h 25"/>
                    <a:gd name="T90" fmla="*/ 10 w 27"/>
                    <a:gd name="T91" fmla="*/ 5 h 25"/>
                    <a:gd name="T92" fmla="*/ 7 w 27"/>
                    <a:gd name="T93" fmla="*/ 5 h 25"/>
                    <a:gd name="T94" fmla="*/ 7 w 27"/>
                    <a:gd name="T95" fmla="*/ 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7" h="25">
                      <a:moveTo>
                        <a:pt x="7" y="5"/>
                      </a:moveTo>
                      <a:lnTo>
                        <a:pt x="9" y="5"/>
                      </a:lnTo>
                      <a:lnTo>
                        <a:pt x="9" y="7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5" y="9"/>
                      </a:lnTo>
                      <a:lnTo>
                        <a:pt x="5" y="10"/>
                      </a:lnTo>
                      <a:lnTo>
                        <a:pt x="4" y="10"/>
                      </a:lnTo>
                      <a:lnTo>
                        <a:pt x="2" y="10"/>
                      </a:lnTo>
                      <a:lnTo>
                        <a:pt x="0" y="10"/>
                      </a:lnTo>
                      <a:lnTo>
                        <a:pt x="2" y="10"/>
                      </a:lnTo>
                      <a:lnTo>
                        <a:pt x="0" y="12"/>
                      </a:lnTo>
                      <a:lnTo>
                        <a:pt x="2" y="12"/>
                      </a:lnTo>
                      <a:lnTo>
                        <a:pt x="4" y="12"/>
                      </a:lnTo>
                      <a:lnTo>
                        <a:pt x="4" y="14"/>
                      </a:lnTo>
                      <a:lnTo>
                        <a:pt x="4" y="15"/>
                      </a:lnTo>
                      <a:lnTo>
                        <a:pt x="4" y="17"/>
                      </a:lnTo>
                      <a:lnTo>
                        <a:pt x="4" y="19"/>
                      </a:lnTo>
                      <a:lnTo>
                        <a:pt x="5" y="19"/>
                      </a:lnTo>
                      <a:lnTo>
                        <a:pt x="5" y="20"/>
                      </a:lnTo>
                      <a:lnTo>
                        <a:pt x="5" y="22"/>
                      </a:lnTo>
                      <a:lnTo>
                        <a:pt x="7" y="22"/>
                      </a:lnTo>
                      <a:lnTo>
                        <a:pt x="9" y="22"/>
                      </a:lnTo>
                      <a:lnTo>
                        <a:pt x="10" y="22"/>
                      </a:lnTo>
                      <a:lnTo>
                        <a:pt x="12" y="22"/>
                      </a:lnTo>
                      <a:lnTo>
                        <a:pt x="14" y="22"/>
                      </a:lnTo>
                      <a:lnTo>
                        <a:pt x="12" y="22"/>
                      </a:lnTo>
                      <a:lnTo>
                        <a:pt x="12" y="24"/>
                      </a:lnTo>
                      <a:lnTo>
                        <a:pt x="12" y="25"/>
                      </a:lnTo>
                      <a:lnTo>
                        <a:pt x="14" y="25"/>
                      </a:lnTo>
                      <a:lnTo>
                        <a:pt x="15" y="25"/>
                      </a:lnTo>
                      <a:lnTo>
                        <a:pt x="17" y="25"/>
                      </a:lnTo>
                      <a:lnTo>
                        <a:pt x="19" y="25"/>
                      </a:lnTo>
                      <a:lnTo>
                        <a:pt x="19" y="24"/>
                      </a:lnTo>
                      <a:lnTo>
                        <a:pt x="21" y="24"/>
                      </a:lnTo>
                      <a:lnTo>
                        <a:pt x="19" y="22"/>
                      </a:lnTo>
                      <a:lnTo>
                        <a:pt x="19" y="20"/>
                      </a:lnTo>
                      <a:lnTo>
                        <a:pt x="21" y="20"/>
                      </a:lnTo>
                      <a:lnTo>
                        <a:pt x="22" y="20"/>
                      </a:lnTo>
                      <a:lnTo>
                        <a:pt x="24" y="20"/>
                      </a:lnTo>
                      <a:lnTo>
                        <a:pt x="24" y="19"/>
                      </a:lnTo>
                      <a:lnTo>
                        <a:pt x="24" y="17"/>
                      </a:lnTo>
                      <a:lnTo>
                        <a:pt x="22" y="17"/>
                      </a:lnTo>
                      <a:lnTo>
                        <a:pt x="21" y="17"/>
                      </a:lnTo>
                      <a:lnTo>
                        <a:pt x="21" y="15"/>
                      </a:lnTo>
                      <a:lnTo>
                        <a:pt x="22" y="14"/>
                      </a:lnTo>
                      <a:lnTo>
                        <a:pt x="22" y="12"/>
                      </a:lnTo>
                      <a:lnTo>
                        <a:pt x="24" y="12"/>
                      </a:lnTo>
                      <a:lnTo>
                        <a:pt x="26" y="12"/>
                      </a:lnTo>
                      <a:lnTo>
                        <a:pt x="27" y="12"/>
                      </a:lnTo>
                      <a:lnTo>
                        <a:pt x="27" y="10"/>
                      </a:lnTo>
                      <a:lnTo>
                        <a:pt x="27" y="9"/>
                      </a:lnTo>
                      <a:lnTo>
                        <a:pt x="26" y="9"/>
                      </a:lnTo>
                      <a:lnTo>
                        <a:pt x="26" y="7"/>
                      </a:lnTo>
                      <a:lnTo>
                        <a:pt x="26" y="5"/>
                      </a:lnTo>
                      <a:lnTo>
                        <a:pt x="24" y="4"/>
                      </a:lnTo>
                      <a:lnTo>
                        <a:pt x="24" y="2"/>
                      </a:lnTo>
                      <a:lnTo>
                        <a:pt x="22" y="2"/>
                      </a:lnTo>
                      <a:lnTo>
                        <a:pt x="22" y="0"/>
                      </a:lnTo>
                      <a:lnTo>
                        <a:pt x="21" y="0"/>
                      </a:lnTo>
                      <a:lnTo>
                        <a:pt x="21" y="2"/>
                      </a:lnTo>
                      <a:lnTo>
                        <a:pt x="19" y="2"/>
                      </a:lnTo>
                      <a:lnTo>
                        <a:pt x="17" y="2"/>
                      </a:lnTo>
                      <a:lnTo>
                        <a:pt x="17" y="4"/>
                      </a:lnTo>
                      <a:lnTo>
                        <a:pt x="15" y="4"/>
                      </a:lnTo>
                      <a:lnTo>
                        <a:pt x="15" y="5"/>
                      </a:lnTo>
                      <a:lnTo>
                        <a:pt x="17" y="5"/>
                      </a:lnTo>
                      <a:lnTo>
                        <a:pt x="17" y="7"/>
                      </a:lnTo>
                      <a:lnTo>
                        <a:pt x="17" y="9"/>
                      </a:lnTo>
                      <a:lnTo>
                        <a:pt x="17" y="10"/>
                      </a:lnTo>
                      <a:lnTo>
                        <a:pt x="17" y="12"/>
                      </a:lnTo>
                      <a:lnTo>
                        <a:pt x="17" y="10"/>
                      </a:lnTo>
                      <a:lnTo>
                        <a:pt x="15" y="10"/>
                      </a:lnTo>
                      <a:lnTo>
                        <a:pt x="17" y="10"/>
                      </a:lnTo>
                      <a:lnTo>
                        <a:pt x="17" y="9"/>
                      </a:lnTo>
                      <a:lnTo>
                        <a:pt x="17" y="7"/>
                      </a:lnTo>
                      <a:lnTo>
                        <a:pt x="15" y="7"/>
                      </a:lnTo>
                      <a:lnTo>
                        <a:pt x="15" y="5"/>
                      </a:lnTo>
                      <a:lnTo>
                        <a:pt x="15" y="7"/>
                      </a:lnTo>
                      <a:lnTo>
                        <a:pt x="15" y="9"/>
                      </a:lnTo>
                      <a:lnTo>
                        <a:pt x="14" y="9"/>
                      </a:lnTo>
                      <a:lnTo>
                        <a:pt x="14" y="10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2" y="10"/>
                      </a:lnTo>
                      <a:lnTo>
                        <a:pt x="14" y="9"/>
                      </a:lnTo>
                      <a:lnTo>
                        <a:pt x="12" y="9"/>
                      </a:lnTo>
                      <a:lnTo>
                        <a:pt x="12" y="7"/>
                      </a:lnTo>
                      <a:lnTo>
                        <a:pt x="12" y="5"/>
                      </a:lnTo>
                      <a:lnTo>
                        <a:pt x="14" y="5"/>
                      </a:lnTo>
                      <a:lnTo>
                        <a:pt x="12" y="5"/>
                      </a:lnTo>
                      <a:lnTo>
                        <a:pt x="10" y="5"/>
                      </a:lnTo>
                      <a:lnTo>
                        <a:pt x="9" y="5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7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5" name="Freeform 379">
                  <a:extLst>
                    <a:ext uri="{FF2B5EF4-FFF2-40B4-BE49-F238E27FC236}">
                      <a16:creationId xmlns:a16="http://schemas.microsoft.com/office/drawing/2014/main" id="{3AD79860-689C-DA46-9C34-45F17C963C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2" y="372"/>
                  <a:ext cx="27" cy="25"/>
                </a:xfrm>
                <a:custGeom>
                  <a:avLst/>
                  <a:gdLst>
                    <a:gd name="T0" fmla="*/ 9 w 27"/>
                    <a:gd name="T1" fmla="*/ 5 h 25"/>
                    <a:gd name="T2" fmla="*/ 7 w 27"/>
                    <a:gd name="T3" fmla="*/ 7 h 25"/>
                    <a:gd name="T4" fmla="*/ 5 w 27"/>
                    <a:gd name="T5" fmla="*/ 9 h 25"/>
                    <a:gd name="T6" fmla="*/ 4 w 27"/>
                    <a:gd name="T7" fmla="*/ 10 h 25"/>
                    <a:gd name="T8" fmla="*/ 0 w 27"/>
                    <a:gd name="T9" fmla="*/ 10 h 25"/>
                    <a:gd name="T10" fmla="*/ 0 w 27"/>
                    <a:gd name="T11" fmla="*/ 12 h 25"/>
                    <a:gd name="T12" fmla="*/ 4 w 27"/>
                    <a:gd name="T13" fmla="*/ 12 h 25"/>
                    <a:gd name="T14" fmla="*/ 4 w 27"/>
                    <a:gd name="T15" fmla="*/ 15 h 25"/>
                    <a:gd name="T16" fmla="*/ 4 w 27"/>
                    <a:gd name="T17" fmla="*/ 19 h 25"/>
                    <a:gd name="T18" fmla="*/ 5 w 27"/>
                    <a:gd name="T19" fmla="*/ 20 h 25"/>
                    <a:gd name="T20" fmla="*/ 7 w 27"/>
                    <a:gd name="T21" fmla="*/ 22 h 25"/>
                    <a:gd name="T22" fmla="*/ 10 w 27"/>
                    <a:gd name="T23" fmla="*/ 22 h 25"/>
                    <a:gd name="T24" fmla="*/ 14 w 27"/>
                    <a:gd name="T25" fmla="*/ 22 h 25"/>
                    <a:gd name="T26" fmla="*/ 12 w 27"/>
                    <a:gd name="T27" fmla="*/ 24 h 25"/>
                    <a:gd name="T28" fmla="*/ 14 w 27"/>
                    <a:gd name="T29" fmla="*/ 25 h 25"/>
                    <a:gd name="T30" fmla="*/ 17 w 27"/>
                    <a:gd name="T31" fmla="*/ 25 h 25"/>
                    <a:gd name="T32" fmla="*/ 19 w 27"/>
                    <a:gd name="T33" fmla="*/ 24 h 25"/>
                    <a:gd name="T34" fmla="*/ 19 w 27"/>
                    <a:gd name="T35" fmla="*/ 22 h 25"/>
                    <a:gd name="T36" fmla="*/ 21 w 27"/>
                    <a:gd name="T37" fmla="*/ 20 h 25"/>
                    <a:gd name="T38" fmla="*/ 24 w 27"/>
                    <a:gd name="T39" fmla="*/ 20 h 25"/>
                    <a:gd name="T40" fmla="*/ 24 w 27"/>
                    <a:gd name="T41" fmla="*/ 17 h 25"/>
                    <a:gd name="T42" fmla="*/ 21 w 27"/>
                    <a:gd name="T43" fmla="*/ 17 h 25"/>
                    <a:gd name="T44" fmla="*/ 22 w 27"/>
                    <a:gd name="T45" fmla="*/ 14 h 25"/>
                    <a:gd name="T46" fmla="*/ 24 w 27"/>
                    <a:gd name="T47" fmla="*/ 12 h 25"/>
                    <a:gd name="T48" fmla="*/ 27 w 27"/>
                    <a:gd name="T49" fmla="*/ 12 h 25"/>
                    <a:gd name="T50" fmla="*/ 27 w 27"/>
                    <a:gd name="T51" fmla="*/ 9 h 25"/>
                    <a:gd name="T52" fmla="*/ 26 w 27"/>
                    <a:gd name="T53" fmla="*/ 7 h 25"/>
                    <a:gd name="T54" fmla="*/ 24 w 27"/>
                    <a:gd name="T55" fmla="*/ 4 h 25"/>
                    <a:gd name="T56" fmla="*/ 22 w 27"/>
                    <a:gd name="T57" fmla="*/ 2 h 25"/>
                    <a:gd name="T58" fmla="*/ 21 w 27"/>
                    <a:gd name="T59" fmla="*/ 0 h 25"/>
                    <a:gd name="T60" fmla="*/ 19 w 27"/>
                    <a:gd name="T61" fmla="*/ 2 h 25"/>
                    <a:gd name="T62" fmla="*/ 17 w 27"/>
                    <a:gd name="T63" fmla="*/ 4 h 25"/>
                    <a:gd name="T64" fmla="*/ 15 w 27"/>
                    <a:gd name="T65" fmla="*/ 5 h 25"/>
                    <a:gd name="T66" fmla="*/ 17 w 27"/>
                    <a:gd name="T67" fmla="*/ 7 h 25"/>
                    <a:gd name="T68" fmla="*/ 17 w 27"/>
                    <a:gd name="T69" fmla="*/ 10 h 25"/>
                    <a:gd name="T70" fmla="*/ 17 w 27"/>
                    <a:gd name="T71" fmla="*/ 10 h 25"/>
                    <a:gd name="T72" fmla="*/ 17 w 27"/>
                    <a:gd name="T73" fmla="*/ 10 h 25"/>
                    <a:gd name="T74" fmla="*/ 17 w 27"/>
                    <a:gd name="T75" fmla="*/ 7 h 25"/>
                    <a:gd name="T76" fmla="*/ 15 w 27"/>
                    <a:gd name="T77" fmla="*/ 5 h 25"/>
                    <a:gd name="T78" fmla="*/ 15 w 27"/>
                    <a:gd name="T79" fmla="*/ 9 h 25"/>
                    <a:gd name="T80" fmla="*/ 14 w 27"/>
                    <a:gd name="T81" fmla="*/ 10 h 25"/>
                    <a:gd name="T82" fmla="*/ 14 w 27"/>
                    <a:gd name="T83" fmla="*/ 10 h 25"/>
                    <a:gd name="T84" fmla="*/ 14 w 27"/>
                    <a:gd name="T85" fmla="*/ 9 h 25"/>
                    <a:gd name="T86" fmla="*/ 12 w 27"/>
                    <a:gd name="T87" fmla="*/ 7 h 25"/>
                    <a:gd name="T88" fmla="*/ 14 w 27"/>
                    <a:gd name="T89" fmla="*/ 5 h 25"/>
                    <a:gd name="T90" fmla="*/ 10 w 27"/>
                    <a:gd name="T91" fmla="*/ 5 h 25"/>
                    <a:gd name="T92" fmla="*/ 7 w 27"/>
                    <a:gd name="T93" fmla="*/ 5 h 25"/>
                    <a:gd name="T94" fmla="*/ 7 w 27"/>
                    <a:gd name="T95" fmla="*/ 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7" h="25">
                      <a:moveTo>
                        <a:pt x="7" y="5"/>
                      </a:moveTo>
                      <a:lnTo>
                        <a:pt x="9" y="5"/>
                      </a:lnTo>
                      <a:lnTo>
                        <a:pt x="9" y="7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5" y="9"/>
                      </a:lnTo>
                      <a:lnTo>
                        <a:pt x="5" y="10"/>
                      </a:lnTo>
                      <a:lnTo>
                        <a:pt x="4" y="10"/>
                      </a:lnTo>
                      <a:lnTo>
                        <a:pt x="2" y="10"/>
                      </a:lnTo>
                      <a:lnTo>
                        <a:pt x="0" y="10"/>
                      </a:lnTo>
                      <a:lnTo>
                        <a:pt x="2" y="10"/>
                      </a:lnTo>
                      <a:lnTo>
                        <a:pt x="0" y="12"/>
                      </a:lnTo>
                      <a:lnTo>
                        <a:pt x="2" y="12"/>
                      </a:lnTo>
                      <a:lnTo>
                        <a:pt x="4" y="12"/>
                      </a:lnTo>
                      <a:lnTo>
                        <a:pt x="4" y="14"/>
                      </a:lnTo>
                      <a:lnTo>
                        <a:pt x="4" y="15"/>
                      </a:lnTo>
                      <a:lnTo>
                        <a:pt x="4" y="17"/>
                      </a:lnTo>
                      <a:lnTo>
                        <a:pt x="4" y="19"/>
                      </a:lnTo>
                      <a:lnTo>
                        <a:pt x="5" y="19"/>
                      </a:lnTo>
                      <a:lnTo>
                        <a:pt x="5" y="20"/>
                      </a:lnTo>
                      <a:lnTo>
                        <a:pt x="5" y="22"/>
                      </a:lnTo>
                      <a:lnTo>
                        <a:pt x="7" y="22"/>
                      </a:lnTo>
                      <a:lnTo>
                        <a:pt x="9" y="22"/>
                      </a:lnTo>
                      <a:lnTo>
                        <a:pt x="10" y="22"/>
                      </a:lnTo>
                      <a:lnTo>
                        <a:pt x="12" y="22"/>
                      </a:lnTo>
                      <a:lnTo>
                        <a:pt x="14" y="22"/>
                      </a:lnTo>
                      <a:lnTo>
                        <a:pt x="12" y="22"/>
                      </a:lnTo>
                      <a:lnTo>
                        <a:pt x="12" y="24"/>
                      </a:lnTo>
                      <a:lnTo>
                        <a:pt x="12" y="25"/>
                      </a:lnTo>
                      <a:lnTo>
                        <a:pt x="14" y="25"/>
                      </a:lnTo>
                      <a:lnTo>
                        <a:pt x="15" y="25"/>
                      </a:lnTo>
                      <a:lnTo>
                        <a:pt x="17" y="25"/>
                      </a:lnTo>
                      <a:lnTo>
                        <a:pt x="19" y="25"/>
                      </a:lnTo>
                      <a:lnTo>
                        <a:pt x="19" y="24"/>
                      </a:lnTo>
                      <a:lnTo>
                        <a:pt x="21" y="24"/>
                      </a:lnTo>
                      <a:lnTo>
                        <a:pt x="19" y="22"/>
                      </a:lnTo>
                      <a:lnTo>
                        <a:pt x="19" y="20"/>
                      </a:lnTo>
                      <a:lnTo>
                        <a:pt x="21" y="20"/>
                      </a:lnTo>
                      <a:lnTo>
                        <a:pt x="22" y="20"/>
                      </a:lnTo>
                      <a:lnTo>
                        <a:pt x="24" y="20"/>
                      </a:lnTo>
                      <a:lnTo>
                        <a:pt x="24" y="19"/>
                      </a:lnTo>
                      <a:lnTo>
                        <a:pt x="24" y="17"/>
                      </a:lnTo>
                      <a:lnTo>
                        <a:pt x="22" y="17"/>
                      </a:lnTo>
                      <a:lnTo>
                        <a:pt x="21" y="17"/>
                      </a:lnTo>
                      <a:lnTo>
                        <a:pt x="21" y="15"/>
                      </a:lnTo>
                      <a:lnTo>
                        <a:pt x="22" y="14"/>
                      </a:lnTo>
                      <a:lnTo>
                        <a:pt x="22" y="12"/>
                      </a:lnTo>
                      <a:lnTo>
                        <a:pt x="24" y="12"/>
                      </a:lnTo>
                      <a:lnTo>
                        <a:pt x="26" y="12"/>
                      </a:lnTo>
                      <a:lnTo>
                        <a:pt x="27" y="12"/>
                      </a:lnTo>
                      <a:lnTo>
                        <a:pt x="27" y="10"/>
                      </a:lnTo>
                      <a:lnTo>
                        <a:pt x="27" y="9"/>
                      </a:lnTo>
                      <a:lnTo>
                        <a:pt x="26" y="9"/>
                      </a:lnTo>
                      <a:lnTo>
                        <a:pt x="26" y="7"/>
                      </a:lnTo>
                      <a:lnTo>
                        <a:pt x="26" y="5"/>
                      </a:lnTo>
                      <a:lnTo>
                        <a:pt x="24" y="4"/>
                      </a:lnTo>
                      <a:lnTo>
                        <a:pt x="24" y="2"/>
                      </a:lnTo>
                      <a:lnTo>
                        <a:pt x="22" y="2"/>
                      </a:lnTo>
                      <a:lnTo>
                        <a:pt x="22" y="0"/>
                      </a:lnTo>
                      <a:lnTo>
                        <a:pt x="21" y="0"/>
                      </a:lnTo>
                      <a:lnTo>
                        <a:pt x="21" y="2"/>
                      </a:lnTo>
                      <a:lnTo>
                        <a:pt x="19" y="2"/>
                      </a:lnTo>
                      <a:lnTo>
                        <a:pt x="17" y="2"/>
                      </a:lnTo>
                      <a:lnTo>
                        <a:pt x="17" y="4"/>
                      </a:lnTo>
                      <a:lnTo>
                        <a:pt x="15" y="4"/>
                      </a:lnTo>
                      <a:lnTo>
                        <a:pt x="15" y="5"/>
                      </a:lnTo>
                      <a:lnTo>
                        <a:pt x="17" y="5"/>
                      </a:lnTo>
                      <a:lnTo>
                        <a:pt x="17" y="7"/>
                      </a:lnTo>
                      <a:lnTo>
                        <a:pt x="17" y="9"/>
                      </a:lnTo>
                      <a:lnTo>
                        <a:pt x="17" y="10"/>
                      </a:lnTo>
                      <a:lnTo>
                        <a:pt x="17" y="12"/>
                      </a:lnTo>
                      <a:lnTo>
                        <a:pt x="17" y="10"/>
                      </a:lnTo>
                      <a:lnTo>
                        <a:pt x="15" y="10"/>
                      </a:lnTo>
                      <a:lnTo>
                        <a:pt x="17" y="10"/>
                      </a:lnTo>
                      <a:lnTo>
                        <a:pt x="17" y="9"/>
                      </a:lnTo>
                      <a:lnTo>
                        <a:pt x="17" y="7"/>
                      </a:lnTo>
                      <a:lnTo>
                        <a:pt x="15" y="7"/>
                      </a:lnTo>
                      <a:lnTo>
                        <a:pt x="15" y="5"/>
                      </a:lnTo>
                      <a:lnTo>
                        <a:pt x="15" y="7"/>
                      </a:lnTo>
                      <a:lnTo>
                        <a:pt x="15" y="9"/>
                      </a:lnTo>
                      <a:lnTo>
                        <a:pt x="14" y="9"/>
                      </a:lnTo>
                      <a:lnTo>
                        <a:pt x="14" y="10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2" y="10"/>
                      </a:lnTo>
                      <a:lnTo>
                        <a:pt x="14" y="9"/>
                      </a:lnTo>
                      <a:lnTo>
                        <a:pt x="12" y="9"/>
                      </a:lnTo>
                      <a:lnTo>
                        <a:pt x="12" y="7"/>
                      </a:lnTo>
                      <a:lnTo>
                        <a:pt x="12" y="5"/>
                      </a:lnTo>
                      <a:lnTo>
                        <a:pt x="14" y="5"/>
                      </a:lnTo>
                      <a:lnTo>
                        <a:pt x="12" y="5"/>
                      </a:lnTo>
                      <a:lnTo>
                        <a:pt x="10" y="5"/>
                      </a:lnTo>
                      <a:lnTo>
                        <a:pt x="9" y="5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7" y="5"/>
                      </a:lnTo>
                      <a:close/>
                    </a:path>
                  </a:pathLst>
                </a:custGeom>
                <a:solidFill>
                  <a:srgbClr val="EB1562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89" name="Group 1988">
                <a:extLst>
                  <a:ext uri="{FF2B5EF4-FFF2-40B4-BE49-F238E27FC236}">
                    <a16:creationId xmlns:a16="http://schemas.microsoft.com/office/drawing/2014/main" id="{05A16B55-BE53-2447-B2E3-422B8ED27D8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44" y="399"/>
                <a:ext cx="7" cy="9"/>
                <a:chOff x="344" y="399"/>
                <a:chExt cx="7" cy="9"/>
              </a:xfrm>
            </p:grpSpPr>
            <p:sp>
              <p:nvSpPr>
                <p:cNvPr id="2002" name="Freeform 376">
                  <a:extLst>
                    <a:ext uri="{FF2B5EF4-FFF2-40B4-BE49-F238E27FC236}">
                      <a16:creationId xmlns:a16="http://schemas.microsoft.com/office/drawing/2014/main" id="{E86C4320-761C-0544-AE71-4183CF438D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4" y="399"/>
                  <a:ext cx="7" cy="9"/>
                </a:xfrm>
                <a:custGeom>
                  <a:avLst/>
                  <a:gdLst>
                    <a:gd name="T0" fmla="*/ 2 w 7"/>
                    <a:gd name="T1" fmla="*/ 0 h 9"/>
                    <a:gd name="T2" fmla="*/ 0 w 7"/>
                    <a:gd name="T3" fmla="*/ 0 h 9"/>
                    <a:gd name="T4" fmla="*/ 2 w 7"/>
                    <a:gd name="T5" fmla="*/ 2 h 9"/>
                    <a:gd name="T6" fmla="*/ 2 w 7"/>
                    <a:gd name="T7" fmla="*/ 4 h 9"/>
                    <a:gd name="T8" fmla="*/ 3 w 7"/>
                    <a:gd name="T9" fmla="*/ 4 h 9"/>
                    <a:gd name="T10" fmla="*/ 3 w 7"/>
                    <a:gd name="T11" fmla="*/ 5 h 9"/>
                    <a:gd name="T12" fmla="*/ 3 w 7"/>
                    <a:gd name="T13" fmla="*/ 7 h 9"/>
                    <a:gd name="T14" fmla="*/ 3 w 7"/>
                    <a:gd name="T15" fmla="*/ 9 h 9"/>
                    <a:gd name="T16" fmla="*/ 5 w 7"/>
                    <a:gd name="T17" fmla="*/ 9 h 9"/>
                    <a:gd name="T18" fmla="*/ 5 w 7"/>
                    <a:gd name="T19" fmla="*/ 7 h 9"/>
                    <a:gd name="T20" fmla="*/ 5 w 7"/>
                    <a:gd name="T21" fmla="*/ 5 h 9"/>
                    <a:gd name="T22" fmla="*/ 5 w 7"/>
                    <a:gd name="T23" fmla="*/ 4 h 9"/>
                    <a:gd name="T24" fmla="*/ 7 w 7"/>
                    <a:gd name="T25" fmla="*/ 4 h 9"/>
                    <a:gd name="T26" fmla="*/ 7 w 7"/>
                    <a:gd name="T27" fmla="*/ 2 h 9"/>
                    <a:gd name="T28" fmla="*/ 5 w 7"/>
                    <a:gd name="T29" fmla="*/ 2 h 9"/>
                    <a:gd name="T30" fmla="*/ 3 w 7"/>
                    <a:gd name="T31" fmla="*/ 2 h 9"/>
                    <a:gd name="T32" fmla="*/ 3 w 7"/>
                    <a:gd name="T33" fmla="*/ 0 h 9"/>
                    <a:gd name="T34" fmla="*/ 2 w 7"/>
                    <a:gd name="T35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" h="9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3" y="7"/>
                      </a:lnTo>
                      <a:lnTo>
                        <a:pt x="3" y="9"/>
                      </a:lnTo>
                      <a:lnTo>
                        <a:pt x="5" y="9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4"/>
                      </a:lnTo>
                      <a:lnTo>
                        <a:pt x="7" y="4"/>
                      </a:lnTo>
                      <a:lnTo>
                        <a:pt x="7" y="2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3" name="Freeform 377">
                  <a:extLst>
                    <a:ext uri="{FF2B5EF4-FFF2-40B4-BE49-F238E27FC236}">
                      <a16:creationId xmlns:a16="http://schemas.microsoft.com/office/drawing/2014/main" id="{F481FD15-FC38-E546-B743-EAE10BE3FE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4" y="399"/>
                  <a:ext cx="7" cy="9"/>
                </a:xfrm>
                <a:custGeom>
                  <a:avLst/>
                  <a:gdLst>
                    <a:gd name="T0" fmla="*/ 2 w 7"/>
                    <a:gd name="T1" fmla="*/ 0 h 9"/>
                    <a:gd name="T2" fmla="*/ 0 w 7"/>
                    <a:gd name="T3" fmla="*/ 0 h 9"/>
                    <a:gd name="T4" fmla="*/ 2 w 7"/>
                    <a:gd name="T5" fmla="*/ 2 h 9"/>
                    <a:gd name="T6" fmla="*/ 2 w 7"/>
                    <a:gd name="T7" fmla="*/ 4 h 9"/>
                    <a:gd name="T8" fmla="*/ 3 w 7"/>
                    <a:gd name="T9" fmla="*/ 4 h 9"/>
                    <a:gd name="T10" fmla="*/ 3 w 7"/>
                    <a:gd name="T11" fmla="*/ 5 h 9"/>
                    <a:gd name="T12" fmla="*/ 3 w 7"/>
                    <a:gd name="T13" fmla="*/ 7 h 9"/>
                    <a:gd name="T14" fmla="*/ 3 w 7"/>
                    <a:gd name="T15" fmla="*/ 9 h 9"/>
                    <a:gd name="T16" fmla="*/ 5 w 7"/>
                    <a:gd name="T17" fmla="*/ 9 h 9"/>
                    <a:gd name="T18" fmla="*/ 5 w 7"/>
                    <a:gd name="T19" fmla="*/ 7 h 9"/>
                    <a:gd name="T20" fmla="*/ 5 w 7"/>
                    <a:gd name="T21" fmla="*/ 5 h 9"/>
                    <a:gd name="T22" fmla="*/ 5 w 7"/>
                    <a:gd name="T23" fmla="*/ 4 h 9"/>
                    <a:gd name="T24" fmla="*/ 7 w 7"/>
                    <a:gd name="T25" fmla="*/ 4 h 9"/>
                    <a:gd name="T26" fmla="*/ 7 w 7"/>
                    <a:gd name="T27" fmla="*/ 2 h 9"/>
                    <a:gd name="T28" fmla="*/ 5 w 7"/>
                    <a:gd name="T29" fmla="*/ 2 h 9"/>
                    <a:gd name="T30" fmla="*/ 3 w 7"/>
                    <a:gd name="T31" fmla="*/ 2 h 9"/>
                    <a:gd name="T32" fmla="*/ 3 w 7"/>
                    <a:gd name="T33" fmla="*/ 0 h 9"/>
                    <a:gd name="T34" fmla="*/ 2 w 7"/>
                    <a:gd name="T35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" h="9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3" y="7"/>
                      </a:lnTo>
                      <a:lnTo>
                        <a:pt x="3" y="9"/>
                      </a:lnTo>
                      <a:lnTo>
                        <a:pt x="5" y="9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4"/>
                      </a:lnTo>
                      <a:lnTo>
                        <a:pt x="7" y="4"/>
                      </a:lnTo>
                      <a:lnTo>
                        <a:pt x="7" y="2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90" name="Group 1989">
                <a:extLst>
                  <a:ext uri="{FF2B5EF4-FFF2-40B4-BE49-F238E27FC236}">
                    <a16:creationId xmlns:a16="http://schemas.microsoft.com/office/drawing/2014/main" id="{A0FB808B-604D-5D49-B29D-2FCF70BBC72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34" y="399"/>
                <a:ext cx="12" cy="7"/>
                <a:chOff x="334" y="399"/>
                <a:chExt cx="12" cy="7"/>
              </a:xfrm>
            </p:grpSpPr>
            <p:sp>
              <p:nvSpPr>
                <p:cNvPr id="2000" name="Freeform 374">
                  <a:extLst>
                    <a:ext uri="{FF2B5EF4-FFF2-40B4-BE49-F238E27FC236}">
                      <a16:creationId xmlns:a16="http://schemas.microsoft.com/office/drawing/2014/main" id="{3F137D3D-65E5-EA46-B45B-119A3F0DE8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4" y="399"/>
                  <a:ext cx="12" cy="7"/>
                </a:xfrm>
                <a:custGeom>
                  <a:avLst/>
                  <a:gdLst>
                    <a:gd name="T0" fmla="*/ 3 w 12"/>
                    <a:gd name="T1" fmla="*/ 0 h 7"/>
                    <a:gd name="T2" fmla="*/ 2 w 12"/>
                    <a:gd name="T3" fmla="*/ 0 h 7"/>
                    <a:gd name="T4" fmla="*/ 0 w 12"/>
                    <a:gd name="T5" fmla="*/ 0 h 7"/>
                    <a:gd name="T6" fmla="*/ 0 w 12"/>
                    <a:gd name="T7" fmla="*/ 2 h 7"/>
                    <a:gd name="T8" fmla="*/ 2 w 12"/>
                    <a:gd name="T9" fmla="*/ 2 h 7"/>
                    <a:gd name="T10" fmla="*/ 0 w 12"/>
                    <a:gd name="T11" fmla="*/ 4 h 7"/>
                    <a:gd name="T12" fmla="*/ 2 w 12"/>
                    <a:gd name="T13" fmla="*/ 5 h 7"/>
                    <a:gd name="T14" fmla="*/ 3 w 12"/>
                    <a:gd name="T15" fmla="*/ 5 h 7"/>
                    <a:gd name="T16" fmla="*/ 5 w 12"/>
                    <a:gd name="T17" fmla="*/ 5 h 7"/>
                    <a:gd name="T18" fmla="*/ 5 w 12"/>
                    <a:gd name="T19" fmla="*/ 7 h 7"/>
                    <a:gd name="T20" fmla="*/ 7 w 12"/>
                    <a:gd name="T21" fmla="*/ 7 h 7"/>
                    <a:gd name="T22" fmla="*/ 8 w 12"/>
                    <a:gd name="T23" fmla="*/ 5 h 7"/>
                    <a:gd name="T24" fmla="*/ 10 w 12"/>
                    <a:gd name="T25" fmla="*/ 7 h 7"/>
                    <a:gd name="T26" fmla="*/ 12 w 12"/>
                    <a:gd name="T27" fmla="*/ 5 h 7"/>
                    <a:gd name="T28" fmla="*/ 10 w 12"/>
                    <a:gd name="T29" fmla="*/ 5 h 7"/>
                    <a:gd name="T30" fmla="*/ 12 w 12"/>
                    <a:gd name="T31" fmla="*/ 4 h 7"/>
                    <a:gd name="T32" fmla="*/ 10 w 12"/>
                    <a:gd name="T33" fmla="*/ 4 h 7"/>
                    <a:gd name="T34" fmla="*/ 10 w 12"/>
                    <a:gd name="T35" fmla="*/ 2 h 7"/>
                    <a:gd name="T36" fmla="*/ 8 w 12"/>
                    <a:gd name="T37" fmla="*/ 2 h 7"/>
                    <a:gd name="T38" fmla="*/ 7 w 12"/>
                    <a:gd name="T39" fmla="*/ 2 h 7"/>
                    <a:gd name="T40" fmla="*/ 5 w 12"/>
                    <a:gd name="T41" fmla="*/ 2 h 7"/>
                    <a:gd name="T42" fmla="*/ 3 w 12"/>
                    <a:gd name="T43" fmla="*/ 2 h 7"/>
                    <a:gd name="T44" fmla="*/ 3 w 12"/>
                    <a:gd name="T4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2" h="7">
                      <a:moveTo>
                        <a:pt x="3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5" y="7"/>
                      </a:lnTo>
                      <a:lnTo>
                        <a:pt x="7" y="7"/>
                      </a:lnTo>
                      <a:lnTo>
                        <a:pt x="8" y="5"/>
                      </a:lnTo>
                      <a:lnTo>
                        <a:pt x="10" y="7"/>
                      </a:lnTo>
                      <a:lnTo>
                        <a:pt x="12" y="5"/>
                      </a:lnTo>
                      <a:lnTo>
                        <a:pt x="10" y="5"/>
                      </a:lnTo>
                      <a:lnTo>
                        <a:pt x="12" y="4"/>
                      </a:lnTo>
                      <a:lnTo>
                        <a:pt x="10" y="4"/>
                      </a:lnTo>
                      <a:lnTo>
                        <a:pt x="10" y="2"/>
                      </a:lnTo>
                      <a:lnTo>
                        <a:pt x="8" y="2"/>
                      </a:lnTo>
                      <a:lnTo>
                        <a:pt x="7" y="2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1" name="Freeform 375">
                  <a:extLst>
                    <a:ext uri="{FF2B5EF4-FFF2-40B4-BE49-F238E27FC236}">
                      <a16:creationId xmlns:a16="http://schemas.microsoft.com/office/drawing/2014/main" id="{06CD4601-BA91-C74D-95E9-92312CA8E0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4" y="399"/>
                  <a:ext cx="12" cy="7"/>
                </a:xfrm>
                <a:custGeom>
                  <a:avLst/>
                  <a:gdLst>
                    <a:gd name="T0" fmla="*/ 3 w 12"/>
                    <a:gd name="T1" fmla="*/ 0 h 7"/>
                    <a:gd name="T2" fmla="*/ 2 w 12"/>
                    <a:gd name="T3" fmla="*/ 0 h 7"/>
                    <a:gd name="T4" fmla="*/ 0 w 12"/>
                    <a:gd name="T5" fmla="*/ 0 h 7"/>
                    <a:gd name="T6" fmla="*/ 0 w 12"/>
                    <a:gd name="T7" fmla="*/ 2 h 7"/>
                    <a:gd name="T8" fmla="*/ 2 w 12"/>
                    <a:gd name="T9" fmla="*/ 2 h 7"/>
                    <a:gd name="T10" fmla="*/ 0 w 12"/>
                    <a:gd name="T11" fmla="*/ 4 h 7"/>
                    <a:gd name="T12" fmla="*/ 2 w 12"/>
                    <a:gd name="T13" fmla="*/ 5 h 7"/>
                    <a:gd name="T14" fmla="*/ 3 w 12"/>
                    <a:gd name="T15" fmla="*/ 5 h 7"/>
                    <a:gd name="T16" fmla="*/ 5 w 12"/>
                    <a:gd name="T17" fmla="*/ 5 h 7"/>
                    <a:gd name="T18" fmla="*/ 5 w 12"/>
                    <a:gd name="T19" fmla="*/ 7 h 7"/>
                    <a:gd name="T20" fmla="*/ 7 w 12"/>
                    <a:gd name="T21" fmla="*/ 7 h 7"/>
                    <a:gd name="T22" fmla="*/ 8 w 12"/>
                    <a:gd name="T23" fmla="*/ 5 h 7"/>
                    <a:gd name="T24" fmla="*/ 10 w 12"/>
                    <a:gd name="T25" fmla="*/ 7 h 7"/>
                    <a:gd name="T26" fmla="*/ 12 w 12"/>
                    <a:gd name="T27" fmla="*/ 5 h 7"/>
                    <a:gd name="T28" fmla="*/ 10 w 12"/>
                    <a:gd name="T29" fmla="*/ 5 h 7"/>
                    <a:gd name="T30" fmla="*/ 12 w 12"/>
                    <a:gd name="T31" fmla="*/ 4 h 7"/>
                    <a:gd name="T32" fmla="*/ 10 w 12"/>
                    <a:gd name="T33" fmla="*/ 4 h 7"/>
                    <a:gd name="T34" fmla="*/ 10 w 12"/>
                    <a:gd name="T35" fmla="*/ 2 h 7"/>
                    <a:gd name="T36" fmla="*/ 8 w 12"/>
                    <a:gd name="T37" fmla="*/ 2 h 7"/>
                    <a:gd name="T38" fmla="*/ 7 w 12"/>
                    <a:gd name="T39" fmla="*/ 2 h 7"/>
                    <a:gd name="T40" fmla="*/ 5 w 12"/>
                    <a:gd name="T41" fmla="*/ 2 h 7"/>
                    <a:gd name="T42" fmla="*/ 3 w 12"/>
                    <a:gd name="T43" fmla="*/ 2 h 7"/>
                    <a:gd name="T44" fmla="*/ 3 w 12"/>
                    <a:gd name="T4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2" h="7">
                      <a:moveTo>
                        <a:pt x="3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5" y="7"/>
                      </a:lnTo>
                      <a:lnTo>
                        <a:pt x="7" y="7"/>
                      </a:lnTo>
                      <a:lnTo>
                        <a:pt x="8" y="5"/>
                      </a:lnTo>
                      <a:lnTo>
                        <a:pt x="10" y="7"/>
                      </a:lnTo>
                      <a:lnTo>
                        <a:pt x="12" y="5"/>
                      </a:lnTo>
                      <a:lnTo>
                        <a:pt x="10" y="5"/>
                      </a:lnTo>
                      <a:lnTo>
                        <a:pt x="12" y="4"/>
                      </a:lnTo>
                      <a:lnTo>
                        <a:pt x="10" y="4"/>
                      </a:lnTo>
                      <a:lnTo>
                        <a:pt x="10" y="2"/>
                      </a:lnTo>
                      <a:lnTo>
                        <a:pt x="8" y="2"/>
                      </a:lnTo>
                      <a:lnTo>
                        <a:pt x="7" y="2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54C5A8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91" name="Group 1990">
                <a:extLst>
                  <a:ext uri="{FF2B5EF4-FFF2-40B4-BE49-F238E27FC236}">
                    <a16:creationId xmlns:a16="http://schemas.microsoft.com/office/drawing/2014/main" id="{BE159760-D5A8-8245-8C67-070E98E0F83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14" y="384"/>
                <a:ext cx="17" cy="13"/>
                <a:chOff x="314" y="384"/>
                <a:chExt cx="17" cy="13"/>
              </a:xfrm>
            </p:grpSpPr>
            <p:sp>
              <p:nvSpPr>
                <p:cNvPr id="1998" name="Freeform 372">
                  <a:extLst>
                    <a:ext uri="{FF2B5EF4-FFF2-40B4-BE49-F238E27FC236}">
                      <a16:creationId xmlns:a16="http://schemas.microsoft.com/office/drawing/2014/main" id="{D8C33247-DAD7-EB45-8551-F049F90D35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" y="384"/>
                  <a:ext cx="17" cy="13"/>
                </a:xfrm>
                <a:custGeom>
                  <a:avLst/>
                  <a:gdLst>
                    <a:gd name="T0" fmla="*/ 3 w 17"/>
                    <a:gd name="T1" fmla="*/ 2 h 13"/>
                    <a:gd name="T2" fmla="*/ 3 w 17"/>
                    <a:gd name="T3" fmla="*/ 3 h 13"/>
                    <a:gd name="T4" fmla="*/ 1 w 17"/>
                    <a:gd name="T5" fmla="*/ 3 h 13"/>
                    <a:gd name="T6" fmla="*/ 0 w 17"/>
                    <a:gd name="T7" fmla="*/ 3 h 13"/>
                    <a:gd name="T8" fmla="*/ 0 w 17"/>
                    <a:gd name="T9" fmla="*/ 5 h 13"/>
                    <a:gd name="T10" fmla="*/ 0 w 17"/>
                    <a:gd name="T11" fmla="*/ 7 h 13"/>
                    <a:gd name="T12" fmla="*/ 1 w 17"/>
                    <a:gd name="T13" fmla="*/ 7 h 13"/>
                    <a:gd name="T14" fmla="*/ 1 w 17"/>
                    <a:gd name="T15" fmla="*/ 8 h 13"/>
                    <a:gd name="T16" fmla="*/ 1 w 17"/>
                    <a:gd name="T17" fmla="*/ 10 h 13"/>
                    <a:gd name="T18" fmla="*/ 3 w 17"/>
                    <a:gd name="T19" fmla="*/ 10 h 13"/>
                    <a:gd name="T20" fmla="*/ 5 w 17"/>
                    <a:gd name="T21" fmla="*/ 10 h 13"/>
                    <a:gd name="T22" fmla="*/ 6 w 17"/>
                    <a:gd name="T23" fmla="*/ 10 h 13"/>
                    <a:gd name="T24" fmla="*/ 5 w 17"/>
                    <a:gd name="T25" fmla="*/ 12 h 13"/>
                    <a:gd name="T26" fmla="*/ 6 w 17"/>
                    <a:gd name="T27" fmla="*/ 12 h 13"/>
                    <a:gd name="T28" fmla="*/ 8 w 17"/>
                    <a:gd name="T29" fmla="*/ 12 h 13"/>
                    <a:gd name="T30" fmla="*/ 10 w 17"/>
                    <a:gd name="T31" fmla="*/ 12 h 13"/>
                    <a:gd name="T32" fmla="*/ 10 w 17"/>
                    <a:gd name="T33" fmla="*/ 13 h 13"/>
                    <a:gd name="T34" fmla="*/ 12 w 17"/>
                    <a:gd name="T35" fmla="*/ 13 h 13"/>
                    <a:gd name="T36" fmla="*/ 13 w 17"/>
                    <a:gd name="T37" fmla="*/ 13 h 13"/>
                    <a:gd name="T38" fmla="*/ 13 w 17"/>
                    <a:gd name="T39" fmla="*/ 12 h 13"/>
                    <a:gd name="T40" fmla="*/ 15 w 17"/>
                    <a:gd name="T41" fmla="*/ 12 h 13"/>
                    <a:gd name="T42" fmla="*/ 17 w 17"/>
                    <a:gd name="T43" fmla="*/ 10 h 13"/>
                    <a:gd name="T44" fmla="*/ 17 w 17"/>
                    <a:gd name="T45" fmla="*/ 8 h 13"/>
                    <a:gd name="T46" fmla="*/ 17 w 17"/>
                    <a:gd name="T47" fmla="*/ 7 h 13"/>
                    <a:gd name="T48" fmla="*/ 15 w 17"/>
                    <a:gd name="T49" fmla="*/ 7 h 13"/>
                    <a:gd name="T50" fmla="*/ 15 w 17"/>
                    <a:gd name="T51" fmla="*/ 5 h 13"/>
                    <a:gd name="T52" fmla="*/ 15 w 17"/>
                    <a:gd name="T53" fmla="*/ 3 h 13"/>
                    <a:gd name="T54" fmla="*/ 13 w 17"/>
                    <a:gd name="T55" fmla="*/ 2 h 13"/>
                    <a:gd name="T56" fmla="*/ 13 w 17"/>
                    <a:gd name="T57" fmla="*/ 0 h 13"/>
                    <a:gd name="T58" fmla="*/ 12 w 17"/>
                    <a:gd name="T59" fmla="*/ 0 h 13"/>
                    <a:gd name="T60" fmla="*/ 12 w 17"/>
                    <a:gd name="T61" fmla="*/ 2 h 13"/>
                    <a:gd name="T62" fmla="*/ 10 w 17"/>
                    <a:gd name="T63" fmla="*/ 2 h 13"/>
                    <a:gd name="T64" fmla="*/ 8 w 17"/>
                    <a:gd name="T65" fmla="*/ 2 h 13"/>
                    <a:gd name="T66" fmla="*/ 6 w 17"/>
                    <a:gd name="T67" fmla="*/ 2 h 13"/>
                    <a:gd name="T68" fmla="*/ 5 w 17"/>
                    <a:gd name="T69" fmla="*/ 2 h 13"/>
                    <a:gd name="T70" fmla="*/ 3 w 17"/>
                    <a:gd name="T71" fmla="*/ 2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7" h="13">
                      <a:moveTo>
                        <a:pt x="3" y="2"/>
                      </a:move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1" y="8"/>
                      </a:lnTo>
                      <a:lnTo>
                        <a:pt x="1" y="10"/>
                      </a:lnTo>
                      <a:lnTo>
                        <a:pt x="3" y="10"/>
                      </a:lnTo>
                      <a:lnTo>
                        <a:pt x="5" y="10"/>
                      </a:lnTo>
                      <a:lnTo>
                        <a:pt x="6" y="10"/>
                      </a:lnTo>
                      <a:lnTo>
                        <a:pt x="5" y="12"/>
                      </a:lnTo>
                      <a:lnTo>
                        <a:pt x="6" y="12"/>
                      </a:lnTo>
                      <a:lnTo>
                        <a:pt x="8" y="12"/>
                      </a:lnTo>
                      <a:lnTo>
                        <a:pt x="10" y="12"/>
                      </a:lnTo>
                      <a:lnTo>
                        <a:pt x="10" y="13"/>
                      </a:lnTo>
                      <a:lnTo>
                        <a:pt x="12" y="13"/>
                      </a:lnTo>
                      <a:lnTo>
                        <a:pt x="13" y="13"/>
                      </a:lnTo>
                      <a:lnTo>
                        <a:pt x="13" y="12"/>
                      </a:lnTo>
                      <a:lnTo>
                        <a:pt x="15" y="12"/>
                      </a:lnTo>
                      <a:lnTo>
                        <a:pt x="17" y="10"/>
                      </a:lnTo>
                      <a:lnTo>
                        <a:pt x="17" y="8"/>
                      </a:lnTo>
                      <a:lnTo>
                        <a:pt x="17" y="7"/>
                      </a:lnTo>
                      <a:lnTo>
                        <a:pt x="15" y="7"/>
                      </a:lnTo>
                      <a:lnTo>
                        <a:pt x="15" y="5"/>
                      </a:lnTo>
                      <a:lnTo>
                        <a:pt x="15" y="3"/>
                      </a:lnTo>
                      <a:lnTo>
                        <a:pt x="13" y="2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2" y="2"/>
                      </a:lnTo>
                      <a:lnTo>
                        <a:pt x="10" y="2"/>
                      </a:lnTo>
                      <a:lnTo>
                        <a:pt x="8" y="2"/>
                      </a:lnTo>
                      <a:lnTo>
                        <a:pt x="6" y="2"/>
                      </a:lnTo>
                      <a:lnTo>
                        <a:pt x="5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99" name="Freeform 373">
                  <a:extLst>
                    <a:ext uri="{FF2B5EF4-FFF2-40B4-BE49-F238E27FC236}">
                      <a16:creationId xmlns:a16="http://schemas.microsoft.com/office/drawing/2014/main" id="{089C354A-9E5C-C04D-95AA-A19EB9A195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" y="384"/>
                  <a:ext cx="17" cy="13"/>
                </a:xfrm>
                <a:custGeom>
                  <a:avLst/>
                  <a:gdLst>
                    <a:gd name="T0" fmla="*/ 3 w 17"/>
                    <a:gd name="T1" fmla="*/ 2 h 13"/>
                    <a:gd name="T2" fmla="*/ 3 w 17"/>
                    <a:gd name="T3" fmla="*/ 3 h 13"/>
                    <a:gd name="T4" fmla="*/ 1 w 17"/>
                    <a:gd name="T5" fmla="*/ 3 h 13"/>
                    <a:gd name="T6" fmla="*/ 0 w 17"/>
                    <a:gd name="T7" fmla="*/ 3 h 13"/>
                    <a:gd name="T8" fmla="*/ 0 w 17"/>
                    <a:gd name="T9" fmla="*/ 5 h 13"/>
                    <a:gd name="T10" fmla="*/ 0 w 17"/>
                    <a:gd name="T11" fmla="*/ 7 h 13"/>
                    <a:gd name="T12" fmla="*/ 1 w 17"/>
                    <a:gd name="T13" fmla="*/ 7 h 13"/>
                    <a:gd name="T14" fmla="*/ 1 w 17"/>
                    <a:gd name="T15" fmla="*/ 8 h 13"/>
                    <a:gd name="T16" fmla="*/ 1 w 17"/>
                    <a:gd name="T17" fmla="*/ 10 h 13"/>
                    <a:gd name="T18" fmla="*/ 3 w 17"/>
                    <a:gd name="T19" fmla="*/ 10 h 13"/>
                    <a:gd name="T20" fmla="*/ 5 w 17"/>
                    <a:gd name="T21" fmla="*/ 10 h 13"/>
                    <a:gd name="T22" fmla="*/ 6 w 17"/>
                    <a:gd name="T23" fmla="*/ 10 h 13"/>
                    <a:gd name="T24" fmla="*/ 5 w 17"/>
                    <a:gd name="T25" fmla="*/ 12 h 13"/>
                    <a:gd name="T26" fmla="*/ 6 w 17"/>
                    <a:gd name="T27" fmla="*/ 12 h 13"/>
                    <a:gd name="T28" fmla="*/ 8 w 17"/>
                    <a:gd name="T29" fmla="*/ 12 h 13"/>
                    <a:gd name="T30" fmla="*/ 10 w 17"/>
                    <a:gd name="T31" fmla="*/ 12 h 13"/>
                    <a:gd name="T32" fmla="*/ 10 w 17"/>
                    <a:gd name="T33" fmla="*/ 13 h 13"/>
                    <a:gd name="T34" fmla="*/ 12 w 17"/>
                    <a:gd name="T35" fmla="*/ 13 h 13"/>
                    <a:gd name="T36" fmla="*/ 13 w 17"/>
                    <a:gd name="T37" fmla="*/ 13 h 13"/>
                    <a:gd name="T38" fmla="*/ 13 w 17"/>
                    <a:gd name="T39" fmla="*/ 12 h 13"/>
                    <a:gd name="T40" fmla="*/ 15 w 17"/>
                    <a:gd name="T41" fmla="*/ 12 h 13"/>
                    <a:gd name="T42" fmla="*/ 17 w 17"/>
                    <a:gd name="T43" fmla="*/ 10 h 13"/>
                    <a:gd name="T44" fmla="*/ 17 w 17"/>
                    <a:gd name="T45" fmla="*/ 8 h 13"/>
                    <a:gd name="T46" fmla="*/ 17 w 17"/>
                    <a:gd name="T47" fmla="*/ 7 h 13"/>
                    <a:gd name="T48" fmla="*/ 15 w 17"/>
                    <a:gd name="T49" fmla="*/ 7 h 13"/>
                    <a:gd name="T50" fmla="*/ 15 w 17"/>
                    <a:gd name="T51" fmla="*/ 5 h 13"/>
                    <a:gd name="T52" fmla="*/ 15 w 17"/>
                    <a:gd name="T53" fmla="*/ 3 h 13"/>
                    <a:gd name="T54" fmla="*/ 13 w 17"/>
                    <a:gd name="T55" fmla="*/ 2 h 13"/>
                    <a:gd name="T56" fmla="*/ 13 w 17"/>
                    <a:gd name="T57" fmla="*/ 0 h 13"/>
                    <a:gd name="T58" fmla="*/ 12 w 17"/>
                    <a:gd name="T59" fmla="*/ 0 h 13"/>
                    <a:gd name="T60" fmla="*/ 12 w 17"/>
                    <a:gd name="T61" fmla="*/ 2 h 13"/>
                    <a:gd name="T62" fmla="*/ 10 w 17"/>
                    <a:gd name="T63" fmla="*/ 2 h 13"/>
                    <a:gd name="T64" fmla="*/ 8 w 17"/>
                    <a:gd name="T65" fmla="*/ 2 h 13"/>
                    <a:gd name="T66" fmla="*/ 6 w 17"/>
                    <a:gd name="T67" fmla="*/ 2 h 13"/>
                    <a:gd name="T68" fmla="*/ 5 w 17"/>
                    <a:gd name="T69" fmla="*/ 2 h 13"/>
                    <a:gd name="T70" fmla="*/ 3 w 17"/>
                    <a:gd name="T71" fmla="*/ 2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7" h="13">
                      <a:moveTo>
                        <a:pt x="3" y="2"/>
                      </a:move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1" y="8"/>
                      </a:lnTo>
                      <a:lnTo>
                        <a:pt x="1" y="10"/>
                      </a:lnTo>
                      <a:lnTo>
                        <a:pt x="3" y="10"/>
                      </a:lnTo>
                      <a:lnTo>
                        <a:pt x="5" y="10"/>
                      </a:lnTo>
                      <a:lnTo>
                        <a:pt x="6" y="10"/>
                      </a:lnTo>
                      <a:lnTo>
                        <a:pt x="5" y="12"/>
                      </a:lnTo>
                      <a:lnTo>
                        <a:pt x="6" y="12"/>
                      </a:lnTo>
                      <a:lnTo>
                        <a:pt x="8" y="12"/>
                      </a:lnTo>
                      <a:lnTo>
                        <a:pt x="10" y="12"/>
                      </a:lnTo>
                      <a:lnTo>
                        <a:pt x="10" y="13"/>
                      </a:lnTo>
                      <a:lnTo>
                        <a:pt x="12" y="13"/>
                      </a:lnTo>
                      <a:lnTo>
                        <a:pt x="13" y="13"/>
                      </a:lnTo>
                      <a:lnTo>
                        <a:pt x="13" y="12"/>
                      </a:lnTo>
                      <a:lnTo>
                        <a:pt x="15" y="12"/>
                      </a:lnTo>
                      <a:lnTo>
                        <a:pt x="17" y="10"/>
                      </a:lnTo>
                      <a:lnTo>
                        <a:pt x="17" y="8"/>
                      </a:lnTo>
                      <a:lnTo>
                        <a:pt x="17" y="7"/>
                      </a:lnTo>
                      <a:lnTo>
                        <a:pt x="15" y="7"/>
                      </a:lnTo>
                      <a:lnTo>
                        <a:pt x="15" y="5"/>
                      </a:lnTo>
                      <a:lnTo>
                        <a:pt x="15" y="3"/>
                      </a:lnTo>
                      <a:lnTo>
                        <a:pt x="13" y="2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2" y="2"/>
                      </a:lnTo>
                      <a:lnTo>
                        <a:pt x="10" y="2"/>
                      </a:lnTo>
                      <a:lnTo>
                        <a:pt x="8" y="2"/>
                      </a:lnTo>
                      <a:lnTo>
                        <a:pt x="6" y="2"/>
                      </a:lnTo>
                      <a:lnTo>
                        <a:pt x="5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rgbClr val="EB1562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92" name="Group 1991">
                <a:extLst>
                  <a:ext uri="{FF2B5EF4-FFF2-40B4-BE49-F238E27FC236}">
                    <a16:creationId xmlns:a16="http://schemas.microsoft.com/office/drawing/2014/main" id="{9ECB677C-06EC-C248-B65F-8CEDFCACEF9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27" y="394"/>
                <a:ext cx="5" cy="10"/>
                <a:chOff x="327" y="394"/>
                <a:chExt cx="5" cy="10"/>
              </a:xfrm>
            </p:grpSpPr>
            <p:sp>
              <p:nvSpPr>
                <p:cNvPr id="1996" name="Freeform 370">
                  <a:extLst>
                    <a:ext uri="{FF2B5EF4-FFF2-40B4-BE49-F238E27FC236}">
                      <a16:creationId xmlns:a16="http://schemas.microsoft.com/office/drawing/2014/main" id="{40592960-FF8E-C84B-B107-E4E57F9547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" y="394"/>
                  <a:ext cx="5" cy="10"/>
                </a:xfrm>
                <a:custGeom>
                  <a:avLst/>
                  <a:gdLst>
                    <a:gd name="T0" fmla="*/ 4 w 5"/>
                    <a:gd name="T1" fmla="*/ 3 h 10"/>
                    <a:gd name="T2" fmla="*/ 2 w 5"/>
                    <a:gd name="T3" fmla="*/ 3 h 10"/>
                    <a:gd name="T4" fmla="*/ 2 w 5"/>
                    <a:gd name="T5" fmla="*/ 5 h 10"/>
                    <a:gd name="T6" fmla="*/ 2 w 5"/>
                    <a:gd name="T7" fmla="*/ 7 h 10"/>
                    <a:gd name="T8" fmla="*/ 0 w 5"/>
                    <a:gd name="T9" fmla="*/ 7 h 10"/>
                    <a:gd name="T10" fmla="*/ 0 w 5"/>
                    <a:gd name="T11" fmla="*/ 9 h 10"/>
                    <a:gd name="T12" fmla="*/ 2 w 5"/>
                    <a:gd name="T13" fmla="*/ 9 h 10"/>
                    <a:gd name="T14" fmla="*/ 2 w 5"/>
                    <a:gd name="T15" fmla="*/ 10 h 10"/>
                    <a:gd name="T16" fmla="*/ 4 w 5"/>
                    <a:gd name="T17" fmla="*/ 9 h 10"/>
                    <a:gd name="T18" fmla="*/ 4 w 5"/>
                    <a:gd name="T19" fmla="*/ 7 h 10"/>
                    <a:gd name="T20" fmla="*/ 4 w 5"/>
                    <a:gd name="T21" fmla="*/ 5 h 10"/>
                    <a:gd name="T22" fmla="*/ 5 w 5"/>
                    <a:gd name="T23" fmla="*/ 5 h 10"/>
                    <a:gd name="T24" fmla="*/ 5 w 5"/>
                    <a:gd name="T25" fmla="*/ 3 h 10"/>
                    <a:gd name="T26" fmla="*/ 5 w 5"/>
                    <a:gd name="T27" fmla="*/ 2 h 10"/>
                    <a:gd name="T28" fmla="*/ 5 w 5"/>
                    <a:gd name="T29" fmla="*/ 0 h 10"/>
                    <a:gd name="T30" fmla="*/ 4 w 5"/>
                    <a:gd name="T31" fmla="*/ 0 h 10"/>
                    <a:gd name="T32" fmla="*/ 4 w 5"/>
                    <a:gd name="T33" fmla="*/ 2 h 10"/>
                    <a:gd name="T34" fmla="*/ 4 w 5"/>
                    <a:gd name="T35" fmla="*/ 3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" h="10">
                      <a:moveTo>
                        <a:pt x="4" y="3"/>
                      </a:move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2" y="9"/>
                      </a:lnTo>
                      <a:lnTo>
                        <a:pt x="2" y="10"/>
                      </a:lnTo>
                      <a:lnTo>
                        <a:pt x="4" y="9"/>
                      </a:lnTo>
                      <a:lnTo>
                        <a:pt x="4" y="7"/>
                      </a:lnTo>
                      <a:lnTo>
                        <a:pt x="4" y="5"/>
                      </a:lnTo>
                      <a:lnTo>
                        <a:pt x="5" y="5"/>
                      </a:ln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97" name="Freeform 371">
                  <a:extLst>
                    <a:ext uri="{FF2B5EF4-FFF2-40B4-BE49-F238E27FC236}">
                      <a16:creationId xmlns:a16="http://schemas.microsoft.com/office/drawing/2014/main" id="{CC613B79-9444-D144-A7F9-B527148835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" y="394"/>
                  <a:ext cx="5" cy="10"/>
                </a:xfrm>
                <a:custGeom>
                  <a:avLst/>
                  <a:gdLst>
                    <a:gd name="T0" fmla="*/ 4 w 5"/>
                    <a:gd name="T1" fmla="*/ 3 h 10"/>
                    <a:gd name="T2" fmla="*/ 2 w 5"/>
                    <a:gd name="T3" fmla="*/ 3 h 10"/>
                    <a:gd name="T4" fmla="*/ 2 w 5"/>
                    <a:gd name="T5" fmla="*/ 5 h 10"/>
                    <a:gd name="T6" fmla="*/ 2 w 5"/>
                    <a:gd name="T7" fmla="*/ 7 h 10"/>
                    <a:gd name="T8" fmla="*/ 0 w 5"/>
                    <a:gd name="T9" fmla="*/ 7 h 10"/>
                    <a:gd name="T10" fmla="*/ 0 w 5"/>
                    <a:gd name="T11" fmla="*/ 9 h 10"/>
                    <a:gd name="T12" fmla="*/ 2 w 5"/>
                    <a:gd name="T13" fmla="*/ 9 h 10"/>
                    <a:gd name="T14" fmla="*/ 2 w 5"/>
                    <a:gd name="T15" fmla="*/ 10 h 10"/>
                    <a:gd name="T16" fmla="*/ 4 w 5"/>
                    <a:gd name="T17" fmla="*/ 9 h 10"/>
                    <a:gd name="T18" fmla="*/ 4 w 5"/>
                    <a:gd name="T19" fmla="*/ 7 h 10"/>
                    <a:gd name="T20" fmla="*/ 4 w 5"/>
                    <a:gd name="T21" fmla="*/ 5 h 10"/>
                    <a:gd name="T22" fmla="*/ 5 w 5"/>
                    <a:gd name="T23" fmla="*/ 5 h 10"/>
                    <a:gd name="T24" fmla="*/ 5 w 5"/>
                    <a:gd name="T25" fmla="*/ 3 h 10"/>
                    <a:gd name="T26" fmla="*/ 5 w 5"/>
                    <a:gd name="T27" fmla="*/ 2 h 10"/>
                    <a:gd name="T28" fmla="*/ 5 w 5"/>
                    <a:gd name="T29" fmla="*/ 0 h 10"/>
                    <a:gd name="T30" fmla="*/ 4 w 5"/>
                    <a:gd name="T31" fmla="*/ 0 h 10"/>
                    <a:gd name="T32" fmla="*/ 4 w 5"/>
                    <a:gd name="T33" fmla="*/ 2 h 10"/>
                    <a:gd name="T34" fmla="*/ 4 w 5"/>
                    <a:gd name="T35" fmla="*/ 3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" h="10">
                      <a:moveTo>
                        <a:pt x="4" y="3"/>
                      </a:move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2" y="9"/>
                      </a:lnTo>
                      <a:lnTo>
                        <a:pt x="2" y="10"/>
                      </a:lnTo>
                      <a:lnTo>
                        <a:pt x="4" y="9"/>
                      </a:lnTo>
                      <a:lnTo>
                        <a:pt x="4" y="7"/>
                      </a:lnTo>
                      <a:lnTo>
                        <a:pt x="4" y="5"/>
                      </a:lnTo>
                      <a:lnTo>
                        <a:pt x="5" y="5"/>
                      </a:ln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93" name="Group 1992">
                <a:extLst>
                  <a:ext uri="{FF2B5EF4-FFF2-40B4-BE49-F238E27FC236}">
                    <a16:creationId xmlns:a16="http://schemas.microsoft.com/office/drawing/2014/main" id="{2CA59422-9F25-2541-9AB9-4A4FF3B3685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87" y="338"/>
                <a:ext cx="44" cy="63"/>
                <a:chOff x="287" y="338"/>
                <a:chExt cx="44" cy="63"/>
              </a:xfrm>
            </p:grpSpPr>
            <p:sp>
              <p:nvSpPr>
                <p:cNvPr id="1994" name="Freeform 368">
                  <a:extLst>
                    <a:ext uri="{FF2B5EF4-FFF2-40B4-BE49-F238E27FC236}">
                      <a16:creationId xmlns:a16="http://schemas.microsoft.com/office/drawing/2014/main" id="{3B6E6F9F-5403-4E4C-8CB3-0CD6750C68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" y="338"/>
                  <a:ext cx="44" cy="63"/>
                </a:xfrm>
                <a:custGeom>
                  <a:avLst/>
                  <a:gdLst>
                    <a:gd name="T0" fmla="*/ 15 w 44"/>
                    <a:gd name="T1" fmla="*/ 63 h 63"/>
                    <a:gd name="T2" fmla="*/ 20 w 44"/>
                    <a:gd name="T3" fmla="*/ 63 h 63"/>
                    <a:gd name="T4" fmla="*/ 22 w 44"/>
                    <a:gd name="T5" fmla="*/ 61 h 63"/>
                    <a:gd name="T6" fmla="*/ 25 w 44"/>
                    <a:gd name="T7" fmla="*/ 63 h 63"/>
                    <a:gd name="T8" fmla="*/ 23 w 44"/>
                    <a:gd name="T9" fmla="*/ 61 h 63"/>
                    <a:gd name="T10" fmla="*/ 20 w 44"/>
                    <a:gd name="T11" fmla="*/ 59 h 63"/>
                    <a:gd name="T12" fmla="*/ 20 w 44"/>
                    <a:gd name="T13" fmla="*/ 56 h 63"/>
                    <a:gd name="T14" fmla="*/ 23 w 44"/>
                    <a:gd name="T15" fmla="*/ 54 h 63"/>
                    <a:gd name="T16" fmla="*/ 22 w 44"/>
                    <a:gd name="T17" fmla="*/ 53 h 63"/>
                    <a:gd name="T18" fmla="*/ 23 w 44"/>
                    <a:gd name="T19" fmla="*/ 49 h 63"/>
                    <a:gd name="T20" fmla="*/ 23 w 44"/>
                    <a:gd name="T21" fmla="*/ 48 h 63"/>
                    <a:gd name="T22" fmla="*/ 23 w 44"/>
                    <a:gd name="T23" fmla="*/ 44 h 63"/>
                    <a:gd name="T24" fmla="*/ 28 w 44"/>
                    <a:gd name="T25" fmla="*/ 44 h 63"/>
                    <a:gd name="T26" fmla="*/ 27 w 44"/>
                    <a:gd name="T27" fmla="*/ 41 h 63"/>
                    <a:gd name="T28" fmla="*/ 32 w 44"/>
                    <a:gd name="T29" fmla="*/ 41 h 63"/>
                    <a:gd name="T30" fmla="*/ 33 w 44"/>
                    <a:gd name="T31" fmla="*/ 36 h 63"/>
                    <a:gd name="T32" fmla="*/ 35 w 44"/>
                    <a:gd name="T33" fmla="*/ 33 h 63"/>
                    <a:gd name="T34" fmla="*/ 37 w 44"/>
                    <a:gd name="T35" fmla="*/ 36 h 63"/>
                    <a:gd name="T36" fmla="*/ 40 w 44"/>
                    <a:gd name="T37" fmla="*/ 34 h 63"/>
                    <a:gd name="T38" fmla="*/ 44 w 44"/>
                    <a:gd name="T39" fmla="*/ 29 h 63"/>
                    <a:gd name="T40" fmla="*/ 40 w 44"/>
                    <a:gd name="T41" fmla="*/ 27 h 63"/>
                    <a:gd name="T42" fmla="*/ 37 w 44"/>
                    <a:gd name="T43" fmla="*/ 27 h 63"/>
                    <a:gd name="T44" fmla="*/ 33 w 44"/>
                    <a:gd name="T45" fmla="*/ 27 h 63"/>
                    <a:gd name="T46" fmla="*/ 32 w 44"/>
                    <a:gd name="T47" fmla="*/ 26 h 63"/>
                    <a:gd name="T48" fmla="*/ 30 w 44"/>
                    <a:gd name="T49" fmla="*/ 24 h 63"/>
                    <a:gd name="T50" fmla="*/ 32 w 44"/>
                    <a:gd name="T51" fmla="*/ 22 h 63"/>
                    <a:gd name="T52" fmla="*/ 32 w 44"/>
                    <a:gd name="T53" fmla="*/ 21 h 63"/>
                    <a:gd name="T54" fmla="*/ 33 w 44"/>
                    <a:gd name="T55" fmla="*/ 19 h 63"/>
                    <a:gd name="T56" fmla="*/ 33 w 44"/>
                    <a:gd name="T57" fmla="*/ 16 h 63"/>
                    <a:gd name="T58" fmla="*/ 35 w 44"/>
                    <a:gd name="T59" fmla="*/ 12 h 63"/>
                    <a:gd name="T60" fmla="*/ 37 w 44"/>
                    <a:gd name="T61" fmla="*/ 9 h 63"/>
                    <a:gd name="T62" fmla="*/ 35 w 44"/>
                    <a:gd name="T63" fmla="*/ 4 h 63"/>
                    <a:gd name="T64" fmla="*/ 37 w 44"/>
                    <a:gd name="T65" fmla="*/ 0 h 63"/>
                    <a:gd name="T66" fmla="*/ 33 w 44"/>
                    <a:gd name="T67" fmla="*/ 0 h 63"/>
                    <a:gd name="T68" fmla="*/ 28 w 44"/>
                    <a:gd name="T69" fmla="*/ 4 h 63"/>
                    <a:gd name="T70" fmla="*/ 23 w 44"/>
                    <a:gd name="T71" fmla="*/ 7 h 63"/>
                    <a:gd name="T72" fmla="*/ 20 w 44"/>
                    <a:gd name="T73" fmla="*/ 12 h 63"/>
                    <a:gd name="T74" fmla="*/ 12 w 44"/>
                    <a:gd name="T75" fmla="*/ 12 h 63"/>
                    <a:gd name="T76" fmla="*/ 5 w 44"/>
                    <a:gd name="T77" fmla="*/ 16 h 63"/>
                    <a:gd name="T78" fmla="*/ 1 w 44"/>
                    <a:gd name="T79" fmla="*/ 24 h 63"/>
                    <a:gd name="T80" fmla="*/ 0 w 44"/>
                    <a:gd name="T81" fmla="*/ 29 h 63"/>
                    <a:gd name="T82" fmla="*/ 0 w 44"/>
                    <a:gd name="T83" fmla="*/ 36 h 63"/>
                    <a:gd name="T84" fmla="*/ 1 w 44"/>
                    <a:gd name="T85" fmla="*/ 41 h 63"/>
                    <a:gd name="T86" fmla="*/ 0 w 44"/>
                    <a:gd name="T87" fmla="*/ 46 h 63"/>
                    <a:gd name="T88" fmla="*/ 1 w 44"/>
                    <a:gd name="T89" fmla="*/ 48 h 63"/>
                    <a:gd name="T90" fmla="*/ 5 w 44"/>
                    <a:gd name="T91" fmla="*/ 49 h 63"/>
                    <a:gd name="T92" fmla="*/ 8 w 44"/>
                    <a:gd name="T93" fmla="*/ 53 h 63"/>
                    <a:gd name="T94" fmla="*/ 8 w 44"/>
                    <a:gd name="T95" fmla="*/ 58 h 63"/>
                    <a:gd name="T96" fmla="*/ 10 w 44"/>
                    <a:gd name="T97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4" h="63">
                      <a:moveTo>
                        <a:pt x="12" y="63"/>
                      </a:moveTo>
                      <a:lnTo>
                        <a:pt x="15" y="63"/>
                      </a:lnTo>
                      <a:lnTo>
                        <a:pt x="18" y="63"/>
                      </a:lnTo>
                      <a:lnTo>
                        <a:pt x="20" y="63"/>
                      </a:lnTo>
                      <a:lnTo>
                        <a:pt x="22" y="63"/>
                      </a:lnTo>
                      <a:lnTo>
                        <a:pt x="22" y="61"/>
                      </a:lnTo>
                      <a:lnTo>
                        <a:pt x="23" y="63"/>
                      </a:lnTo>
                      <a:lnTo>
                        <a:pt x="25" y="63"/>
                      </a:lnTo>
                      <a:lnTo>
                        <a:pt x="25" y="61"/>
                      </a:lnTo>
                      <a:lnTo>
                        <a:pt x="23" y="61"/>
                      </a:lnTo>
                      <a:lnTo>
                        <a:pt x="22" y="59"/>
                      </a:lnTo>
                      <a:lnTo>
                        <a:pt x="20" y="59"/>
                      </a:lnTo>
                      <a:lnTo>
                        <a:pt x="20" y="58"/>
                      </a:lnTo>
                      <a:lnTo>
                        <a:pt x="20" y="56"/>
                      </a:lnTo>
                      <a:lnTo>
                        <a:pt x="22" y="56"/>
                      </a:lnTo>
                      <a:lnTo>
                        <a:pt x="23" y="54"/>
                      </a:lnTo>
                      <a:lnTo>
                        <a:pt x="22" y="54"/>
                      </a:lnTo>
                      <a:lnTo>
                        <a:pt x="22" y="53"/>
                      </a:lnTo>
                      <a:lnTo>
                        <a:pt x="23" y="51"/>
                      </a:lnTo>
                      <a:lnTo>
                        <a:pt x="23" y="49"/>
                      </a:lnTo>
                      <a:lnTo>
                        <a:pt x="22" y="49"/>
                      </a:lnTo>
                      <a:lnTo>
                        <a:pt x="23" y="48"/>
                      </a:lnTo>
                      <a:lnTo>
                        <a:pt x="25" y="46"/>
                      </a:lnTo>
                      <a:lnTo>
                        <a:pt x="23" y="44"/>
                      </a:lnTo>
                      <a:lnTo>
                        <a:pt x="25" y="44"/>
                      </a:lnTo>
                      <a:lnTo>
                        <a:pt x="28" y="44"/>
                      </a:lnTo>
                      <a:lnTo>
                        <a:pt x="28" y="43"/>
                      </a:lnTo>
                      <a:lnTo>
                        <a:pt x="27" y="41"/>
                      </a:lnTo>
                      <a:lnTo>
                        <a:pt x="28" y="41"/>
                      </a:lnTo>
                      <a:lnTo>
                        <a:pt x="32" y="41"/>
                      </a:lnTo>
                      <a:lnTo>
                        <a:pt x="33" y="39"/>
                      </a:lnTo>
                      <a:lnTo>
                        <a:pt x="33" y="36"/>
                      </a:lnTo>
                      <a:lnTo>
                        <a:pt x="33" y="34"/>
                      </a:lnTo>
                      <a:lnTo>
                        <a:pt x="35" y="33"/>
                      </a:lnTo>
                      <a:lnTo>
                        <a:pt x="35" y="34"/>
                      </a:lnTo>
                      <a:lnTo>
                        <a:pt x="37" y="36"/>
                      </a:lnTo>
                      <a:lnTo>
                        <a:pt x="39" y="34"/>
                      </a:lnTo>
                      <a:lnTo>
                        <a:pt x="40" y="34"/>
                      </a:lnTo>
                      <a:lnTo>
                        <a:pt x="42" y="31"/>
                      </a:lnTo>
                      <a:lnTo>
                        <a:pt x="44" y="29"/>
                      </a:lnTo>
                      <a:lnTo>
                        <a:pt x="42" y="27"/>
                      </a:lnTo>
                      <a:lnTo>
                        <a:pt x="40" y="27"/>
                      </a:lnTo>
                      <a:lnTo>
                        <a:pt x="39" y="27"/>
                      </a:lnTo>
                      <a:lnTo>
                        <a:pt x="37" y="27"/>
                      </a:lnTo>
                      <a:lnTo>
                        <a:pt x="35" y="27"/>
                      </a:lnTo>
                      <a:lnTo>
                        <a:pt x="33" y="27"/>
                      </a:lnTo>
                      <a:lnTo>
                        <a:pt x="32" y="27"/>
                      </a:lnTo>
                      <a:lnTo>
                        <a:pt x="32" y="26"/>
                      </a:lnTo>
                      <a:lnTo>
                        <a:pt x="33" y="24"/>
                      </a:lnTo>
                      <a:lnTo>
                        <a:pt x="30" y="24"/>
                      </a:lnTo>
                      <a:lnTo>
                        <a:pt x="30" y="22"/>
                      </a:lnTo>
                      <a:lnTo>
                        <a:pt x="32" y="22"/>
                      </a:lnTo>
                      <a:lnTo>
                        <a:pt x="33" y="21"/>
                      </a:lnTo>
                      <a:lnTo>
                        <a:pt x="32" y="21"/>
                      </a:lnTo>
                      <a:lnTo>
                        <a:pt x="33" y="21"/>
                      </a:lnTo>
                      <a:lnTo>
                        <a:pt x="33" y="19"/>
                      </a:lnTo>
                      <a:lnTo>
                        <a:pt x="33" y="17"/>
                      </a:lnTo>
                      <a:lnTo>
                        <a:pt x="33" y="16"/>
                      </a:lnTo>
                      <a:lnTo>
                        <a:pt x="33" y="14"/>
                      </a:lnTo>
                      <a:lnTo>
                        <a:pt x="35" y="12"/>
                      </a:lnTo>
                      <a:lnTo>
                        <a:pt x="37" y="11"/>
                      </a:lnTo>
                      <a:lnTo>
                        <a:pt x="37" y="9"/>
                      </a:lnTo>
                      <a:lnTo>
                        <a:pt x="35" y="6"/>
                      </a:lnTo>
                      <a:lnTo>
                        <a:pt x="35" y="4"/>
                      </a:lnTo>
                      <a:lnTo>
                        <a:pt x="35" y="2"/>
                      </a:lnTo>
                      <a:lnTo>
                        <a:pt x="37" y="0"/>
                      </a:lnTo>
                      <a:lnTo>
                        <a:pt x="35" y="0"/>
                      </a:lnTo>
                      <a:lnTo>
                        <a:pt x="33" y="0"/>
                      </a:lnTo>
                      <a:lnTo>
                        <a:pt x="32" y="2"/>
                      </a:lnTo>
                      <a:lnTo>
                        <a:pt x="28" y="4"/>
                      </a:lnTo>
                      <a:lnTo>
                        <a:pt x="25" y="6"/>
                      </a:lnTo>
                      <a:lnTo>
                        <a:pt x="23" y="7"/>
                      </a:lnTo>
                      <a:lnTo>
                        <a:pt x="22" y="11"/>
                      </a:lnTo>
                      <a:lnTo>
                        <a:pt x="20" y="12"/>
                      </a:lnTo>
                      <a:lnTo>
                        <a:pt x="17" y="12"/>
                      </a:lnTo>
                      <a:lnTo>
                        <a:pt x="12" y="12"/>
                      </a:lnTo>
                      <a:lnTo>
                        <a:pt x="8" y="14"/>
                      </a:lnTo>
                      <a:lnTo>
                        <a:pt x="5" y="16"/>
                      </a:lnTo>
                      <a:lnTo>
                        <a:pt x="3" y="17"/>
                      </a:lnTo>
                      <a:lnTo>
                        <a:pt x="1" y="24"/>
                      </a:lnTo>
                      <a:lnTo>
                        <a:pt x="1" y="26"/>
                      </a:lnTo>
                      <a:lnTo>
                        <a:pt x="0" y="29"/>
                      </a:lnTo>
                      <a:lnTo>
                        <a:pt x="0" y="33"/>
                      </a:lnTo>
                      <a:lnTo>
                        <a:pt x="0" y="36"/>
                      </a:lnTo>
                      <a:lnTo>
                        <a:pt x="0" y="39"/>
                      </a:lnTo>
                      <a:lnTo>
                        <a:pt x="1" y="41"/>
                      </a:lnTo>
                      <a:lnTo>
                        <a:pt x="1" y="44"/>
                      </a:lnTo>
                      <a:lnTo>
                        <a:pt x="0" y="46"/>
                      </a:lnTo>
                      <a:lnTo>
                        <a:pt x="0" y="48"/>
                      </a:lnTo>
                      <a:lnTo>
                        <a:pt x="1" y="48"/>
                      </a:lnTo>
                      <a:lnTo>
                        <a:pt x="3" y="48"/>
                      </a:lnTo>
                      <a:lnTo>
                        <a:pt x="5" y="49"/>
                      </a:lnTo>
                      <a:lnTo>
                        <a:pt x="7" y="51"/>
                      </a:lnTo>
                      <a:lnTo>
                        <a:pt x="8" y="53"/>
                      </a:lnTo>
                      <a:lnTo>
                        <a:pt x="8" y="54"/>
                      </a:lnTo>
                      <a:lnTo>
                        <a:pt x="8" y="58"/>
                      </a:lnTo>
                      <a:lnTo>
                        <a:pt x="8" y="59"/>
                      </a:lnTo>
                      <a:lnTo>
                        <a:pt x="10" y="63"/>
                      </a:lnTo>
                      <a:lnTo>
                        <a:pt x="12" y="6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95" name="Freeform 369">
                  <a:extLst>
                    <a:ext uri="{FF2B5EF4-FFF2-40B4-BE49-F238E27FC236}">
                      <a16:creationId xmlns:a16="http://schemas.microsoft.com/office/drawing/2014/main" id="{C9A91087-BD03-C54F-A0D9-D53717BBD5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" y="338"/>
                  <a:ext cx="44" cy="63"/>
                </a:xfrm>
                <a:custGeom>
                  <a:avLst/>
                  <a:gdLst>
                    <a:gd name="T0" fmla="*/ 15 w 44"/>
                    <a:gd name="T1" fmla="*/ 63 h 63"/>
                    <a:gd name="T2" fmla="*/ 20 w 44"/>
                    <a:gd name="T3" fmla="*/ 63 h 63"/>
                    <a:gd name="T4" fmla="*/ 22 w 44"/>
                    <a:gd name="T5" fmla="*/ 61 h 63"/>
                    <a:gd name="T6" fmla="*/ 25 w 44"/>
                    <a:gd name="T7" fmla="*/ 63 h 63"/>
                    <a:gd name="T8" fmla="*/ 23 w 44"/>
                    <a:gd name="T9" fmla="*/ 61 h 63"/>
                    <a:gd name="T10" fmla="*/ 20 w 44"/>
                    <a:gd name="T11" fmla="*/ 59 h 63"/>
                    <a:gd name="T12" fmla="*/ 20 w 44"/>
                    <a:gd name="T13" fmla="*/ 56 h 63"/>
                    <a:gd name="T14" fmla="*/ 23 w 44"/>
                    <a:gd name="T15" fmla="*/ 54 h 63"/>
                    <a:gd name="T16" fmla="*/ 22 w 44"/>
                    <a:gd name="T17" fmla="*/ 53 h 63"/>
                    <a:gd name="T18" fmla="*/ 23 w 44"/>
                    <a:gd name="T19" fmla="*/ 49 h 63"/>
                    <a:gd name="T20" fmla="*/ 23 w 44"/>
                    <a:gd name="T21" fmla="*/ 48 h 63"/>
                    <a:gd name="T22" fmla="*/ 23 w 44"/>
                    <a:gd name="T23" fmla="*/ 44 h 63"/>
                    <a:gd name="T24" fmla="*/ 28 w 44"/>
                    <a:gd name="T25" fmla="*/ 44 h 63"/>
                    <a:gd name="T26" fmla="*/ 27 w 44"/>
                    <a:gd name="T27" fmla="*/ 41 h 63"/>
                    <a:gd name="T28" fmla="*/ 32 w 44"/>
                    <a:gd name="T29" fmla="*/ 41 h 63"/>
                    <a:gd name="T30" fmla="*/ 33 w 44"/>
                    <a:gd name="T31" fmla="*/ 36 h 63"/>
                    <a:gd name="T32" fmla="*/ 35 w 44"/>
                    <a:gd name="T33" fmla="*/ 33 h 63"/>
                    <a:gd name="T34" fmla="*/ 37 w 44"/>
                    <a:gd name="T35" fmla="*/ 36 h 63"/>
                    <a:gd name="T36" fmla="*/ 40 w 44"/>
                    <a:gd name="T37" fmla="*/ 34 h 63"/>
                    <a:gd name="T38" fmla="*/ 44 w 44"/>
                    <a:gd name="T39" fmla="*/ 29 h 63"/>
                    <a:gd name="T40" fmla="*/ 40 w 44"/>
                    <a:gd name="T41" fmla="*/ 27 h 63"/>
                    <a:gd name="T42" fmla="*/ 37 w 44"/>
                    <a:gd name="T43" fmla="*/ 27 h 63"/>
                    <a:gd name="T44" fmla="*/ 33 w 44"/>
                    <a:gd name="T45" fmla="*/ 27 h 63"/>
                    <a:gd name="T46" fmla="*/ 32 w 44"/>
                    <a:gd name="T47" fmla="*/ 26 h 63"/>
                    <a:gd name="T48" fmla="*/ 30 w 44"/>
                    <a:gd name="T49" fmla="*/ 24 h 63"/>
                    <a:gd name="T50" fmla="*/ 32 w 44"/>
                    <a:gd name="T51" fmla="*/ 22 h 63"/>
                    <a:gd name="T52" fmla="*/ 32 w 44"/>
                    <a:gd name="T53" fmla="*/ 21 h 63"/>
                    <a:gd name="T54" fmla="*/ 33 w 44"/>
                    <a:gd name="T55" fmla="*/ 19 h 63"/>
                    <a:gd name="T56" fmla="*/ 33 w 44"/>
                    <a:gd name="T57" fmla="*/ 16 h 63"/>
                    <a:gd name="T58" fmla="*/ 35 w 44"/>
                    <a:gd name="T59" fmla="*/ 12 h 63"/>
                    <a:gd name="T60" fmla="*/ 37 w 44"/>
                    <a:gd name="T61" fmla="*/ 9 h 63"/>
                    <a:gd name="T62" fmla="*/ 35 w 44"/>
                    <a:gd name="T63" fmla="*/ 4 h 63"/>
                    <a:gd name="T64" fmla="*/ 37 w 44"/>
                    <a:gd name="T65" fmla="*/ 0 h 63"/>
                    <a:gd name="T66" fmla="*/ 33 w 44"/>
                    <a:gd name="T67" fmla="*/ 0 h 63"/>
                    <a:gd name="T68" fmla="*/ 28 w 44"/>
                    <a:gd name="T69" fmla="*/ 4 h 63"/>
                    <a:gd name="T70" fmla="*/ 23 w 44"/>
                    <a:gd name="T71" fmla="*/ 7 h 63"/>
                    <a:gd name="T72" fmla="*/ 20 w 44"/>
                    <a:gd name="T73" fmla="*/ 12 h 63"/>
                    <a:gd name="T74" fmla="*/ 12 w 44"/>
                    <a:gd name="T75" fmla="*/ 12 h 63"/>
                    <a:gd name="T76" fmla="*/ 5 w 44"/>
                    <a:gd name="T77" fmla="*/ 16 h 63"/>
                    <a:gd name="T78" fmla="*/ 1 w 44"/>
                    <a:gd name="T79" fmla="*/ 24 h 63"/>
                    <a:gd name="T80" fmla="*/ 0 w 44"/>
                    <a:gd name="T81" fmla="*/ 29 h 63"/>
                    <a:gd name="T82" fmla="*/ 0 w 44"/>
                    <a:gd name="T83" fmla="*/ 36 h 63"/>
                    <a:gd name="T84" fmla="*/ 1 w 44"/>
                    <a:gd name="T85" fmla="*/ 41 h 63"/>
                    <a:gd name="T86" fmla="*/ 0 w 44"/>
                    <a:gd name="T87" fmla="*/ 46 h 63"/>
                    <a:gd name="T88" fmla="*/ 1 w 44"/>
                    <a:gd name="T89" fmla="*/ 48 h 63"/>
                    <a:gd name="T90" fmla="*/ 5 w 44"/>
                    <a:gd name="T91" fmla="*/ 49 h 63"/>
                    <a:gd name="T92" fmla="*/ 8 w 44"/>
                    <a:gd name="T93" fmla="*/ 53 h 63"/>
                    <a:gd name="T94" fmla="*/ 8 w 44"/>
                    <a:gd name="T95" fmla="*/ 58 h 63"/>
                    <a:gd name="T96" fmla="*/ 10 w 44"/>
                    <a:gd name="T97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4" h="63">
                      <a:moveTo>
                        <a:pt x="12" y="63"/>
                      </a:moveTo>
                      <a:lnTo>
                        <a:pt x="15" y="63"/>
                      </a:lnTo>
                      <a:lnTo>
                        <a:pt x="18" y="63"/>
                      </a:lnTo>
                      <a:lnTo>
                        <a:pt x="20" y="63"/>
                      </a:lnTo>
                      <a:lnTo>
                        <a:pt x="22" y="63"/>
                      </a:lnTo>
                      <a:lnTo>
                        <a:pt x="22" y="61"/>
                      </a:lnTo>
                      <a:lnTo>
                        <a:pt x="23" y="63"/>
                      </a:lnTo>
                      <a:lnTo>
                        <a:pt x="25" y="63"/>
                      </a:lnTo>
                      <a:lnTo>
                        <a:pt x="25" y="61"/>
                      </a:lnTo>
                      <a:lnTo>
                        <a:pt x="23" y="61"/>
                      </a:lnTo>
                      <a:lnTo>
                        <a:pt x="22" y="59"/>
                      </a:lnTo>
                      <a:lnTo>
                        <a:pt x="20" y="59"/>
                      </a:lnTo>
                      <a:lnTo>
                        <a:pt x="20" y="58"/>
                      </a:lnTo>
                      <a:lnTo>
                        <a:pt x="20" y="56"/>
                      </a:lnTo>
                      <a:lnTo>
                        <a:pt x="22" y="56"/>
                      </a:lnTo>
                      <a:lnTo>
                        <a:pt x="23" y="54"/>
                      </a:lnTo>
                      <a:lnTo>
                        <a:pt x="22" y="54"/>
                      </a:lnTo>
                      <a:lnTo>
                        <a:pt x="22" y="53"/>
                      </a:lnTo>
                      <a:lnTo>
                        <a:pt x="23" y="51"/>
                      </a:lnTo>
                      <a:lnTo>
                        <a:pt x="23" y="49"/>
                      </a:lnTo>
                      <a:lnTo>
                        <a:pt x="22" y="49"/>
                      </a:lnTo>
                      <a:lnTo>
                        <a:pt x="23" y="48"/>
                      </a:lnTo>
                      <a:lnTo>
                        <a:pt x="25" y="46"/>
                      </a:lnTo>
                      <a:lnTo>
                        <a:pt x="23" y="44"/>
                      </a:lnTo>
                      <a:lnTo>
                        <a:pt x="25" y="44"/>
                      </a:lnTo>
                      <a:lnTo>
                        <a:pt x="28" y="44"/>
                      </a:lnTo>
                      <a:lnTo>
                        <a:pt x="28" y="43"/>
                      </a:lnTo>
                      <a:lnTo>
                        <a:pt x="27" y="41"/>
                      </a:lnTo>
                      <a:lnTo>
                        <a:pt x="28" y="41"/>
                      </a:lnTo>
                      <a:lnTo>
                        <a:pt x="32" y="41"/>
                      </a:lnTo>
                      <a:lnTo>
                        <a:pt x="33" y="39"/>
                      </a:lnTo>
                      <a:lnTo>
                        <a:pt x="33" y="36"/>
                      </a:lnTo>
                      <a:lnTo>
                        <a:pt x="33" y="34"/>
                      </a:lnTo>
                      <a:lnTo>
                        <a:pt x="35" y="33"/>
                      </a:lnTo>
                      <a:lnTo>
                        <a:pt x="35" y="34"/>
                      </a:lnTo>
                      <a:lnTo>
                        <a:pt x="37" y="36"/>
                      </a:lnTo>
                      <a:lnTo>
                        <a:pt x="39" y="34"/>
                      </a:lnTo>
                      <a:lnTo>
                        <a:pt x="40" y="34"/>
                      </a:lnTo>
                      <a:lnTo>
                        <a:pt x="42" y="31"/>
                      </a:lnTo>
                      <a:lnTo>
                        <a:pt x="44" y="29"/>
                      </a:lnTo>
                      <a:lnTo>
                        <a:pt x="42" y="27"/>
                      </a:lnTo>
                      <a:lnTo>
                        <a:pt x="40" y="27"/>
                      </a:lnTo>
                      <a:lnTo>
                        <a:pt x="39" y="27"/>
                      </a:lnTo>
                      <a:lnTo>
                        <a:pt x="37" y="27"/>
                      </a:lnTo>
                      <a:lnTo>
                        <a:pt x="35" y="27"/>
                      </a:lnTo>
                      <a:lnTo>
                        <a:pt x="33" y="27"/>
                      </a:lnTo>
                      <a:lnTo>
                        <a:pt x="32" y="27"/>
                      </a:lnTo>
                      <a:lnTo>
                        <a:pt x="32" y="26"/>
                      </a:lnTo>
                      <a:lnTo>
                        <a:pt x="33" y="24"/>
                      </a:lnTo>
                      <a:lnTo>
                        <a:pt x="30" y="24"/>
                      </a:lnTo>
                      <a:lnTo>
                        <a:pt x="30" y="22"/>
                      </a:lnTo>
                      <a:lnTo>
                        <a:pt x="32" y="22"/>
                      </a:lnTo>
                      <a:lnTo>
                        <a:pt x="33" y="21"/>
                      </a:lnTo>
                      <a:lnTo>
                        <a:pt x="32" y="21"/>
                      </a:lnTo>
                      <a:lnTo>
                        <a:pt x="33" y="21"/>
                      </a:lnTo>
                      <a:lnTo>
                        <a:pt x="33" y="19"/>
                      </a:lnTo>
                      <a:lnTo>
                        <a:pt x="33" y="17"/>
                      </a:lnTo>
                      <a:lnTo>
                        <a:pt x="33" y="16"/>
                      </a:lnTo>
                      <a:lnTo>
                        <a:pt x="33" y="14"/>
                      </a:lnTo>
                      <a:lnTo>
                        <a:pt x="35" y="12"/>
                      </a:lnTo>
                      <a:lnTo>
                        <a:pt x="37" y="11"/>
                      </a:lnTo>
                      <a:lnTo>
                        <a:pt x="37" y="9"/>
                      </a:lnTo>
                      <a:lnTo>
                        <a:pt x="35" y="6"/>
                      </a:lnTo>
                      <a:lnTo>
                        <a:pt x="35" y="4"/>
                      </a:lnTo>
                      <a:lnTo>
                        <a:pt x="35" y="2"/>
                      </a:lnTo>
                      <a:lnTo>
                        <a:pt x="37" y="0"/>
                      </a:lnTo>
                      <a:lnTo>
                        <a:pt x="35" y="0"/>
                      </a:lnTo>
                      <a:lnTo>
                        <a:pt x="33" y="0"/>
                      </a:lnTo>
                      <a:lnTo>
                        <a:pt x="32" y="2"/>
                      </a:lnTo>
                      <a:lnTo>
                        <a:pt x="28" y="4"/>
                      </a:lnTo>
                      <a:lnTo>
                        <a:pt x="25" y="6"/>
                      </a:lnTo>
                      <a:lnTo>
                        <a:pt x="23" y="7"/>
                      </a:lnTo>
                      <a:lnTo>
                        <a:pt x="22" y="11"/>
                      </a:lnTo>
                      <a:lnTo>
                        <a:pt x="20" y="12"/>
                      </a:lnTo>
                      <a:lnTo>
                        <a:pt x="17" y="12"/>
                      </a:lnTo>
                      <a:lnTo>
                        <a:pt x="12" y="12"/>
                      </a:lnTo>
                      <a:lnTo>
                        <a:pt x="8" y="14"/>
                      </a:lnTo>
                      <a:lnTo>
                        <a:pt x="5" y="16"/>
                      </a:lnTo>
                      <a:lnTo>
                        <a:pt x="3" y="17"/>
                      </a:lnTo>
                      <a:lnTo>
                        <a:pt x="1" y="24"/>
                      </a:lnTo>
                      <a:lnTo>
                        <a:pt x="1" y="26"/>
                      </a:lnTo>
                      <a:lnTo>
                        <a:pt x="0" y="29"/>
                      </a:lnTo>
                      <a:lnTo>
                        <a:pt x="0" y="33"/>
                      </a:lnTo>
                      <a:lnTo>
                        <a:pt x="0" y="36"/>
                      </a:lnTo>
                      <a:lnTo>
                        <a:pt x="0" y="39"/>
                      </a:lnTo>
                      <a:lnTo>
                        <a:pt x="1" y="41"/>
                      </a:lnTo>
                      <a:lnTo>
                        <a:pt x="1" y="44"/>
                      </a:lnTo>
                      <a:lnTo>
                        <a:pt x="0" y="46"/>
                      </a:lnTo>
                      <a:lnTo>
                        <a:pt x="0" y="48"/>
                      </a:lnTo>
                      <a:lnTo>
                        <a:pt x="1" y="48"/>
                      </a:lnTo>
                      <a:lnTo>
                        <a:pt x="3" y="48"/>
                      </a:lnTo>
                      <a:lnTo>
                        <a:pt x="5" y="49"/>
                      </a:lnTo>
                      <a:lnTo>
                        <a:pt x="7" y="51"/>
                      </a:lnTo>
                      <a:lnTo>
                        <a:pt x="8" y="53"/>
                      </a:lnTo>
                      <a:lnTo>
                        <a:pt x="8" y="54"/>
                      </a:lnTo>
                      <a:lnTo>
                        <a:pt x="8" y="58"/>
                      </a:lnTo>
                      <a:lnTo>
                        <a:pt x="8" y="59"/>
                      </a:lnTo>
                      <a:lnTo>
                        <a:pt x="10" y="63"/>
                      </a:lnTo>
                      <a:lnTo>
                        <a:pt x="12" y="63"/>
                      </a:lnTo>
                      <a:close/>
                    </a:path>
                  </a:pathLst>
                </a:custGeom>
                <a:solidFill>
                  <a:srgbClr val="EB1562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645" name="Group 1644">
              <a:extLst>
                <a:ext uri="{FF2B5EF4-FFF2-40B4-BE49-F238E27FC236}">
                  <a16:creationId xmlns:a16="http://schemas.microsoft.com/office/drawing/2014/main" id="{C32ACF52-629E-5546-BE93-DC7E5F84C30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91" y="293"/>
              <a:ext cx="106" cy="44"/>
              <a:chOff x="491" y="293"/>
              <a:chExt cx="106" cy="44"/>
            </a:xfrm>
          </p:grpSpPr>
          <p:grpSp>
            <p:nvGrpSpPr>
              <p:cNvPr id="1978" name="Group 1977">
                <a:extLst>
                  <a:ext uri="{FF2B5EF4-FFF2-40B4-BE49-F238E27FC236}">
                    <a16:creationId xmlns:a16="http://schemas.microsoft.com/office/drawing/2014/main" id="{BF2D159C-4867-6245-8124-DFE8FE87CE3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8" y="293"/>
                <a:ext cx="79" cy="44"/>
                <a:chOff x="518" y="293"/>
                <a:chExt cx="79" cy="44"/>
              </a:xfrm>
            </p:grpSpPr>
            <p:sp>
              <p:nvSpPr>
                <p:cNvPr id="1985" name="Freeform 359">
                  <a:extLst>
                    <a:ext uri="{FF2B5EF4-FFF2-40B4-BE49-F238E27FC236}">
                      <a16:creationId xmlns:a16="http://schemas.microsoft.com/office/drawing/2014/main" id="{B7F9216E-D01E-774E-AF94-ECEFB31212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" y="293"/>
                  <a:ext cx="79" cy="44"/>
                </a:xfrm>
                <a:custGeom>
                  <a:avLst/>
                  <a:gdLst>
                    <a:gd name="T0" fmla="*/ 77 w 79"/>
                    <a:gd name="T1" fmla="*/ 2 h 44"/>
                    <a:gd name="T2" fmla="*/ 74 w 79"/>
                    <a:gd name="T3" fmla="*/ 3 h 44"/>
                    <a:gd name="T4" fmla="*/ 69 w 79"/>
                    <a:gd name="T5" fmla="*/ 5 h 44"/>
                    <a:gd name="T6" fmla="*/ 64 w 79"/>
                    <a:gd name="T7" fmla="*/ 3 h 44"/>
                    <a:gd name="T8" fmla="*/ 60 w 79"/>
                    <a:gd name="T9" fmla="*/ 2 h 44"/>
                    <a:gd name="T10" fmla="*/ 52 w 79"/>
                    <a:gd name="T11" fmla="*/ 3 h 44"/>
                    <a:gd name="T12" fmla="*/ 44 w 79"/>
                    <a:gd name="T13" fmla="*/ 2 h 44"/>
                    <a:gd name="T14" fmla="*/ 35 w 79"/>
                    <a:gd name="T15" fmla="*/ 0 h 44"/>
                    <a:gd name="T16" fmla="*/ 30 w 79"/>
                    <a:gd name="T17" fmla="*/ 0 h 44"/>
                    <a:gd name="T18" fmla="*/ 25 w 79"/>
                    <a:gd name="T19" fmla="*/ 2 h 44"/>
                    <a:gd name="T20" fmla="*/ 20 w 79"/>
                    <a:gd name="T21" fmla="*/ 2 h 44"/>
                    <a:gd name="T22" fmla="*/ 18 w 79"/>
                    <a:gd name="T23" fmla="*/ 5 h 44"/>
                    <a:gd name="T24" fmla="*/ 13 w 79"/>
                    <a:gd name="T25" fmla="*/ 3 h 44"/>
                    <a:gd name="T26" fmla="*/ 8 w 79"/>
                    <a:gd name="T27" fmla="*/ 7 h 44"/>
                    <a:gd name="T28" fmla="*/ 1 w 79"/>
                    <a:gd name="T29" fmla="*/ 10 h 44"/>
                    <a:gd name="T30" fmla="*/ 1 w 79"/>
                    <a:gd name="T31" fmla="*/ 13 h 44"/>
                    <a:gd name="T32" fmla="*/ 1 w 79"/>
                    <a:gd name="T33" fmla="*/ 17 h 44"/>
                    <a:gd name="T34" fmla="*/ 5 w 79"/>
                    <a:gd name="T35" fmla="*/ 18 h 44"/>
                    <a:gd name="T36" fmla="*/ 5 w 79"/>
                    <a:gd name="T37" fmla="*/ 22 h 44"/>
                    <a:gd name="T38" fmla="*/ 3 w 79"/>
                    <a:gd name="T39" fmla="*/ 24 h 44"/>
                    <a:gd name="T40" fmla="*/ 3 w 79"/>
                    <a:gd name="T41" fmla="*/ 27 h 44"/>
                    <a:gd name="T42" fmla="*/ 6 w 79"/>
                    <a:gd name="T43" fmla="*/ 29 h 44"/>
                    <a:gd name="T44" fmla="*/ 10 w 79"/>
                    <a:gd name="T45" fmla="*/ 27 h 44"/>
                    <a:gd name="T46" fmla="*/ 10 w 79"/>
                    <a:gd name="T47" fmla="*/ 32 h 44"/>
                    <a:gd name="T48" fmla="*/ 13 w 79"/>
                    <a:gd name="T49" fmla="*/ 30 h 44"/>
                    <a:gd name="T50" fmla="*/ 17 w 79"/>
                    <a:gd name="T51" fmla="*/ 27 h 44"/>
                    <a:gd name="T52" fmla="*/ 17 w 79"/>
                    <a:gd name="T53" fmla="*/ 34 h 44"/>
                    <a:gd name="T54" fmla="*/ 15 w 79"/>
                    <a:gd name="T55" fmla="*/ 39 h 44"/>
                    <a:gd name="T56" fmla="*/ 20 w 79"/>
                    <a:gd name="T57" fmla="*/ 37 h 44"/>
                    <a:gd name="T58" fmla="*/ 27 w 79"/>
                    <a:gd name="T59" fmla="*/ 35 h 44"/>
                    <a:gd name="T60" fmla="*/ 33 w 79"/>
                    <a:gd name="T61" fmla="*/ 32 h 44"/>
                    <a:gd name="T62" fmla="*/ 35 w 79"/>
                    <a:gd name="T63" fmla="*/ 35 h 44"/>
                    <a:gd name="T64" fmla="*/ 40 w 79"/>
                    <a:gd name="T65" fmla="*/ 37 h 44"/>
                    <a:gd name="T66" fmla="*/ 45 w 79"/>
                    <a:gd name="T67" fmla="*/ 40 h 44"/>
                    <a:gd name="T68" fmla="*/ 52 w 79"/>
                    <a:gd name="T69" fmla="*/ 44 h 44"/>
                    <a:gd name="T70" fmla="*/ 60 w 79"/>
                    <a:gd name="T71" fmla="*/ 44 h 44"/>
                    <a:gd name="T72" fmla="*/ 64 w 79"/>
                    <a:gd name="T73" fmla="*/ 42 h 44"/>
                    <a:gd name="T74" fmla="*/ 67 w 79"/>
                    <a:gd name="T75" fmla="*/ 44 h 44"/>
                    <a:gd name="T76" fmla="*/ 71 w 79"/>
                    <a:gd name="T77" fmla="*/ 42 h 44"/>
                    <a:gd name="T78" fmla="*/ 71 w 79"/>
                    <a:gd name="T79" fmla="*/ 39 h 44"/>
                    <a:gd name="T80" fmla="*/ 69 w 79"/>
                    <a:gd name="T81" fmla="*/ 34 h 44"/>
                    <a:gd name="T82" fmla="*/ 67 w 79"/>
                    <a:gd name="T83" fmla="*/ 29 h 44"/>
                    <a:gd name="T84" fmla="*/ 69 w 79"/>
                    <a:gd name="T85" fmla="*/ 24 h 44"/>
                    <a:gd name="T86" fmla="*/ 67 w 79"/>
                    <a:gd name="T87" fmla="*/ 20 h 44"/>
                    <a:gd name="T88" fmla="*/ 69 w 79"/>
                    <a:gd name="T89" fmla="*/ 17 h 44"/>
                    <a:gd name="T90" fmla="*/ 72 w 79"/>
                    <a:gd name="T91" fmla="*/ 15 h 44"/>
                    <a:gd name="T92" fmla="*/ 76 w 79"/>
                    <a:gd name="T93" fmla="*/ 10 h 44"/>
                    <a:gd name="T94" fmla="*/ 77 w 79"/>
                    <a:gd name="T95" fmla="*/ 7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9" h="44">
                      <a:moveTo>
                        <a:pt x="79" y="3"/>
                      </a:moveTo>
                      <a:lnTo>
                        <a:pt x="79" y="2"/>
                      </a:lnTo>
                      <a:lnTo>
                        <a:pt x="77" y="2"/>
                      </a:lnTo>
                      <a:lnTo>
                        <a:pt x="76" y="2"/>
                      </a:lnTo>
                      <a:lnTo>
                        <a:pt x="76" y="3"/>
                      </a:lnTo>
                      <a:lnTo>
                        <a:pt x="74" y="3"/>
                      </a:lnTo>
                      <a:lnTo>
                        <a:pt x="72" y="3"/>
                      </a:lnTo>
                      <a:lnTo>
                        <a:pt x="72" y="5"/>
                      </a:lnTo>
                      <a:lnTo>
                        <a:pt x="69" y="5"/>
                      </a:lnTo>
                      <a:lnTo>
                        <a:pt x="67" y="5"/>
                      </a:lnTo>
                      <a:lnTo>
                        <a:pt x="66" y="3"/>
                      </a:lnTo>
                      <a:lnTo>
                        <a:pt x="64" y="3"/>
                      </a:lnTo>
                      <a:lnTo>
                        <a:pt x="64" y="2"/>
                      </a:lnTo>
                      <a:lnTo>
                        <a:pt x="62" y="2"/>
                      </a:lnTo>
                      <a:lnTo>
                        <a:pt x="60" y="2"/>
                      </a:lnTo>
                      <a:lnTo>
                        <a:pt x="59" y="3"/>
                      </a:lnTo>
                      <a:lnTo>
                        <a:pt x="55" y="2"/>
                      </a:lnTo>
                      <a:lnTo>
                        <a:pt x="52" y="3"/>
                      </a:lnTo>
                      <a:lnTo>
                        <a:pt x="50" y="3"/>
                      </a:lnTo>
                      <a:lnTo>
                        <a:pt x="45" y="3"/>
                      </a:lnTo>
                      <a:lnTo>
                        <a:pt x="44" y="2"/>
                      </a:lnTo>
                      <a:lnTo>
                        <a:pt x="40" y="2"/>
                      </a:lnTo>
                      <a:lnTo>
                        <a:pt x="37" y="0"/>
                      </a:lnTo>
                      <a:lnTo>
                        <a:pt x="35" y="0"/>
                      </a:lnTo>
                      <a:lnTo>
                        <a:pt x="33" y="0"/>
                      </a:lnTo>
                      <a:lnTo>
                        <a:pt x="32" y="0"/>
                      </a:lnTo>
                      <a:lnTo>
                        <a:pt x="30" y="0"/>
                      </a:lnTo>
                      <a:lnTo>
                        <a:pt x="28" y="2"/>
                      </a:lnTo>
                      <a:lnTo>
                        <a:pt x="27" y="2"/>
                      </a:lnTo>
                      <a:lnTo>
                        <a:pt x="25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0" y="2"/>
                      </a:lnTo>
                      <a:lnTo>
                        <a:pt x="20" y="3"/>
                      </a:lnTo>
                      <a:lnTo>
                        <a:pt x="20" y="5"/>
                      </a:lnTo>
                      <a:lnTo>
                        <a:pt x="18" y="5"/>
                      </a:lnTo>
                      <a:lnTo>
                        <a:pt x="17" y="3"/>
                      </a:lnTo>
                      <a:lnTo>
                        <a:pt x="15" y="3"/>
                      </a:lnTo>
                      <a:lnTo>
                        <a:pt x="13" y="3"/>
                      </a:lnTo>
                      <a:lnTo>
                        <a:pt x="12" y="3"/>
                      </a:lnTo>
                      <a:lnTo>
                        <a:pt x="10" y="5"/>
                      </a:lnTo>
                      <a:lnTo>
                        <a:pt x="8" y="7"/>
                      </a:lnTo>
                      <a:lnTo>
                        <a:pt x="6" y="8"/>
                      </a:lnTo>
                      <a:lnTo>
                        <a:pt x="5" y="8"/>
                      </a:lnTo>
                      <a:lnTo>
                        <a:pt x="1" y="10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1" y="13"/>
                      </a:lnTo>
                      <a:lnTo>
                        <a:pt x="3" y="13"/>
                      </a:lnTo>
                      <a:lnTo>
                        <a:pt x="3" y="15"/>
                      </a:lnTo>
                      <a:lnTo>
                        <a:pt x="1" y="17"/>
                      </a:lnTo>
                      <a:lnTo>
                        <a:pt x="1" y="18"/>
                      </a:lnTo>
                      <a:lnTo>
                        <a:pt x="3" y="18"/>
                      </a:lnTo>
                      <a:lnTo>
                        <a:pt x="5" y="18"/>
                      </a:lnTo>
                      <a:lnTo>
                        <a:pt x="6" y="18"/>
                      </a:lnTo>
                      <a:lnTo>
                        <a:pt x="6" y="20"/>
                      </a:lnTo>
                      <a:lnTo>
                        <a:pt x="5" y="22"/>
                      </a:lnTo>
                      <a:lnTo>
                        <a:pt x="3" y="22"/>
                      </a:lnTo>
                      <a:lnTo>
                        <a:pt x="1" y="22"/>
                      </a:lnTo>
                      <a:lnTo>
                        <a:pt x="3" y="24"/>
                      </a:lnTo>
                      <a:lnTo>
                        <a:pt x="5" y="24"/>
                      </a:lnTo>
                      <a:lnTo>
                        <a:pt x="5" y="25"/>
                      </a:lnTo>
                      <a:lnTo>
                        <a:pt x="3" y="27"/>
                      </a:lnTo>
                      <a:lnTo>
                        <a:pt x="5" y="27"/>
                      </a:lnTo>
                      <a:lnTo>
                        <a:pt x="5" y="29"/>
                      </a:lnTo>
                      <a:lnTo>
                        <a:pt x="6" y="29"/>
                      </a:lnTo>
                      <a:lnTo>
                        <a:pt x="8" y="29"/>
                      </a:lnTo>
                      <a:lnTo>
                        <a:pt x="8" y="27"/>
                      </a:lnTo>
                      <a:lnTo>
                        <a:pt x="10" y="27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0" y="32"/>
                      </a:lnTo>
                      <a:lnTo>
                        <a:pt x="12" y="32"/>
                      </a:lnTo>
                      <a:lnTo>
                        <a:pt x="13" y="32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5" y="27"/>
                      </a:lnTo>
                      <a:lnTo>
                        <a:pt x="17" y="27"/>
                      </a:lnTo>
                      <a:lnTo>
                        <a:pt x="17" y="29"/>
                      </a:lnTo>
                      <a:lnTo>
                        <a:pt x="17" y="32"/>
                      </a:lnTo>
                      <a:lnTo>
                        <a:pt x="17" y="34"/>
                      </a:lnTo>
                      <a:lnTo>
                        <a:pt x="17" y="35"/>
                      </a:lnTo>
                      <a:lnTo>
                        <a:pt x="15" y="37"/>
                      </a:lnTo>
                      <a:lnTo>
                        <a:pt x="15" y="39"/>
                      </a:lnTo>
                      <a:lnTo>
                        <a:pt x="17" y="39"/>
                      </a:lnTo>
                      <a:lnTo>
                        <a:pt x="18" y="39"/>
                      </a:lnTo>
                      <a:lnTo>
                        <a:pt x="20" y="37"/>
                      </a:lnTo>
                      <a:lnTo>
                        <a:pt x="22" y="37"/>
                      </a:lnTo>
                      <a:lnTo>
                        <a:pt x="25" y="37"/>
                      </a:lnTo>
                      <a:lnTo>
                        <a:pt x="27" y="35"/>
                      </a:lnTo>
                      <a:lnTo>
                        <a:pt x="28" y="34"/>
                      </a:lnTo>
                      <a:lnTo>
                        <a:pt x="30" y="34"/>
                      </a:lnTo>
                      <a:lnTo>
                        <a:pt x="33" y="32"/>
                      </a:lnTo>
                      <a:lnTo>
                        <a:pt x="33" y="34"/>
                      </a:lnTo>
                      <a:lnTo>
                        <a:pt x="35" y="34"/>
                      </a:lnTo>
                      <a:lnTo>
                        <a:pt x="35" y="35"/>
                      </a:lnTo>
                      <a:lnTo>
                        <a:pt x="37" y="35"/>
                      </a:lnTo>
                      <a:lnTo>
                        <a:pt x="39" y="35"/>
                      </a:lnTo>
                      <a:lnTo>
                        <a:pt x="40" y="37"/>
                      </a:lnTo>
                      <a:lnTo>
                        <a:pt x="44" y="37"/>
                      </a:lnTo>
                      <a:lnTo>
                        <a:pt x="45" y="39"/>
                      </a:lnTo>
                      <a:lnTo>
                        <a:pt x="45" y="40"/>
                      </a:lnTo>
                      <a:lnTo>
                        <a:pt x="49" y="42"/>
                      </a:lnTo>
                      <a:lnTo>
                        <a:pt x="50" y="44"/>
                      </a:lnTo>
                      <a:lnTo>
                        <a:pt x="52" y="44"/>
                      </a:lnTo>
                      <a:lnTo>
                        <a:pt x="55" y="44"/>
                      </a:lnTo>
                      <a:lnTo>
                        <a:pt x="59" y="44"/>
                      </a:lnTo>
                      <a:lnTo>
                        <a:pt x="60" y="44"/>
                      </a:lnTo>
                      <a:lnTo>
                        <a:pt x="62" y="44"/>
                      </a:lnTo>
                      <a:lnTo>
                        <a:pt x="62" y="42"/>
                      </a:lnTo>
                      <a:lnTo>
                        <a:pt x="64" y="42"/>
                      </a:lnTo>
                      <a:lnTo>
                        <a:pt x="66" y="42"/>
                      </a:lnTo>
                      <a:lnTo>
                        <a:pt x="67" y="42"/>
                      </a:lnTo>
                      <a:lnTo>
                        <a:pt x="67" y="44"/>
                      </a:lnTo>
                      <a:lnTo>
                        <a:pt x="69" y="44"/>
                      </a:lnTo>
                      <a:lnTo>
                        <a:pt x="69" y="42"/>
                      </a:lnTo>
                      <a:lnTo>
                        <a:pt x="71" y="42"/>
                      </a:lnTo>
                      <a:lnTo>
                        <a:pt x="71" y="40"/>
                      </a:lnTo>
                      <a:lnTo>
                        <a:pt x="72" y="40"/>
                      </a:lnTo>
                      <a:lnTo>
                        <a:pt x="71" y="39"/>
                      </a:lnTo>
                      <a:lnTo>
                        <a:pt x="69" y="37"/>
                      </a:lnTo>
                      <a:lnTo>
                        <a:pt x="69" y="35"/>
                      </a:lnTo>
                      <a:lnTo>
                        <a:pt x="69" y="34"/>
                      </a:lnTo>
                      <a:lnTo>
                        <a:pt x="67" y="32"/>
                      </a:lnTo>
                      <a:lnTo>
                        <a:pt x="67" y="30"/>
                      </a:lnTo>
                      <a:lnTo>
                        <a:pt x="67" y="29"/>
                      </a:lnTo>
                      <a:lnTo>
                        <a:pt x="67" y="27"/>
                      </a:lnTo>
                      <a:lnTo>
                        <a:pt x="69" y="25"/>
                      </a:lnTo>
                      <a:lnTo>
                        <a:pt x="69" y="24"/>
                      </a:lnTo>
                      <a:lnTo>
                        <a:pt x="69" y="22"/>
                      </a:lnTo>
                      <a:lnTo>
                        <a:pt x="67" y="22"/>
                      </a:lnTo>
                      <a:lnTo>
                        <a:pt x="67" y="20"/>
                      </a:lnTo>
                      <a:lnTo>
                        <a:pt x="67" y="18"/>
                      </a:lnTo>
                      <a:lnTo>
                        <a:pt x="69" y="18"/>
                      </a:lnTo>
                      <a:lnTo>
                        <a:pt x="69" y="17"/>
                      </a:lnTo>
                      <a:lnTo>
                        <a:pt x="71" y="17"/>
                      </a:lnTo>
                      <a:lnTo>
                        <a:pt x="72" y="17"/>
                      </a:lnTo>
                      <a:lnTo>
                        <a:pt x="72" y="15"/>
                      </a:lnTo>
                      <a:lnTo>
                        <a:pt x="74" y="13"/>
                      </a:lnTo>
                      <a:lnTo>
                        <a:pt x="74" y="12"/>
                      </a:lnTo>
                      <a:lnTo>
                        <a:pt x="76" y="10"/>
                      </a:lnTo>
                      <a:lnTo>
                        <a:pt x="77" y="10"/>
                      </a:lnTo>
                      <a:lnTo>
                        <a:pt x="77" y="8"/>
                      </a:lnTo>
                      <a:lnTo>
                        <a:pt x="77" y="7"/>
                      </a:lnTo>
                      <a:lnTo>
                        <a:pt x="79" y="5"/>
                      </a:lnTo>
                      <a:lnTo>
                        <a:pt x="79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86" name="Freeform 360">
                  <a:extLst>
                    <a:ext uri="{FF2B5EF4-FFF2-40B4-BE49-F238E27FC236}">
                      <a16:creationId xmlns:a16="http://schemas.microsoft.com/office/drawing/2014/main" id="{301314E3-3AC7-004E-984E-A219578136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" y="293"/>
                  <a:ext cx="79" cy="44"/>
                </a:xfrm>
                <a:custGeom>
                  <a:avLst/>
                  <a:gdLst>
                    <a:gd name="T0" fmla="*/ 77 w 79"/>
                    <a:gd name="T1" fmla="*/ 2 h 44"/>
                    <a:gd name="T2" fmla="*/ 74 w 79"/>
                    <a:gd name="T3" fmla="*/ 3 h 44"/>
                    <a:gd name="T4" fmla="*/ 69 w 79"/>
                    <a:gd name="T5" fmla="*/ 5 h 44"/>
                    <a:gd name="T6" fmla="*/ 64 w 79"/>
                    <a:gd name="T7" fmla="*/ 3 h 44"/>
                    <a:gd name="T8" fmla="*/ 60 w 79"/>
                    <a:gd name="T9" fmla="*/ 2 h 44"/>
                    <a:gd name="T10" fmla="*/ 52 w 79"/>
                    <a:gd name="T11" fmla="*/ 3 h 44"/>
                    <a:gd name="T12" fmla="*/ 44 w 79"/>
                    <a:gd name="T13" fmla="*/ 2 h 44"/>
                    <a:gd name="T14" fmla="*/ 35 w 79"/>
                    <a:gd name="T15" fmla="*/ 0 h 44"/>
                    <a:gd name="T16" fmla="*/ 30 w 79"/>
                    <a:gd name="T17" fmla="*/ 0 h 44"/>
                    <a:gd name="T18" fmla="*/ 25 w 79"/>
                    <a:gd name="T19" fmla="*/ 2 h 44"/>
                    <a:gd name="T20" fmla="*/ 20 w 79"/>
                    <a:gd name="T21" fmla="*/ 2 h 44"/>
                    <a:gd name="T22" fmla="*/ 18 w 79"/>
                    <a:gd name="T23" fmla="*/ 5 h 44"/>
                    <a:gd name="T24" fmla="*/ 13 w 79"/>
                    <a:gd name="T25" fmla="*/ 3 h 44"/>
                    <a:gd name="T26" fmla="*/ 8 w 79"/>
                    <a:gd name="T27" fmla="*/ 7 h 44"/>
                    <a:gd name="T28" fmla="*/ 1 w 79"/>
                    <a:gd name="T29" fmla="*/ 10 h 44"/>
                    <a:gd name="T30" fmla="*/ 1 w 79"/>
                    <a:gd name="T31" fmla="*/ 13 h 44"/>
                    <a:gd name="T32" fmla="*/ 1 w 79"/>
                    <a:gd name="T33" fmla="*/ 17 h 44"/>
                    <a:gd name="T34" fmla="*/ 5 w 79"/>
                    <a:gd name="T35" fmla="*/ 18 h 44"/>
                    <a:gd name="T36" fmla="*/ 5 w 79"/>
                    <a:gd name="T37" fmla="*/ 22 h 44"/>
                    <a:gd name="T38" fmla="*/ 3 w 79"/>
                    <a:gd name="T39" fmla="*/ 24 h 44"/>
                    <a:gd name="T40" fmla="*/ 3 w 79"/>
                    <a:gd name="T41" fmla="*/ 27 h 44"/>
                    <a:gd name="T42" fmla="*/ 6 w 79"/>
                    <a:gd name="T43" fmla="*/ 29 h 44"/>
                    <a:gd name="T44" fmla="*/ 10 w 79"/>
                    <a:gd name="T45" fmla="*/ 27 h 44"/>
                    <a:gd name="T46" fmla="*/ 10 w 79"/>
                    <a:gd name="T47" fmla="*/ 32 h 44"/>
                    <a:gd name="T48" fmla="*/ 13 w 79"/>
                    <a:gd name="T49" fmla="*/ 30 h 44"/>
                    <a:gd name="T50" fmla="*/ 17 w 79"/>
                    <a:gd name="T51" fmla="*/ 27 h 44"/>
                    <a:gd name="T52" fmla="*/ 17 w 79"/>
                    <a:gd name="T53" fmla="*/ 34 h 44"/>
                    <a:gd name="T54" fmla="*/ 15 w 79"/>
                    <a:gd name="T55" fmla="*/ 39 h 44"/>
                    <a:gd name="T56" fmla="*/ 20 w 79"/>
                    <a:gd name="T57" fmla="*/ 37 h 44"/>
                    <a:gd name="T58" fmla="*/ 27 w 79"/>
                    <a:gd name="T59" fmla="*/ 35 h 44"/>
                    <a:gd name="T60" fmla="*/ 33 w 79"/>
                    <a:gd name="T61" fmla="*/ 32 h 44"/>
                    <a:gd name="T62" fmla="*/ 35 w 79"/>
                    <a:gd name="T63" fmla="*/ 35 h 44"/>
                    <a:gd name="T64" fmla="*/ 40 w 79"/>
                    <a:gd name="T65" fmla="*/ 37 h 44"/>
                    <a:gd name="T66" fmla="*/ 45 w 79"/>
                    <a:gd name="T67" fmla="*/ 40 h 44"/>
                    <a:gd name="T68" fmla="*/ 52 w 79"/>
                    <a:gd name="T69" fmla="*/ 44 h 44"/>
                    <a:gd name="T70" fmla="*/ 60 w 79"/>
                    <a:gd name="T71" fmla="*/ 44 h 44"/>
                    <a:gd name="T72" fmla="*/ 64 w 79"/>
                    <a:gd name="T73" fmla="*/ 42 h 44"/>
                    <a:gd name="T74" fmla="*/ 67 w 79"/>
                    <a:gd name="T75" fmla="*/ 44 h 44"/>
                    <a:gd name="T76" fmla="*/ 71 w 79"/>
                    <a:gd name="T77" fmla="*/ 42 h 44"/>
                    <a:gd name="T78" fmla="*/ 71 w 79"/>
                    <a:gd name="T79" fmla="*/ 39 h 44"/>
                    <a:gd name="T80" fmla="*/ 69 w 79"/>
                    <a:gd name="T81" fmla="*/ 34 h 44"/>
                    <a:gd name="T82" fmla="*/ 67 w 79"/>
                    <a:gd name="T83" fmla="*/ 29 h 44"/>
                    <a:gd name="T84" fmla="*/ 69 w 79"/>
                    <a:gd name="T85" fmla="*/ 24 h 44"/>
                    <a:gd name="T86" fmla="*/ 67 w 79"/>
                    <a:gd name="T87" fmla="*/ 20 h 44"/>
                    <a:gd name="T88" fmla="*/ 69 w 79"/>
                    <a:gd name="T89" fmla="*/ 17 h 44"/>
                    <a:gd name="T90" fmla="*/ 72 w 79"/>
                    <a:gd name="T91" fmla="*/ 15 h 44"/>
                    <a:gd name="T92" fmla="*/ 76 w 79"/>
                    <a:gd name="T93" fmla="*/ 10 h 44"/>
                    <a:gd name="T94" fmla="*/ 77 w 79"/>
                    <a:gd name="T95" fmla="*/ 7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9" h="44">
                      <a:moveTo>
                        <a:pt x="79" y="3"/>
                      </a:moveTo>
                      <a:lnTo>
                        <a:pt x="79" y="2"/>
                      </a:lnTo>
                      <a:lnTo>
                        <a:pt x="77" y="2"/>
                      </a:lnTo>
                      <a:lnTo>
                        <a:pt x="76" y="2"/>
                      </a:lnTo>
                      <a:lnTo>
                        <a:pt x="76" y="3"/>
                      </a:lnTo>
                      <a:lnTo>
                        <a:pt x="74" y="3"/>
                      </a:lnTo>
                      <a:lnTo>
                        <a:pt x="72" y="3"/>
                      </a:lnTo>
                      <a:lnTo>
                        <a:pt x="72" y="5"/>
                      </a:lnTo>
                      <a:lnTo>
                        <a:pt x="69" y="5"/>
                      </a:lnTo>
                      <a:lnTo>
                        <a:pt x="67" y="5"/>
                      </a:lnTo>
                      <a:lnTo>
                        <a:pt x="66" y="3"/>
                      </a:lnTo>
                      <a:lnTo>
                        <a:pt x="64" y="3"/>
                      </a:lnTo>
                      <a:lnTo>
                        <a:pt x="64" y="2"/>
                      </a:lnTo>
                      <a:lnTo>
                        <a:pt x="62" y="2"/>
                      </a:lnTo>
                      <a:lnTo>
                        <a:pt x="60" y="2"/>
                      </a:lnTo>
                      <a:lnTo>
                        <a:pt x="59" y="3"/>
                      </a:lnTo>
                      <a:lnTo>
                        <a:pt x="55" y="2"/>
                      </a:lnTo>
                      <a:lnTo>
                        <a:pt x="52" y="3"/>
                      </a:lnTo>
                      <a:lnTo>
                        <a:pt x="50" y="3"/>
                      </a:lnTo>
                      <a:lnTo>
                        <a:pt x="45" y="3"/>
                      </a:lnTo>
                      <a:lnTo>
                        <a:pt x="44" y="2"/>
                      </a:lnTo>
                      <a:lnTo>
                        <a:pt x="40" y="2"/>
                      </a:lnTo>
                      <a:lnTo>
                        <a:pt x="37" y="0"/>
                      </a:lnTo>
                      <a:lnTo>
                        <a:pt x="35" y="0"/>
                      </a:lnTo>
                      <a:lnTo>
                        <a:pt x="33" y="0"/>
                      </a:lnTo>
                      <a:lnTo>
                        <a:pt x="32" y="0"/>
                      </a:lnTo>
                      <a:lnTo>
                        <a:pt x="30" y="0"/>
                      </a:lnTo>
                      <a:lnTo>
                        <a:pt x="28" y="2"/>
                      </a:lnTo>
                      <a:lnTo>
                        <a:pt x="27" y="2"/>
                      </a:lnTo>
                      <a:lnTo>
                        <a:pt x="25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0" y="2"/>
                      </a:lnTo>
                      <a:lnTo>
                        <a:pt x="20" y="3"/>
                      </a:lnTo>
                      <a:lnTo>
                        <a:pt x="20" y="5"/>
                      </a:lnTo>
                      <a:lnTo>
                        <a:pt x="18" y="5"/>
                      </a:lnTo>
                      <a:lnTo>
                        <a:pt x="17" y="3"/>
                      </a:lnTo>
                      <a:lnTo>
                        <a:pt x="15" y="3"/>
                      </a:lnTo>
                      <a:lnTo>
                        <a:pt x="13" y="3"/>
                      </a:lnTo>
                      <a:lnTo>
                        <a:pt x="12" y="3"/>
                      </a:lnTo>
                      <a:lnTo>
                        <a:pt x="10" y="5"/>
                      </a:lnTo>
                      <a:lnTo>
                        <a:pt x="8" y="7"/>
                      </a:lnTo>
                      <a:lnTo>
                        <a:pt x="6" y="8"/>
                      </a:lnTo>
                      <a:lnTo>
                        <a:pt x="5" y="8"/>
                      </a:lnTo>
                      <a:lnTo>
                        <a:pt x="1" y="10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1" y="13"/>
                      </a:lnTo>
                      <a:lnTo>
                        <a:pt x="3" y="13"/>
                      </a:lnTo>
                      <a:lnTo>
                        <a:pt x="3" y="15"/>
                      </a:lnTo>
                      <a:lnTo>
                        <a:pt x="1" y="17"/>
                      </a:lnTo>
                      <a:lnTo>
                        <a:pt x="1" y="18"/>
                      </a:lnTo>
                      <a:lnTo>
                        <a:pt x="3" y="18"/>
                      </a:lnTo>
                      <a:lnTo>
                        <a:pt x="5" y="18"/>
                      </a:lnTo>
                      <a:lnTo>
                        <a:pt x="6" y="18"/>
                      </a:lnTo>
                      <a:lnTo>
                        <a:pt x="6" y="20"/>
                      </a:lnTo>
                      <a:lnTo>
                        <a:pt x="5" y="22"/>
                      </a:lnTo>
                      <a:lnTo>
                        <a:pt x="3" y="22"/>
                      </a:lnTo>
                      <a:lnTo>
                        <a:pt x="1" y="22"/>
                      </a:lnTo>
                      <a:lnTo>
                        <a:pt x="3" y="24"/>
                      </a:lnTo>
                      <a:lnTo>
                        <a:pt x="5" y="24"/>
                      </a:lnTo>
                      <a:lnTo>
                        <a:pt x="5" y="25"/>
                      </a:lnTo>
                      <a:lnTo>
                        <a:pt x="3" y="27"/>
                      </a:lnTo>
                      <a:lnTo>
                        <a:pt x="5" y="27"/>
                      </a:lnTo>
                      <a:lnTo>
                        <a:pt x="5" y="29"/>
                      </a:lnTo>
                      <a:lnTo>
                        <a:pt x="6" y="29"/>
                      </a:lnTo>
                      <a:lnTo>
                        <a:pt x="8" y="29"/>
                      </a:lnTo>
                      <a:lnTo>
                        <a:pt x="8" y="27"/>
                      </a:lnTo>
                      <a:lnTo>
                        <a:pt x="10" y="27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0" y="32"/>
                      </a:lnTo>
                      <a:lnTo>
                        <a:pt x="12" y="32"/>
                      </a:lnTo>
                      <a:lnTo>
                        <a:pt x="13" y="32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5" y="27"/>
                      </a:lnTo>
                      <a:lnTo>
                        <a:pt x="17" y="27"/>
                      </a:lnTo>
                      <a:lnTo>
                        <a:pt x="17" y="29"/>
                      </a:lnTo>
                      <a:lnTo>
                        <a:pt x="17" y="32"/>
                      </a:lnTo>
                      <a:lnTo>
                        <a:pt x="17" y="34"/>
                      </a:lnTo>
                      <a:lnTo>
                        <a:pt x="17" y="35"/>
                      </a:lnTo>
                      <a:lnTo>
                        <a:pt x="15" y="37"/>
                      </a:lnTo>
                      <a:lnTo>
                        <a:pt x="15" y="39"/>
                      </a:lnTo>
                      <a:lnTo>
                        <a:pt x="17" y="39"/>
                      </a:lnTo>
                      <a:lnTo>
                        <a:pt x="18" y="39"/>
                      </a:lnTo>
                      <a:lnTo>
                        <a:pt x="20" y="37"/>
                      </a:lnTo>
                      <a:lnTo>
                        <a:pt x="22" y="37"/>
                      </a:lnTo>
                      <a:lnTo>
                        <a:pt x="25" y="37"/>
                      </a:lnTo>
                      <a:lnTo>
                        <a:pt x="27" y="35"/>
                      </a:lnTo>
                      <a:lnTo>
                        <a:pt x="28" y="34"/>
                      </a:lnTo>
                      <a:lnTo>
                        <a:pt x="30" y="34"/>
                      </a:lnTo>
                      <a:lnTo>
                        <a:pt x="33" y="32"/>
                      </a:lnTo>
                      <a:lnTo>
                        <a:pt x="33" y="34"/>
                      </a:lnTo>
                      <a:lnTo>
                        <a:pt x="35" y="34"/>
                      </a:lnTo>
                      <a:lnTo>
                        <a:pt x="35" y="35"/>
                      </a:lnTo>
                      <a:lnTo>
                        <a:pt x="37" y="35"/>
                      </a:lnTo>
                      <a:lnTo>
                        <a:pt x="39" y="35"/>
                      </a:lnTo>
                      <a:lnTo>
                        <a:pt x="40" y="37"/>
                      </a:lnTo>
                      <a:lnTo>
                        <a:pt x="44" y="37"/>
                      </a:lnTo>
                      <a:lnTo>
                        <a:pt x="45" y="39"/>
                      </a:lnTo>
                      <a:lnTo>
                        <a:pt x="45" y="40"/>
                      </a:lnTo>
                      <a:lnTo>
                        <a:pt x="49" y="42"/>
                      </a:lnTo>
                      <a:lnTo>
                        <a:pt x="50" y="44"/>
                      </a:lnTo>
                      <a:lnTo>
                        <a:pt x="52" y="44"/>
                      </a:lnTo>
                      <a:lnTo>
                        <a:pt x="55" y="44"/>
                      </a:lnTo>
                      <a:lnTo>
                        <a:pt x="59" y="44"/>
                      </a:lnTo>
                      <a:lnTo>
                        <a:pt x="60" y="44"/>
                      </a:lnTo>
                      <a:lnTo>
                        <a:pt x="62" y="44"/>
                      </a:lnTo>
                      <a:lnTo>
                        <a:pt x="62" y="42"/>
                      </a:lnTo>
                      <a:lnTo>
                        <a:pt x="64" y="42"/>
                      </a:lnTo>
                      <a:lnTo>
                        <a:pt x="66" y="42"/>
                      </a:lnTo>
                      <a:lnTo>
                        <a:pt x="67" y="42"/>
                      </a:lnTo>
                      <a:lnTo>
                        <a:pt x="67" y="44"/>
                      </a:lnTo>
                      <a:lnTo>
                        <a:pt x="69" y="44"/>
                      </a:lnTo>
                      <a:lnTo>
                        <a:pt x="69" y="42"/>
                      </a:lnTo>
                      <a:lnTo>
                        <a:pt x="71" y="42"/>
                      </a:lnTo>
                      <a:lnTo>
                        <a:pt x="71" y="40"/>
                      </a:lnTo>
                      <a:lnTo>
                        <a:pt x="72" y="40"/>
                      </a:lnTo>
                      <a:lnTo>
                        <a:pt x="71" y="39"/>
                      </a:lnTo>
                      <a:lnTo>
                        <a:pt x="69" y="37"/>
                      </a:lnTo>
                      <a:lnTo>
                        <a:pt x="69" y="35"/>
                      </a:lnTo>
                      <a:lnTo>
                        <a:pt x="69" y="34"/>
                      </a:lnTo>
                      <a:lnTo>
                        <a:pt x="67" y="32"/>
                      </a:lnTo>
                      <a:lnTo>
                        <a:pt x="67" y="30"/>
                      </a:lnTo>
                      <a:lnTo>
                        <a:pt x="67" y="29"/>
                      </a:lnTo>
                      <a:lnTo>
                        <a:pt x="67" y="27"/>
                      </a:lnTo>
                      <a:lnTo>
                        <a:pt x="69" y="25"/>
                      </a:lnTo>
                      <a:lnTo>
                        <a:pt x="69" y="24"/>
                      </a:lnTo>
                      <a:lnTo>
                        <a:pt x="69" y="22"/>
                      </a:lnTo>
                      <a:lnTo>
                        <a:pt x="67" y="22"/>
                      </a:lnTo>
                      <a:lnTo>
                        <a:pt x="67" y="20"/>
                      </a:lnTo>
                      <a:lnTo>
                        <a:pt x="67" y="18"/>
                      </a:lnTo>
                      <a:lnTo>
                        <a:pt x="69" y="18"/>
                      </a:lnTo>
                      <a:lnTo>
                        <a:pt x="69" y="17"/>
                      </a:lnTo>
                      <a:lnTo>
                        <a:pt x="71" y="17"/>
                      </a:lnTo>
                      <a:lnTo>
                        <a:pt x="72" y="17"/>
                      </a:lnTo>
                      <a:lnTo>
                        <a:pt x="72" y="15"/>
                      </a:lnTo>
                      <a:lnTo>
                        <a:pt x="74" y="13"/>
                      </a:lnTo>
                      <a:lnTo>
                        <a:pt x="74" y="12"/>
                      </a:lnTo>
                      <a:lnTo>
                        <a:pt x="76" y="10"/>
                      </a:lnTo>
                      <a:lnTo>
                        <a:pt x="77" y="10"/>
                      </a:lnTo>
                      <a:lnTo>
                        <a:pt x="77" y="8"/>
                      </a:lnTo>
                      <a:lnTo>
                        <a:pt x="77" y="7"/>
                      </a:lnTo>
                      <a:lnTo>
                        <a:pt x="79" y="5"/>
                      </a:lnTo>
                      <a:lnTo>
                        <a:pt x="79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79" name="Group 1978">
                <a:extLst>
                  <a:ext uri="{FF2B5EF4-FFF2-40B4-BE49-F238E27FC236}">
                    <a16:creationId xmlns:a16="http://schemas.microsoft.com/office/drawing/2014/main" id="{51EDA42A-F23C-9B4C-BBBF-C2C9BAD7CD0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1" y="317"/>
                <a:ext cx="20" cy="18"/>
                <a:chOff x="491" y="317"/>
                <a:chExt cx="20" cy="18"/>
              </a:xfrm>
            </p:grpSpPr>
            <p:sp>
              <p:nvSpPr>
                <p:cNvPr id="1983" name="Freeform 357">
                  <a:extLst>
                    <a:ext uri="{FF2B5EF4-FFF2-40B4-BE49-F238E27FC236}">
                      <a16:creationId xmlns:a16="http://schemas.microsoft.com/office/drawing/2014/main" id="{4DEE76E6-D218-B54A-8C53-4EBEEF4018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1" y="317"/>
                  <a:ext cx="20" cy="18"/>
                </a:xfrm>
                <a:custGeom>
                  <a:avLst/>
                  <a:gdLst>
                    <a:gd name="T0" fmla="*/ 20 w 20"/>
                    <a:gd name="T1" fmla="*/ 5 h 18"/>
                    <a:gd name="T2" fmla="*/ 20 w 20"/>
                    <a:gd name="T3" fmla="*/ 3 h 18"/>
                    <a:gd name="T4" fmla="*/ 18 w 20"/>
                    <a:gd name="T5" fmla="*/ 3 h 18"/>
                    <a:gd name="T6" fmla="*/ 17 w 20"/>
                    <a:gd name="T7" fmla="*/ 3 h 18"/>
                    <a:gd name="T8" fmla="*/ 17 w 20"/>
                    <a:gd name="T9" fmla="*/ 1 h 18"/>
                    <a:gd name="T10" fmla="*/ 15 w 20"/>
                    <a:gd name="T11" fmla="*/ 1 h 18"/>
                    <a:gd name="T12" fmla="*/ 13 w 20"/>
                    <a:gd name="T13" fmla="*/ 1 h 18"/>
                    <a:gd name="T14" fmla="*/ 12 w 20"/>
                    <a:gd name="T15" fmla="*/ 1 h 18"/>
                    <a:gd name="T16" fmla="*/ 10 w 20"/>
                    <a:gd name="T17" fmla="*/ 0 h 18"/>
                    <a:gd name="T18" fmla="*/ 8 w 20"/>
                    <a:gd name="T19" fmla="*/ 0 h 18"/>
                    <a:gd name="T20" fmla="*/ 8 w 20"/>
                    <a:gd name="T21" fmla="*/ 1 h 18"/>
                    <a:gd name="T22" fmla="*/ 7 w 20"/>
                    <a:gd name="T23" fmla="*/ 1 h 18"/>
                    <a:gd name="T24" fmla="*/ 5 w 20"/>
                    <a:gd name="T25" fmla="*/ 1 h 18"/>
                    <a:gd name="T26" fmla="*/ 3 w 20"/>
                    <a:gd name="T27" fmla="*/ 1 h 18"/>
                    <a:gd name="T28" fmla="*/ 3 w 20"/>
                    <a:gd name="T29" fmla="*/ 3 h 18"/>
                    <a:gd name="T30" fmla="*/ 3 w 20"/>
                    <a:gd name="T31" fmla="*/ 5 h 18"/>
                    <a:gd name="T32" fmla="*/ 1 w 20"/>
                    <a:gd name="T33" fmla="*/ 5 h 18"/>
                    <a:gd name="T34" fmla="*/ 0 w 20"/>
                    <a:gd name="T35" fmla="*/ 5 h 18"/>
                    <a:gd name="T36" fmla="*/ 0 w 20"/>
                    <a:gd name="T37" fmla="*/ 6 h 18"/>
                    <a:gd name="T38" fmla="*/ 1 w 20"/>
                    <a:gd name="T39" fmla="*/ 8 h 18"/>
                    <a:gd name="T40" fmla="*/ 0 w 20"/>
                    <a:gd name="T41" fmla="*/ 8 h 18"/>
                    <a:gd name="T42" fmla="*/ 0 w 20"/>
                    <a:gd name="T43" fmla="*/ 10 h 18"/>
                    <a:gd name="T44" fmla="*/ 1 w 20"/>
                    <a:gd name="T45" fmla="*/ 10 h 18"/>
                    <a:gd name="T46" fmla="*/ 3 w 20"/>
                    <a:gd name="T47" fmla="*/ 10 h 18"/>
                    <a:gd name="T48" fmla="*/ 3 w 20"/>
                    <a:gd name="T49" fmla="*/ 11 h 18"/>
                    <a:gd name="T50" fmla="*/ 1 w 20"/>
                    <a:gd name="T51" fmla="*/ 13 h 18"/>
                    <a:gd name="T52" fmla="*/ 1 w 20"/>
                    <a:gd name="T53" fmla="*/ 15 h 18"/>
                    <a:gd name="T54" fmla="*/ 1 w 20"/>
                    <a:gd name="T55" fmla="*/ 16 h 18"/>
                    <a:gd name="T56" fmla="*/ 1 w 20"/>
                    <a:gd name="T57" fmla="*/ 18 h 18"/>
                    <a:gd name="T58" fmla="*/ 3 w 20"/>
                    <a:gd name="T59" fmla="*/ 16 h 18"/>
                    <a:gd name="T60" fmla="*/ 5 w 20"/>
                    <a:gd name="T61" fmla="*/ 16 h 18"/>
                    <a:gd name="T62" fmla="*/ 7 w 20"/>
                    <a:gd name="T63" fmla="*/ 15 h 18"/>
                    <a:gd name="T64" fmla="*/ 7 w 20"/>
                    <a:gd name="T65" fmla="*/ 13 h 18"/>
                    <a:gd name="T66" fmla="*/ 8 w 20"/>
                    <a:gd name="T67" fmla="*/ 10 h 18"/>
                    <a:gd name="T68" fmla="*/ 8 w 20"/>
                    <a:gd name="T69" fmla="*/ 8 h 18"/>
                    <a:gd name="T70" fmla="*/ 10 w 20"/>
                    <a:gd name="T71" fmla="*/ 8 h 18"/>
                    <a:gd name="T72" fmla="*/ 12 w 20"/>
                    <a:gd name="T73" fmla="*/ 8 h 18"/>
                    <a:gd name="T74" fmla="*/ 13 w 20"/>
                    <a:gd name="T75" fmla="*/ 8 h 18"/>
                    <a:gd name="T76" fmla="*/ 15 w 20"/>
                    <a:gd name="T77" fmla="*/ 8 h 18"/>
                    <a:gd name="T78" fmla="*/ 17 w 20"/>
                    <a:gd name="T79" fmla="*/ 6 h 18"/>
                    <a:gd name="T80" fmla="*/ 18 w 20"/>
                    <a:gd name="T81" fmla="*/ 6 h 18"/>
                    <a:gd name="T82" fmla="*/ 20 w 20"/>
                    <a:gd name="T83" fmla="*/ 5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0" h="18">
                      <a:moveTo>
                        <a:pt x="20" y="5"/>
                      </a:moveTo>
                      <a:lnTo>
                        <a:pt x="20" y="3"/>
                      </a:lnTo>
                      <a:lnTo>
                        <a:pt x="18" y="3"/>
                      </a:lnTo>
                      <a:lnTo>
                        <a:pt x="17" y="3"/>
                      </a:lnTo>
                      <a:lnTo>
                        <a:pt x="17" y="1"/>
                      </a:lnTo>
                      <a:lnTo>
                        <a:pt x="15" y="1"/>
                      </a:lnTo>
                      <a:lnTo>
                        <a:pt x="13" y="1"/>
                      </a:lnTo>
                      <a:lnTo>
                        <a:pt x="12" y="1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5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1" y="8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1" y="10"/>
                      </a:lnTo>
                      <a:lnTo>
                        <a:pt x="3" y="10"/>
                      </a:lnTo>
                      <a:lnTo>
                        <a:pt x="3" y="11"/>
                      </a:lnTo>
                      <a:lnTo>
                        <a:pt x="1" y="13"/>
                      </a:lnTo>
                      <a:lnTo>
                        <a:pt x="1" y="15"/>
                      </a:lnTo>
                      <a:lnTo>
                        <a:pt x="1" y="16"/>
                      </a:lnTo>
                      <a:lnTo>
                        <a:pt x="1" y="18"/>
                      </a:lnTo>
                      <a:lnTo>
                        <a:pt x="3" y="16"/>
                      </a:lnTo>
                      <a:lnTo>
                        <a:pt x="5" y="16"/>
                      </a:lnTo>
                      <a:lnTo>
                        <a:pt x="7" y="15"/>
                      </a:lnTo>
                      <a:lnTo>
                        <a:pt x="7" y="13"/>
                      </a:lnTo>
                      <a:lnTo>
                        <a:pt x="8" y="10"/>
                      </a:lnTo>
                      <a:lnTo>
                        <a:pt x="8" y="8"/>
                      </a:lnTo>
                      <a:lnTo>
                        <a:pt x="10" y="8"/>
                      </a:lnTo>
                      <a:lnTo>
                        <a:pt x="12" y="8"/>
                      </a:lnTo>
                      <a:lnTo>
                        <a:pt x="13" y="8"/>
                      </a:lnTo>
                      <a:lnTo>
                        <a:pt x="15" y="8"/>
                      </a:lnTo>
                      <a:lnTo>
                        <a:pt x="17" y="6"/>
                      </a:lnTo>
                      <a:lnTo>
                        <a:pt x="18" y="6"/>
                      </a:lnTo>
                      <a:lnTo>
                        <a:pt x="20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84" name="Freeform 358">
                  <a:extLst>
                    <a:ext uri="{FF2B5EF4-FFF2-40B4-BE49-F238E27FC236}">
                      <a16:creationId xmlns:a16="http://schemas.microsoft.com/office/drawing/2014/main" id="{A17D7C01-BE90-4742-B925-AA3542A1E4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1" y="317"/>
                  <a:ext cx="20" cy="18"/>
                </a:xfrm>
                <a:custGeom>
                  <a:avLst/>
                  <a:gdLst>
                    <a:gd name="T0" fmla="*/ 20 w 20"/>
                    <a:gd name="T1" fmla="*/ 5 h 18"/>
                    <a:gd name="T2" fmla="*/ 20 w 20"/>
                    <a:gd name="T3" fmla="*/ 3 h 18"/>
                    <a:gd name="T4" fmla="*/ 18 w 20"/>
                    <a:gd name="T5" fmla="*/ 3 h 18"/>
                    <a:gd name="T6" fmla="*/ 17 w 20"/>
                    <a:gd name="T7" fmla="*/ 3 h 18"/>
                    <a:gd name="T8" fmla="*/ 17 w 20"/>
                    <a:gd name="T9" fmla="*/ 1 h 18"/>
                    <a:gd name="T10" fmla="*/ 15 w 20"/>
                    <a:gd name="T11" fmla="*/ 1 h 18"/>
                    <a:gd name="T12" fmla="*/ 13 w 20"/>
                    <a:gd name="T13" fmla="*/ 1 h 18"/>
                    <a:gd name="T14" fmla="*/ 12 w 20"/>
                    <a:gd name="T15" fmla="*/ 1 h 18"/>
                    <a:gd name="T16" fmla="*/ 10 w 20"/>
                    <a:gd name="T17" fmla="*/ 0 h 18"/>
                    <a:gd name="T18" fmla="*/ 8 w 20"/>
                    <a:gd name="T19" fmla="*/ 0 h 18"/>
                    <a:gd name="T20" fmla="*/ 8 w 20"/>
                    <a:gd name="T21" fmla="*/ 1 h 18"/>
                    <a:gd name="T22" fmla="*/ 7 w 20"/>
                    <a:gd name="T23" fmla="*/ 1 h 18"/>
                    <a:gd name="T24" fmla="*/ 5 w 20"/>
                    <a:gd name="T25" fmla="*/ 1 h 18"/>
                    <a:gd name="T26" fmla="*/ 3 w 20"/>
                    <a:gd name="T27" fmla="*/ 1 h 18"/>
                    <a:gd name="T28" fmla="*/ 3 w 20"/>
                    <a:gd name="T29" fmla="*/ 3 h 18"/>
                    <a:gd name="T30" fmla="*/ 3 w 20"/>
                    <a:gd name="T31" fmla="*/ 5 h 18"/>
                    <a:gd name="T32" fmla="*/ 1 w 20"/>
                    <a:gd name="T33" fmla="*/ 5 h 18"/>
                    <a:gd name="T34" fmla="*/ 0 w 20"/>
                    <a:gd name="T35" fmla="*/ 5 h 18"/>
                    <a:gd name="T36" fmla="*/ 0 w 20"/>
                    <a:gd name="T37" fmla="*/ 6 h 18"/>
                    <a:gd name="T38" fmla="*/ 1 w 20"/>
                    <a:gd name="T39" fmla="*/ 8 h 18"/>
                    <a:gd name="T40" fmla="*/ 0 w 20"/>
                    <a:gd name="T41" fmla="*/ 8 h 18"/>
                    <a:gd name="T42" fmla="*/ 0 w 20"/>
                    <a:gd name="T43" fmla="*/ 10 h 18"/>
                    <a:gd name="T44" fmla="*/ 1 w 20"/>
                    <a:gd name="T45" fmla="*/ 10 h 18"/>
                    <a:gd name="T46" fmla="*/ 3 w 20"/>
                    <a:gd name="T47" fmla="*/ 10 h 18"/>
                    <a:gd name="T48" fmla="*/ 3 w 20"/>
                    <a:gd name="T49" fmla="*/ 11 h 18"/>
                    <a:gd name="T50" fmla="*/ 1 w 20"/>
                    <a:gd name="T51" fmla="*/ 13 h 18"/>
                    <a:gd name="T52" fmla="*/ 1 w 20"/>
                    <a:gd name="T53" fmla="*/ 15 h 18"/>
                    <a:gd name="T54" fmla="*/ 1 w 20"/>
                    <a:gd name="T55" fmla="*/ 16 h 18"/>
                    <a:gd name="T56" fmla="*/ 1 w 20"/>
                    <a:gd name="T57" fmla="*/ 18 h 18"/>
                    <a:gd name="T58" fmla="*/ 3 w 20"/>
                    <a:gd name="T59" fmla="*/ 16 h 18"/>
                    <a:gd name="T60" fmla="*/ 5 w 20"/>
                    <a:gd name="T61" fmla="*/ 16 h 18"/>
                    <a:gd name="T62" fmla="*/ 7 w 20"/>
                    <a:gd name="T63" fmla="*/ 15 h 18"/>
                    <a:gd name="T64" fmla="*/ 7 w 20"/>
                    <a:gd name="T65" fmla="*/ 13 h 18"/>
                    <a:gd name="T66" fmla="*/ 8 w 20"/>
                    <a:gd name="T67" fmla="*/ 10 h 18"/>
                    <a:gd name="T68" fmla="*/ 8 w 20"/>
                    <a:gd name="T69" fmla="*/ 8 h 18"/>
                    <a:gd name="T70" fmla="*/ 10 w 20"/>
                    <a:gd name="T71" fmla="*/ 8 h 18"/>
                    <a:gd name="T72" fmla="*/ 12 w 20"/>
                    <a:gd name="T73" fmla="*/ 8 h 18"/>
                    <a:gd name="T74" fmla="*/ 13 w 20"/>
                    <a:gd name="T75" fmla="*/ 8 h 18"/>
                    <a:gd name="T76" fmla="*/ 15 w 20"/>
                    <a:gd name="T77" fmla="*/ 8 h 18"/>
                    <a:gd name="T78" fmla="*/ 17 w 20"/>
                    <a:gd name="T79" fmla="*/ 6 h 18"/>
                    <a:gd name="T80" fmla="*/ 18 w 20"/>
                    <a:gd name="T81" fmla="*/ 6 h 18"/>
                    <a:gd name="T82" fmla="*/ 20 w 20"/>
                    <a:gd name="T83" fmla="*/ 5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0" h="18">
                      <a:moveTo>
                        <a:pt x="20" y="5"/>
                      </a:moveTo>
                      <a:lnTo>
                        <a:pt x="20" y="3"/>
                      </a:lnTo>
                      <a:lnTo>
                        <a:pt x="18" y="3"/>
                      </a:lnTo>
                      <a:lnTo>
                        <a:pt x="17" y="3"/>
                      </a:lnTo>
                      <a:lnTo>
                        <a:pt x="17" y="1"/>
                      </a:lnTo>
                      <a:lnTo>
                        <a:pt x="15" y="1"/>
                      </a:lnTo>
                      <a:lnTo>
                        <a:pt x="13" y="1"/>
                      </a:lnTo>
                      <a:lnTo>
                        <a:pt x="12" y="1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5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1" y="8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1" y="10"/>
                      </a:lnTo>
                      <a:lnTo>
                        <a:pt x="3" y="10"/>
                      </a:lnTo>
                      <a:lnTo>
                        <a:pt x="3" y="11"/>
                      </a:lnTo>
                      <a:lnTo>
                        <a:pt x="1" y="13"/>
                      </a:lnTo>
                      <a:lnTo>
                        <a:pt x="1" y="15"/>
                      </a:lnTo>
                      <a:lnTo>
                        <a:pt x="1" y="16"/>
                      </a:lnTo>
                      <a:lnTo>
                        <a:pt x="1" y="18"/>
                      </a:lnTo>
                      <a:lnTo>
                        <a:pt x="3" y="16"/>
                      </a:lnTo>
                      <a:lnTo>
                        <a:pt x="5" y="16"/>
                      </a:lnTo>
                      <a:lnTo>
                        <a:pt x="7" y="15"/>
                      </a:lnTo>
                      <a:lnTo>
                        <a:pt x="7" y="13"/>
                      </a:lnTo>
                      <a:lnTo>
                        <a:pt x="8" y="10"/>
                      </a:lnTo>
                      <a:lnTo>
                        <a:pt x="8" y="8"/>
                      </a:lnTo>
                      <a:lnTo>
                        <a:pt x="10" y="8"/>
                      </a:lnTo>
                      <a:lnTo>
                        <a:pt x="12" y="8"/>
                      </a:lnTo>
                      <a:lnTo>
                        <a:pt x="13" y="8"/>
                      </a:lnTo>
                      <a:lnTo>
                        <a:pt x="15" y="8"/>
                      </a:lnTo>
                      <a:lnTo>
                        <a:pt x="17" y="6"/>
                      </a:lnTo>
                      <a:lnTo>
                        <a:pt x="18" y="6"/>
                      </a:lnTo>
                      <a:lnTo>
                        <a:pt x="20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80" name="Group 1979">
                <a:extLst>
                  <a:ext uri="{FF2B5EF4-FFF2-40B4-BE49-F238E27FC236}">
                    <a16:creationId xmlns:a16="http://schemas.microsoft.com/office/drawing/2014/main" id="{856AC0C8-1A1D-E142-AFF4-2FAEF99ACDD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6" y="306"/>
                <a:ext cx="12" cy="9"/>
                <a:chOff x="496" y="306"/>
                <a:chExt cx="12" cy="9"/>
              </a:xfrm>
            </p:grpSpPr>
            <p:sp>
              <p:nvSpPr>
                <p:cNvPr id="1981" name="Freeform 355">
                  <a:extLst>
                    <a:ext uri="{FF2B5EF4-FFF2-40B4-BE49-F238E27FC236}">
                      <a16:creationId xmlns:a16="http://schemas.microsoft.com/office/drawing/2014/main" id="{5D76BD95-ED77-AF4D-8F90-8DA03BE373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" y="306"/>
                  <a:ext cx="12" cy="9"/>
                </a:xfrm>
                <a:custGeom>
                  <a:avLst/>
                  <a:gdLst>
                    <a:gd name="T0" fmla="*/ 8 w 12"/>
                    <a:gd name="T1" fmla="*/ 7 h 9"/>
                    <a:gd name="T2" fmla="*/ 10 w 12"/>
                    <a:gd name="T3" fmla="*/ 7 h 9"/>
                    <a:gd name="T4" fmla="*/ 12 w 12"/>
                    <a:gd name="T5" fmla="*/ 5 h 9"/>
                    <a:gd name="T6" fmla="*/ 12 w 12"/>
                    <a:gd name="T7" fmla="*/ 4 h 9"/>
                    <a:gd name="T8" fmla="*/ 10 w 12"/>
                    <a:gd name="T9" fmla="*/ 4 h 9"/>
                    <a:gd name="T10" fmla="*/ 8 w 12"/>
                    <a:gd name="T11" fmla="*/ 2 h 9"/>
                    <a:gd name="T12" fmla="*/ 8 w 12"/>
                    <a:gd name="T13" fmla="*/ 0 h 9"/>
                    <a:gd name="T14" fmla="*/ 7 w 12"/>
                    <a:gd name="T15" fmla="*/ 0 h 9"/>
                    <a:gd name="T16" fmla="*/ 5 w 12"/>
                    <a:gd name="T17" fmla="*/ 0 h 9"/>
                    <a:gd name="T18" fmla="*/ 5 w 12"/>
                    <a:gd name="T19" fmla="*/ 2 h 9"/>
                    <a:gd name="T20" fmla="*/ 3 w 12"/>
                    <a:gd name="T21" fmla="*/ 2 h 9"/>
                    <a:gd name="T22" fmla="*/ 3 w 12"/>
                    <a:gd name="T23" fmla="*/ 4 h 9"/>
                    <a:gd name="T24" fmla="*/ 2 w 12"/>
                    <a:gd name="T25" fmla="*/ 4 h 9"/>
                    <a:gd name="T26" fmla="*/ 0 w 12"/>
                    <a:gd name="T27" fmla="*/ 4 h 9"/>
                    <a:gd name="T28" fmla="*/ 0 w 12"/>
                    <a:gd name="T29" fmla="*/ 5 h 9"/>
                    <a:gd name="T30" fmla="*/ 2 w 12"/>
                    <a:gd name="T31" fmla="*/ 5 h 9"/>
                    <a:gd name="T32" fmla="*/ 3 w 12"/>
                    <a:gd name="T33" fmla="*/ 5 h 9"/>
                    <a:gd name="T34" fmla="*/ 5 w 12"/>
                    <a:gd name="T35" fmla="*/ 5 h 9"/>
                    <a:gd name="T36" fmla="*/ 5 w 12"/>
                    <a:gd name="T37" fmla="*/ 7 h 9"/>
                    <a:gd name="T38" fmla="*/ 7 w 12"/>
                    <a:gd name="T39" fmla="*/ 9 h 9"/>
                    <a:gd name="T40" fmla="*/ 8 w 12"/>
                    <a:gd name="T41" fmla="*/ 9 h 9"/>
                    <a:gd name="T42" fmla="*/ 8 w 12"/>
                    <a:gd name="T43" fmla="*/ 7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2" h="9">
                      <a:moveTo>
                        <a:pt x="8" y="7"/>
                      </a:moveTo>
                      <a:lnTo>
                        <a:pt x="10" y="7"/>
                      </a:lnTo>
                      <a:lnTo>
                        <a:pt x="12" y="5"/>
                      </a:lnTo>
                      <a:lnTo>
                        <a:pt x="12" y="4"/>
                      </a:lnTo>
                      <a:lnTo>
                        <a:pt x="10" y="4"/>
                      </a:lnTo>
                      <a:lnTo>
                        <a:pt x="8" y="2"/>
                      </a:lnTo>
                      <a:lnTo>
                        <a:pt x="8" y="0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5" y="7"/>
                      </a:lnTo>
                      <a:lnTo>
                        <a:pt x="7" y="9"/>
                      </a:lnTo>
                      <a:lnTo>
                        <a:pt x="8" y="9"/>
                      </a:lnTo>
                      <a:lnTo>
                        <a:pt x="8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82" name="Freeform 356">
                  <a:extLst>
                    <a:ext uri="{FF2B5EF4-FFF2-40B4-BE49-F238E27FC236}">
                      <a16:creationId xmlns:a16="http://schemas.microsoft.com/office/drawing/2014/main" id="{4CA7226D-02AB-8B44-AC50-07B96449B6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" y="306"/>
                  <a:ext cx="12" cy="9"/>
                </a:xfrm>
                <a:custGeom>
                  <a:avLst/>
                  <a:gdLst>
                    <a:gd name="T0" fmla="*/ 8 w 12"/>
                    <a:gd name="T1" fmla="*/ 7 h 9"/>
                    <a:gd name="T2" fmla="*/ 10 w 12"/>
                    <a:gd name="T3" fmla="*/ 7 h 9"/>
                    <a:gd name="T4" fmla="*/ 12 w 12"/>
                    <a:gd name="T5" fmla="*/ 5 h 9"/>
                    <a:gd name="T6" fmla="*/ 12 w 12"/>
                    <a:gd name="T7" fmla="*/ 4 h 9"/>
                    <a:gd name="T8" fmla="*/ 10 w 12"/>
                    <a:gd name="T9" fmla="*/ 4 h 9"/>
                    <a:gd name="T10" fmla="*/ 8 w 12"/>
                    <a:gd name="T11" fmla="*/ 2 h 9"/>
                    <a:gd name="T12" fmla="*/ 8 w 12"/>
                    <a:gd name="T13" fmla="*/ 0 h 9"/>
                    <a:gd name="T14" fmla="*/ 7 w 12"/>
                    <a:gd name="T15" fmla="*/ 0 h 9"/>
                    <a:gd name="T16" fmla="*/ 5 w 12"/>
                    <a:gd name="T17" fmla="*/ 0 h 9"/>
                    <a:gd name="T18" fmla="*/ 5 w 12"/>
                    <a:gd name="T19" fmla="*/ 2 h 9"/>
                    <a:gd name="T20" fmla="*/ 3 w 12"/>
                    <a:gd name="T21" fmla="*/ 2 h 9"/>
                    <a:gd name="T22" fmla="*/ 3 w 12"/>
                    <a:gd name="T23" fmla="*/ 4 h 9"/>
                    <a:gd name="T24" fmla="*/ 2 w 12"/>
                    <a:gd name="T25" fmla="*/ 4 h 9"/>
                    <a:gd name="T26" fmla="*/ 0 w 12"/>
                    <a:gd name="T27" fmla="*/ 4 h 9"/>
                    <a:gd name="T28" fmla="*/ 0 w 12"/>
                    <a:gd name="T29" fmla="*/ 5 h 9"/>
                    <a:gd name="T30" fmla="*/ 2 w 12"/>
                    <a:gd name="T31" fmla="*/ 5 h 9"/>
                    <a:gd name="T32" fmla="*/ 3 w 12"/>
                    <a:gd name="T33" fmla="*/ 5 h 9"/>
                    <a:gd name="T34" fmla="*/ 5 w 12"/>
                    <a:gd name="T35" fmla="*/ 5 h 9"/>
                    <a:gd name="T36" fmla="*/ 5 w 12"/>
                    <a:gd name="T37" fmla="*/ 7 h 9"/>
                    <a:gd name="T38" fmla="*/ 7 w 12"/>
                    <a:gd name="T39" fmla="*/ 9 h 9"/>
                    <a:gd name="T40" fmla="*/ 8 w 12"/>
                    <a:gd name="T41" fmla="*/ 9 h 9"/>
                    <a:gd name="T42" fmla="*/ 8 w 12"/>
                    <a:gd name="T43" fmla="*/ 7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2" h="9">
                      <a:moveTo>
                        <a:pt x="8" y="7"/>
                      </a:moveTo>
                      <a:lnTo>
                        <a:pt x="10" y="7"/>
                      </a:lnTo>
                      <a:lnTo>
                        <a:pt x="12" y="5"/>
                      </a:lnTo>
                      <a:lnTo>
                        <a:pt x="12" y="4"/>
                      </a:lnTo>
                      <a:lnTo>
                        <a:pt x="10" y="4"/>
                      </a:lnTo>
                      <a:lnTo>
                        <a:pt x="8" y="2"/>
                      </a:lnTo>
                      <a:lnTo>
                        <a:pt x="8" y="0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5" y="7"/>
                      </a:lnTo>
                      <a:lnTo>
                        <a:pt x="7" y="9"/>
                      </a:lnTo>
                      <a:lnTo>
                        <a:pt x="8" y="9"/>
                      </a:lnTo>
                      <a:lnTo>
                        <a:pt x="8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646" name="Group 1645">
              <a:extLst>
                <a:ext uri="{FF2B5EF4-FFF2-40B4-BE49-F238E27FC236}">
                  <a16:creationId xmlns:a16="http://schemas.microsoft.com/office/drawing/2014/main" id="{0F468989-5C78-814E-BBE4-84C8E03506D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4" y="231"/>
              <a:ext cx="17" cy="21"/>
              <a:chOff x="44" y="231"/>
              <a:chExt cx="17" cy="21"/>
            </a:xfrm>
          </p:grpSpPr>
          <p:grpSp>
            <p:nvGrpSpPr>
              <p:cNvPr id="1960" name="Group 1959">
                <a:extLst>
                  <a:ext uri="{FF2B5EF4-FFF2-40B4-BE49-F238E27FC236}">
                    <a16:creationId xmlns:a16="http://schemas.microsoft.com/office/drawing/2014/main" id="{9456E1C0-5963-854B-83A2-BF3048AB1AE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4" y="236"/>
                <a:ext cx="7" cy="1"/>
                <a:chOff x="44" y="236"/>
                <a:chExt cx="7" cy="1"/>
              </a:xfrm>
            </p:grpSpPr>
            <p:sp>
              <p:nvSpPr>
                <p:cNvPr id="1976" name="Freeform 350">
                  <a:extLst>
                    <a:ext uri="{FF2B5EF4-FFF2-40B4-BE49-F238E27FC236}">
                      <a16:creationId xmlns:a16="http://schemas.microsoft.com/office/drawing/2014/main" id="{0D899418-F120-854C-9503-08D05152B4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" y="236"/>
                  <a:ext cx="7" cy="1"/>
                </a:xfrm>
                <a:custGeom>
                  <a:avLst/>
                  <a:gdLst>
                    <a:gd name="T0" fmla="*/ 5 w 7"/>
                    <a:gd name="T1" fmla="*/ 1 h 1"/>
                    <a:gd name="T2" fmla="*/ 3 w 7"/>
                    <a:gd name="T3" fmla="*/ 1 h 1"/>
                    <a:gd name="T4" fmla="*/ 2 w 7"/>
                    <a:gd name="T5" fmla="*/ 1 h 1"/>
                    <a:gd name="T6" fmla="*/ 0 w 7"/>
                    <a:gd name="T7" fmla="*/ 0 h 1"/>
                    <a:gd name="T8" fmla="*/ 2 w 7"/>
                    <a:gd name="T9" fmla="*/ 0 h 1"/>
                    <a:gd name="T10" fmla="*/ 3 w 7"/>
                    <a:gd name="T11" fmla="*/ 0 h 1"/>
                    <a:gd name="T12" fmla="*/ 5 w 7"/>
                    <a:gd name="T13" fmla="*/ 0 h 1"/>
                    <a:gd name="T14" fmla="*/ 7 w 7"/>
                    <a:gd name="T15" fmla="*/ 1 h 1"/>
                    <a:gd name="T16" fmla="*/ 5 w 7"/>
                    <a:gd name="T1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1">
                      <a:moveTo>
                        <a:pt x="5" y="1"/>
                      </a:move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7" y="1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77" name="Freeform 351">
                  <a:extLst>
                    <a:ext uri="{FF2B5EF4-FFF2-40B4-BE49-F238E27FC236}">
                      <a16:creationId xmlns:a16="http://schemas.microsoft.com/office/drawing/2014/main" id="{8ED9685E-A042-9D4C-BF5B-3F43A252A9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" y="236"/>
                  <a:ext cx="7" cy="1"/>
                </a:xfrm>
                <a:custGeom>
                  <a:avLst/>
                  <a:gdLst>
                    <a:gd name="T0" fmla="*/ 5 w 7"/>
                    <a:gd name="T1" fmla="*/ 1 h 1"/>
                    <a:gd name="T2" fmla="*/ 3 w 7"/>
                    <a:gd name="T3" fmla="*/ 1 h 1"/>
                    <a:gd name="T4" fmla="*/ 2 w 7"/>
                    <a:gd name="T5" fmla="*/ 1 h 1"/>
                    <a:gd name="T6" fmla="*/ 0 w 7"/>
                    <a:gd name="T7" fmla="*/ 0 h 1"/>
                    <a:gd name="T8" fmla="*/ 2 w 7"/>
                    <a:gd name="T9" fmla="*/ 0 h 1"/>
                    <a:gd name="T10" fmla="*/ 3 w 7"/>
                    <a:gd name="T11" fmla="*/ 0 h 1"/>
                    <a:gd name="T12" fmla="*/ 5 w 7"/>
                    <a:gd name="T13" fmla="*/ 0 h 1"/>
                    <a:gd name="T14" fmla="*/ 7 w 7"/>
                    <a:gd name="T15" fmla="*/ 1 h 1"/>
                    <a:gd name="T16" fmla="*/ 5 w 7"/>
                    <a:gd name="T1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1">
                      <a:moveTo>
                        <a:pt x="5" y="1"/>
                      </a:move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7" y="1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61" name="Group 1960">
                <a:extLst>
                  <a:ext uri="{FF2B5EF4-FFF2-40B4-BE49-F238E27FC236}">
                    <a16:creationId xmlns:a16="http://schemas.microsoft.com/office/drawing/2014/main" id="{E6721F91-1563-8C41-8FD1-59E18BBD62C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" y="232"/>
                <a:ext cx="9" cy="7"/>
                <a:chOff x="47" y="232"/>
                <a:chExt cx="9" cy="7"/>
              </a:xfrm>
            </p:grpSpPr>
            <p:sp>
              <p:nvSpPr>
                <p:cNvPr id="1974" name="Freeform 348">
                  <a:extLst>
                    <a:ext uri="{FF2B5EF4-FFF2-40B4-BE49-F238E27FC236}">
                      <a16:creationId xmlns:a16="http://schemas.microsoft.com/office/drawing/2014/main" id="{E9EEBE28-F869-D744-8E75-16073551BE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" y="232"/>
                  <a:ext cx="9" cy="7"/>
                </a:xfrm>
                <a:custGeom>
                  <a:avLst/>
                  <a:gdLst>
                    <a:gd name="T0" fmla="*/ 7 w 9"/>
                    <a:gd name="T1" fmla="*/ 7 h 7"/>
                    <a:gd name="T2" fmla="*/ 5 w 9"/>
                    <a:gd name="T3" fmla="*/ 7 h 7"/>
                    <a:gd name="T4" fmla="*/ 5 w 9"/>
                    <a:gd name="T5" fmla="*/ 5 h 7"/>
                    <a:gd name="T6" fmla="*/ 4 w 9"/>
                    <a:gd name="T7" fmla="*/ 4 h 7"/>
                    <a:gd name="T8" fmla="*/ 2 w 9"/>
                    <a:gd name="T9" fmla="*/ 4 h 7"/>
                    <a:gd name="T10" fmla="*/ 0 w 9"/>
                    <a:gd name="T11" fmla="*/ 2 h 7"/>
                    <a:gd name="T12" fmla="*/ 0 w 9"/>
                    <a:gd name="T13" fmla="*/ 0 h 7"/>
                    <a:gd name="T14" fmla="*/ 2 w 9"/>
                    <a:gd name="T15" fmla="*/ 0 h 7"/>
                    <a:gd name="T16" fmla="*/ 5 w 9"/>
                    <a:gd name="T17" fmla="*/ 0 h 7"/>
                    <a:gd name="T18" fmla="*/ 5 w 9"/>
                    <a:gd name="T19" fmla="*/ 2 h 7"/>
                    <a:gd name="T20" fmla="*/ 7 w 9"/>
                    <a:gd name="T21" fmla="*/ 4 h 7"/>
                    <a:gd name="T22" fmla="*/ 9 w 9"/>
                    <a:gd name="T23" fmla="*/ 5 h 7"/>
                    <a:gd name="T24" fmla="*/ 9 w 9"/>
                    <a:gd name="T25" fmla="*/ 7 h 7"/>
                    <a:gd name="T26" fmla="*/ 7 w 9"/>
                    <a:gd name="T2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" h="7">
                      <a:moveTo>
                        <a:pt x="7" y="7"/>
                      </a:move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7" y="4"/>
                      </a:lnTo>
                      <a:lnTo>
                        <a:pt x="9" y="5"/>
                      </a:lnTo>
                      <a:lnTo>
                        <a:pt x="9" y="7"/>
                      </a:lnTo>
                      <a:lnTo>
                        <a:pt x="7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75" name="Freeform 349">
                  <a:extLst>
                    <a:ext uri="{FF2B5EF4-FFF2-40B4-BE49-F238E27FC236}">
                      <a16:creationId xmlns:a16="http://schemas.microsoft.com/office/drawing/2014/main" id="{6592B423-DEE1-0844-9CC9-43E89FC169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" y="232"/>
                  <a:ext cx="9" cy="7"/>
                </a:xfrm>
                <a:custGeom>
                  <a:avLst/>
                  <a:gdLst>
                    <a:gd name="T0" fmla="*/ 7 w 9"/>
                    <a:gd name="T1" fmla="*/ 7 h 7"/>
                    <a:gd name="T2" fmla="*/ 5 w 9"/>
                    <a:gd name="T3" fmla="*/ 7 h 7"/>
                    <a:gd name="T4" fmla="*/ 5 w 9"/>
                    <a:gd name="T5" fmla="*/ 5 h 7"/>
                    <a:gd name="T6" fmla="*/ 4 w 9"/>
                    <a:gd name="T7" fmla="*/ 4 h 7"/>
                    <a:gd name="T8" fmla="*/ 2 w 9"/>
                    <a:gd name="T9" fmla="*/ 4 h 7"/>
                    <a:gd name="T10" fmla="*/ 0 w 9"/>
                    <a:gd name="T11" fmla="*/ 2 h 7"/>
                    <a:gd name="T12" fmla="*/ 0 w 9"/>
                    <a:gd name="T13" fmla="*/ 0 h 7"/>
                    <a:gd name="T14" fmla="*/ 2 w 9"/>
                    <a:gd name="T15" fmla="*/ 0 h 7"/>
                    <a:gd name="T16" fmla="*/ 5 w 9"/>
                    <a:gd name="T17" fmla="*/ 0 h 7"/>
                    <a:gd name="T18" fmla="*/ 5 w 9"/>
                    <a:gd name="T19" fmla="*/ 2 h 7"/>
                    <a:gd name="T20" fmla="*/ 7 w 9"/>
                    <a:gd name="T21" fmla="*/ 4 h 7"/>
                    <a:gd name="T22" fmla="*/ 9 w 9"/>
                    <a:gd name="T23" fmla="*/ 5 h 7"/>
                    <a:gd name="T24" fmla="*/ 9 w 9"/>
                    <a:gd name="T25" fmla="*/ 7 h 7"/>
                    <a:gd name="T26" fmla="*/ 7 w 9"/>
                    <a:gd name="T2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" h="7">
                      <a:moveTo>
                        <a:pt x="7" y="7"/>
                      </a:move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7" y="4"/>
                      </a:lnTo>
                      <a:lnTo>
                        <a:pt x="9" y="5"/>
                      </a:lnTo>
                      <a:lnTo>
                        <a:pt x="9" y="7"/>
                      </a:lnTo>
                      <a:lnTo>
                        <a:pt x="7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62" name="Group 1961">
                <a:extLst>
                  <a:ext uri="{FF2B5EF4-FFF2-40B4-BE49-F238E27FC236}">
                    <a16:creationId xmlns:a16="http://schemas.microsoft.com/office/drawing/2014/main" id="{2A130613-9AC5-EF41-9028-AC947318701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" y="231"/>
                <a:ext cx="6" cy="6"/>
                <a:chOff x="51" y="231"/>
                <a:chExt cx="6" cy="6"/>
              </a:xfrm>
            </p:grpSpPr>
            <p:sp>
              <p:nvSpPr>
                <p:cNvPr id="1972" name="Freeform 346">
                  <a:extLst>
                    <a:ext uri="{FF2B5EF4-FFF2-40B4-BE49-F238E27FC236}">
                      <a16:creationId xmlns:a16="http://schemas.microsoft.com/office/drawing/2014/main" id="{57B4FF85-3B85-AA44-9A40-AA38119B49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" y="231"/>
                  <a:ext cx="6" cy="6"/>
                </a:xfrm>
                <a:custGeom>
                  <a:avLst/>
                  <a:gdLst>
                    <a:gd name="T0" fmla="*/ 5 w 6"/>
                    <a:gd name="T1" fmla="*/ 6 h 6"/>
                    <a:gd name="T2" fmla="*/ 3 w 6"/>
                    <a:gd name="T3" fmla="*/ 5 h 6"/>
                    <a:gd name="T4" fmla="*/ 3 w 6"/>
                    <a:gd name="T5" fmla="*/ 3 h 6"/>
                    <a:gd name="T6" fmla="*/ 1 w 6"/>
                    <a:gd name="T7" fmla="*/ 1 h 6"/>
                    <a:gd name="T8" fmla="*/ 0 w 6"/>
                    <a:gd name="T9" fmla="*/ 0 h 6"/>
                    <a:gd name="T10" fmla="*/ 1 w 6"/>
                    <a:gd name="T11" fmla="*/ 0 h 6"/>
                    <a:gd name="T12" fmla="*/ 1 w 6"/>
                    <a:gd name="T13" fmla="*/ 1 h 6"/>
                    <a:gd name="T14" fmla="*/ 3 w 6"/>
                    <a:gd name="T15" fmla="*/ 1 h 6"/>
                    <a:gd name="T16" fmla="*/ 5 w 6"/>
                    <a:gd name="T17" fmla="*/ 1 h 6"/>
                    <a:gd name="T18" fmla="*/ 5 w 6"/>
                    <a:gd name="T19" fmla="*/ 3 h 6"/>
                    <a:gd name="T20" fmla="*/ 6 w 6"/>
                    <a:gd name="T21" fmla="*/ 5 h 6"/>
                    <a:gd name="T22" fmla="*/ 6 w 6"/>
                    <a:gd name="T23" fmla="*/ 6 h 6"/>
                    <a:gd name="T24" fmla="*/ 5 w 6"/>
                    <a:gd name="T2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" h="6">
                      <a:moveTo>
                        <a:pt x="5" y="6"/>
                      </a:moveTo>
                      <a:lnTo>
                        <a:pt x="3" y="5"/>
                      </a:lnTo>
                      <a:lnTo>
                        <a:pt x="3" y="3"/>
                      </a:ln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5" y="1"/>
                      </a:lnTo>
                      <a:lnTo>
                        <a:pt x="5" y="3"/>
                      </a:lnTo>
                      <a:lnTo>
                        <a:pt x="6" y="5"/>
                      </a:lnTo>
                      <a:lnTo>
                        <a:pt x="6" y="6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73" name="Freeform 347">
                  <a:extLst>
                    <a:ext uri="{FF2B5EF4-FFF2-40B4-BE49-F238E27FC236}">
                      <a16:creationId xmlns:a16="http://schemas.microsoft.com/office/drawing/2014/main" id="{70D0DFC1-AB75-A34B-962D-8AF3D6E5B9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" y="231"/>
                  <a:ext cx="6" cy="6"/>
                </a:xfrm>
                <a:custGeom>
                  <a:avLst/>
                  <a:gdLst>
                    <a:gd name="T0" fmla="*/ 5 w 6"/>
                    <a:gd name="T1" fmla="*/ 6 h 6"/>
                    <a:gd name="T2" fmla="*/ 3 w 6"/>
                    <a:gd name="T3" fmla="*/ 5 h 6"/>
                    <a:gd name="T4" fmla="*/ 3 w 6"/>
                    <a:gd name="T5" fmla="*/ 3 h 6"/>
                    <a:gd name="T6" fmla="*/ 1 w 6"/>
                    <a:gd name="T7" fmla="*/ 1 h 6"/>
                    <a:gd name="T8" fmla="*/ 0 w 6"/>
                    <a:gd name="T9" fmla="*/ 0 h 6"/>
                    <a:gd name="T10" fmla="*/ 1 w 6"/>
                    <a:gd name="T11" fmla="*/ 0 h 6"/>
                    <a:gd name="T12" fmla="*/ 1 w 6"/>
                    <a:gd name="T13" fmla="*/ 1 h 6"/>
                    <a:gd name="T14" fmla="*/ 3 w 6"/>
                    <a:gd name="T15" fmla="*/ 1 h 6"/>
                    <a:gd name="T16" fmla="*/ 5 w 6"/>
                    <a:gd name="T17" fmla="*/ 1 h 6"/>
                    <a:gd name="T18" fmla="*/ 5 w 6"/>
                    <a:gd name="T19" fmla="*/ 3 h 6"/>
                    <a:gd name="T20" fmla="*/ 6 w 6"/>
                    <a:gd name="T21" fmla="*/ 5 h 6"/>
                    <a:gd name="T22" fmla="*/ 6 w 6"/>
                    <a:gd name="T23" fmla="*/ 6 h 6"/>
                    <a:gd name="T24" fmla="*/ 5 w 6"/>
                    <a:gd name="T2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" h="6">
                      <a:moveTo>
                        <a:pt x="5" y="6"/>
                      </a:moveTo>
                      <a:lnTo>
                        <a:pt x="3" y="5"/>
                      </a:lnTo>
                      <a:lnTo>
                        <a:pt x="3" y="3"/>
                      </a:ln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5" y="1"/>
                      </a:lnTo>
                      <a:lnTo>
                        <a:pt x="5" y="3"/>
                      </a:lnTo>
                      <a:lnTo>
                        <a:pt x="6" y="5"/>
                      </a:lnTo>
                      <a:lnTo>
                        <a:pt x="6" y="6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63" name="Group 1962">
                <a:extLst>
                  <a:ext uri="{FF2B5EF4-FFF2-40B4-BE49-F238E27FC236}">
                    <a16:creationId xmlns:a16="http://schemas.microsoft.com/office/drawing/2014/main" id="{44F1B41A-116B-5A4E-A06A-7A7117BEA3D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7" y="231"/>
                <a:ext cx="4" cy="3"/>
                <a:chOff x="57" y="231"/>
                <a:chExt cx="4" cy="3"/>
              </a:xfrm>
            </p:grpSpPr>
            <p:sp>
              <p:nvSpPr>
                <p:cNvPr id="1970" name="Freeform 344">
                  <a:extLst>
                    <a:ext uri="{FF2B5EF4-FFF2-40B4-BE49-F238E27FC236}">
                      <a16:creationId xmlns:a16="http://schemas.microsoft.com/office/drawing/2014/main" id="{AEAAC16C-D1D9-704C-9FAF-5B92355C5A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" y="231"/>
                  <a:ext cx="4" cy="3"/>
                </a:xfrm>
                <a:custGeom>
                  <a:avLst/>
                  <a:gdLst>
                    <a:gd name="T0" fmla="*/ 2 w 4"/>
                    <a:gd name="T1" fmla="*/ 1 h 3"/>
                    <a:gd name="T2" fmla="*/ 2 w 4"/>
                    <a:gd name="T3" fmla="*/ 3 h 3"/>
                    <a:gd name="T4" fmla="*/ 0 w 4"/>
                    <a:gd name="T5" fmla="*/ 3 h 3"/>
                    <a:gd name="T6" fmla="*/ 0 w 4"/>
                    <a:gd name="T7" fmla="*/ 1 h 3"/>
                    <a:gd name="T8" fmla="*/ 0 w 4"/>
                    <a:gd name="T9" fmla="*/ 0 h 3"/>
                    <a:gd name="T10" fmla="*/ 2 w 4"/>
                    <a:gd name="T11" fmla="*/ 0 h 3"/>
                    <a:gd name="T12" fmla="*/ 2 w 4"/>
                    <a:gd name="T13" fmla="*/ 1 h 3"/>
                    <a:gd name="T14" fmla="*/ 4 w 4"/>
                    <a:gd name="T15" fmla="*/ 1 h 3"/>
                    <a:gd name="T16" fmla="*/ 2 w 4"/>
                    <a:gd name="T1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3">
                      <a:moveTo>
                        <a:pt x="2" y="1"/>
                      </a:move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71" name="Freeform 345">
                  <a:extLst>
                    <a:ext uri="{FF2B5EF4-FFF2-40B4-BE49-F238E27FC236}">
                      <a16:creationId xmlns:a16="http://schemas.microsoft.com/office/drawing/2014/main" id="{71FD35EC-2595-A242-8D04-5A347A7556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" y="231"/>
                  <a:ext cx="4" cy="3"/>
                </a:xfrm>
                <a:custGeom>
                  <a:avLst/>
                  <a:gdLst>
                    <a:gd name="T0" fmla="*/ 2 w 4"/>
                    <a:gd name="T1" fmla="*/ 1 h 3"/>
                    <a:gd name="T2" fmla="*/ 2 w 4"/>
                    <a:gd name="T3" fmla="*/ 3 h 3"/>
                    <a:gd name="T4" fmla="*/ 0 w 4"/>
                    <a:gd name="T5" fmla="*/ 3 h 3"/>
                    <a:gd name="T6" fmla="*/ 0 w 4"/>
                    <a:gd name="T7" fmla="*/ 1 h 3"/>
                    <a:gd name="T8" fmla="*/ 0 w 4"/>
                    <a:gd name="T9" fmla="*/ 0 h 3"/>
                    <a:gd name="T10" fmla="*/ 2 w 4"/>
                    <a:gd name="T11" fmla="*/ 0 h 3"/>
                    <a:gd name="T12" fmla="*/ 2 w 4"/>
                    <a:gd name="T13" fmla="*/ 1 h 3"/>
                    <a:gd name="T14" fmla="*/ 4 w 4"/>
                    <a:gd name="T15" fmla="*/ 1 h 3"/>
                    <a:gd name="T16" fmla="*/ 2 w 4"/>
                    <a:gd name="T1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3">
                      <a:moveTo>
                        <a:pt x="2" y="1"/>
                      </a:move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64" name="Group 1963">
                <a:extLst>
                  <a:ext uri="{FF2B5EF4-FFF2-40B4-BE49-F238E27FC236}">
                    <a16:creationId xmlns:a16="http://schemas.microsoft.com/office/drawing/2014/main" id="{3862879D-B801-6A49-A83A-558B8D2F6C6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4" y="241"/>
                <a:ext cx="3" cy="3"/>
                <a:chOff x="54" y="241"/>
                <a:chExt cx="3" cy="3"/>
              </a:xfrm>
            </p:grpSpPr>
            <p:sp>
              <p:nvSpPr>
                <p:cNvPr id="1968" name="Freeform 342">
                  <a:extLst>
                    <a:ext uri="{FF2B5EF4-FFF2-40B4-BE49-F238E27FC236}">
                      <a16:creationId xmlns:a16="http://schemas.microsoft.com/office/drawing/2014/main" id="{0A5D86A6-2C5F-F34B-A785-BB8ECC38E1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" y="241"/>
                  <a:ext cx="3" cy="3"/>
                </a:xfrm>
                <a:custGeom>
                  <a:avLst/>
                  <a:gdLst>
                    <a:gd name="T0" fmla="*/ 3 w 3"/>
                    <a:gd name="T1" fmla="*/ 3 h 3"/>
                    <a:gd name="T2" fmla="*/ 2 w 3"/>
                    <a:gd name="T3" fmla="*/ 3 h 3"/>
                    <a:gd name="T4" fmla="*/ 2 w 3"/>
                    <a:gd name="T5" fmla="*/ 1 h 3"/>
                    <a:gd name="T6" fmla="*/ 0 w 3"/>
                    <a:gd name="T7" fmla="*/ 1 h 3"/>
                    <a:gd name="T8" fmla="*/ 2 w 3"/>
                    <a:gd name="T9" fmla="*/ 0 h 3"/>
                    <a:gd name="T10" fmla="*/ 3 w 3"/>
                    <a:gd name="T11" fmla="*/ 1 h 3"/>
                    <a:gd name="T12" fmla="*/ 3 w 3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69" name="Freeform 343">
                  <a:extLst>
                    <a:ext uri="{FF2B5EF4-FFF2-40B4-BE49-F238E27FC236}">
                      <a16:creationId xmlns:a16="http://schemas.microsoft.com/office/drawing/2014/main" id="{083DB9FA-20D4-D142-ADFD-3707EBBC85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" y="241"/>
                  <a:ext cx="3" cy="3"/>
                </a:xfrm>
                <a:custGeom>
                  <a:avLst/>
                  <a:gdLst>
                    <a:gd name="T0" fmla="*/ 3 w 3"/>
                    <a:gd name="T1" fmla="*/ 3 h 3"/>
                    <a:gd name="T2" fmla="*/ 2 w 3"/>
                    <a:gd name="T3" fmla="*/ 3 h 3"/>
                    <a:gd name="T4" fmla="*/ 2 w 3"/>
                    <a:gd name="T5" fmla="*/ 1 h 3"/>
                    <a:gd name="T6" fmla="*/ 0 w 3"/>
                    <a:gd name="T7" fmla="*/ 1 h 3"/>
                    <a:gd name="T8" fmla="*/ 2 w 3"/>
                    <a:gd name="T9" fmla="*/ 0 h 3"/>
                    <a:gd name="T10" fmla="*/ 3 w 3"/>
                    <a:gd name="T11" fmla="*/ 1 h 3"/>
                    <a:gd name="T12" fmla="*/ 3 w 3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65" name="Group 1964">
                <a:extLst>
                  <a:ext uri="{FF2B5EF4-FFF2-40B4-BE49-F238E27FC236}">
                    <a16:creationId xmlns:a16="http://schemas.microsoft.com/office/drawing/2014/main" id="{FAE0C39E-6770-0E47-AAB2-BD10752D020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2" y="247"/>
                <a:ext cx="4" cy="5"/>
                <a:chOff x="52" y="247"/>
                <a:chExt cx="4" cy="5"/>
              </a:xfrm>
            </p:grpSpPr>
            <p:sp>
              <p:nvSpPr>
                <p:cNvPr id="1966" name="Freeform 340">
                  <a:extLst>
                    <a:ext uri="{FF2B5EF4-FFF2-40B4-BE49-F238E27FC236}">
                      <a16:creationId xmlns:a16="http://schemas.microsoft.com/office/drawing/2014/main" id="{4D08B272-5E75-8345-86E4-B891DC0166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" y="247"/>
                  <a:ext cx="4" cy="5"/>
                </a:xfrm>
                <a:custGeom>
                  <a:avLst/>
                  <a:gdLst>
                    <a:gd name="T0" fmla="*/ 2 w 4"/>
                    <a:gd name="T1" fmla="*/ 2 h 5"/>
                    <a:gd name="T2" fmla="*/ 4 w 4"/>
                    <a:gd name="T3" fmla="*/ 2 h 5"/>
                    <a:gd name="T4" fmla="*/ 4 w 4"/>
                    <a:gd name="T5" fmla="*/ 4 h 5"/>
                    <a:gd name="T6" fmla="*/ 4 w 4"/>
                    <a:gd name="T7" fmla="*/ 5 h 5"/>
                    <a:gd name="T8" fmla="*/ 2 w 4"/>
                    <a:gd name="T9" fmla="*/ 5 h 5"/>
                    <a:gd name="T10" fmla="*/ 0 w 4"/>
                    <a:gd name="T11" fmla="*/ 4 h 5"/>
                    <a:gd name="T12" fmla="*/ 0 w 4"/>
                    <a:gd name="T13" fmla="*/ 2 h 5"/>
                    <a:gd name="T14" fmla="*/ 0 w 4"/>
                    <a:gd name="T15" fmla="*/ 0 h 5"/>
                    <a:gd name="T16" fmla="*/ 2 w 4"/>
                    <a:gd name="T1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5">
                      <a:moveTo>
                        <a:pt x="2" y="2"/>
                      </a:move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2" y="5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67" name="Freeform 341">
                  <a:extLst>
                    <a:ext uri="{FF2B5EF4-FFF2-40B4-BE49-F238E27FC236}">
                      <a16:creationId xmlns:a16="http://schemas.microsoft.com/office/drawing/2014/main" id="{1ABA7DDB-DB92-1543-B4BF-F38DD8F292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" y="247"/>
                  <a:ext cx="4" cy="5"/>
                </a:xfrm>
                <a:custGeom>
                  <a:avLst/>
                  <a:gdLst>
                    <a:gd name="T0" fmla="*/ 2 w 4"/>
                    <a:gd name="T1" fmla="*/ 2 h 5"/>
                    <a:gd name="T2" fmla="*/ 4 w 4"/>
                    <a:gd name="T3" fmla="*/ 2 h 5"/>
                    <a:gd name="T4" fmla="*/ 4 w 4"/>
                    <a:gd name="T5" fmla="*/ 4 h 5"/>
                    <a:gd name="T6" fmla="*/ 4 w 4"/>
                    <a:gd name="T7" fmla="*/ 5 h 5"/>
                    <a:gd name="T8" fmla="*/ 2 w 4"/>
                    <a:gd name="T9" fmla="*/ 5 h 5"/>
                    <a:gd name="T10" fmla="*/ 0 w 4"/>
                    <a:gd name="T11" fmla="*/ 4 h 5"/>
                    <a:gd name="T12" fmla="*/ 0 w 4"/>
                    <a:gd name="T13" fmla="*/ 2 h 5"/>
                    <a:gd name="T14" fmla="*/ 0 w 4"/>
                    <a:gd name="T15" fmla="*/ 0 h 5"/>
                    <a:gd name="T16" fmla="*/ 2 w 4"/>
                    <a:gd name="T1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5">
                      <a:moveTo>
                        <a:pt x="2" y="2"/>
                      </a:move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2" y="5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647" name="Group 1646">
              <a:extLst>
                <a:ext uri="{FF2B5EF4-FFF2-40B4-BE49-F238E27FC236}">
                  <a16:creationId xmlns:a16="http://schemas.microsoft.com/office/drawing/2014/main" id="{B9FD006A-D832-0D42-96E9-5A59160222E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67" y="30"/>
              <a:ext cx="184" cy="260"/>
              <a:chOff x="467" y="30"/>
              <a:chExt cx="184" cy="260"/>
            </a:xfrm>
          </p:grpSpPr>
          <p:grpSp>
            <p:nvGrpSpPr>
              <p:cNvPr id="1948" name="Group 1947">
                <a:extLst>
                  <a:ext uri="{FF2B5EF4-FFF2-40B4-BE49-F238E27FC236}">
                    <a16:creationId xmlns:a16="http://schemas.microsoft.com/office/drawing/2014/main" id="{B7A0B245-3DEF-CB42-9AD0-E2F99705178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82" y="30"/>
                <a:ext cx="169" cy="260"/>
                <a:chOff x="482" y="30"/>
                <a:chExt cx="169" cy="260"/>
              </a:xfrm>
            </p:grpSpPr>
            <p:sp>
              <p:nvSpPr>
                <p:cNvPr id="1958" name="Freeform 332">
                  <a:extLst>
                    <a:ext uri="{FF2B5EF4-FFF2-40B4-BE49-F238E27FC236}">
                      <a16:creationId xmlns:a16="http://schemas.microsoft.com/office/drawing/2014/main" id="{7BADA805-6339-9940-B83C-C111DABDF3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2" y="30"/>
                  <a:ext cx="169" cy="260"/>
                </a:xfrm>
                <a:custGeom>
                  <a:avLst/>
                  <a:gdLst>
                    <a:gd name="T0" fmla="*/ 140 w 169"/>
                    <a:gd name="T1" fmla="*/ 222 h 260"/>
                    <a:gd name="T2" fmla="*/ 164 w 169"/>
                    <a:gd name="T3" fmla="*/ 199 h 260"/>
                    <a:gd name="T4" fmla="*/ 167 w 169"/>
                    <a:gd name="T5" fmla="*/ 184 h 260"/>
                    <a:gd name="T6" fmla="*/ 161 w 169"/>
                    <a:gd name="T7" fmla="*/ 175 h 260"/>
                    <a:gd name="T8" fmla="*/ 152 w 169"/>
                    <a:gd name="T9" fmla="*/ 163 h 260"/>
                    <a:gd name="T10" fmla="*/ 150 w 169"/>
                    <a:gd name="T11" fmla="*/ 147 h 260"/>
                    <a:gd name="T12" fmla="*/ 145 w 169"/>
                    <a:gd name="T13" fmla="*/ 131 h 260"/>
                    <a:gd name="T14" fmla="*/ 149 w 169"/>
                    <a:gd name="T15" fmla="*/ 116 h 260"/>
                    <a:gd name="T16" fmla="*/ 145 w 169"/>
                    <a:gd name="T17" fmla="*/ 104 h 260"/>
                    <a:gd name="T18" fmla="*/ 135 w 169"/>
                    <a:gd name="T19" fmla="*/ 88 h 260"/>
                    <a:gd name="T20" fmla="*/ 145 w 169"/>
                    <a:gd name="T21" fmla="*/ 69 h 260"/>
                    <a:gd name="T22" fmla="*/ 140 w 169"/>
                    <a:gd name="T23" fmla="*/ 57 h 260"/>
                    <a:gd name="T24" fmla="*/ 125 w 169"/>
                    <a:gd name="T25" fmla="*/ 49 h 260"/>
                    <a:gd name="T26" fmla="*/ 127 w 169"/>
                    <a:gd name="T27" fmla="*/ 34 h 260"/>
                    <a:gd name="T28" fmla="*/ 134 w 169"/>
                    <a:gd name="T29" fmla="*/ 27 h 260"/>
                    <a:gd name="T30" fmla="*/ 135 w 169"/>
                    <a:gd name="T31" fmla="*/ 18 h 260"/>
                    <a:gd name="T32" fmla="*/ 134 w 169"/>
                    <a:gd name="T33" fmla="*/ 10 h 260"/>
                    <a:gd name="T34" fmla="*/ 122 w 169"/>
                    <a:gd name="T35" fmla="*/ 3 h 260"/>
                    <a:gd name="T36" fmla="*/ 110 w 169"/>
                    <a:gd name="T37" fmla="*/ 0 h 260"/>
                    <a:gd name="T38" fmla="*/ 91 w 169"/>
                    <a:gd name="T39" fmla="*/ 3 h 260"/>
                    <a:gd name="T40" fmla="*/ 81 w 169"/>
                    <a:gd name="T41" fmla="*/ 15 h 260"/>
                    <a:gd name="T42" fmla="*/ 81 w 169"/>
                    <a:gd name="T43" fmla="*/ 27 h 260"/>
                    <a:gd name="T44" fmla="*/ 68 w 169"/>
                    <a:gd name="T45" fmla="*/ 37 h 260"/>
                    <a:gd name="T46" fmla="*/ 54 w 169"/>
                    <a:gd name="T47" fmla="*/ 32 h 260"/>
                    <a:gd name="T48" fmla="*/ 41 w 169"/>
                    <a:gd name="T49" fmla="*/ 37 h 260"/>
                    <a:gd name="T50" fmla="*/ 27 w 169"/>
                    <a:gd name="T51" fmla="*/ 30 h 260"/>
                    <a:gd name="T52" fmla="*/ 10 w 169"/>
                    <a:gd name="T53" fmla="*/ 20 h 260"/>
                    <a:gd name="T54" fmla="*/ 4 w 169"/>
                    <a:gd name="T55" fmla="*/ 25 h 260"/>
                    <a:gd name="T56" fmla="*/ 5 w 169"/>
                    <a:gd name="T57" fmla="*/ 30 h 260"/>
                    <a:gd name="T58" fmla="*/ 27 w 169"/>
                    <a:gd name="T59" fmla="*/ 42 h 260"/>
                    <a:gd name="T60" fmla="*/ 46 w 169"/>
                    <a:gd name="T61" fmla="*/ 57 h 260"/>
                    <a:gd name="T62" fmla="*/ 46 w 169"/>
                    <a:gd name="T63" fmla="*/ 71 h 260"/>
                    <a:gd name="T64" fmla="*/ 46 w 169"/>
                    <a:gd name="T65" fmla="*/ 81 h 260"/>
                    <a:gd name="T66" fmla="*/ 53 w 169"/>
                    <a:gd name="T67" fmla="*/ 94 h 260"/>
                    <a:gd name="T68" fmla="*/ 54 w 169"/>
                    <a:gd name="T69" fmla="*/ 110 h 260"/>
                    <a:gd name="T70" fmla="*/ 61 w 169"/>
                    <a:gd name="T71" fmla="*/ 113 h 260"/>
                    <a:gd name="T72" fmla="*/ 71 w 169"/>
                    <a:gd name="T73" fmla="*/ 120 h 260"/>
                    <a:gd name="T74" fmla="*/ 75 w 169"/>
                    <a:gd name="T75" fmla="*/ 128 h 260"/>
                    <a:gd name="T76" fmla="*/ 75 w 169"/>
                    <a:gd name="T77" fmla="*/ 135 h 260"/>
                    <a:gd name="T78" fmla="*/ 66 w 169"/>
                    <a:gd name="T79" fmla="*/ 138 h 260"/>
                    <a:gd name="T80" fmla="*/ 54 w 169"/>
                    <a:gd name="T81" fmla="*/ 152 h 260"/>
                    <a:gd name="T82" fmla="*/ 41 w 169"/>
                    <a:gd name="T83" fmla="*/ 163 h 260"/>
                    <a:gd name="T84" fmla="*/ 29 w 169"/>
                    <a:gd name="T85" fmla="*/ 175 h 260"/>
                    <a:gd name="T86" fmla="*/ 17 w 169"/>
                    <a:gd name="T87" fmla="*/ 179 h 260"/>
                    <a:gd name="T88" fmla="*/ 12 w 169"/>
                    <a:gd name="T89" fmla="*/ 184 h 260"/>
                    <a:gd name="T90" fmla="*/ 7 w 169"/>
                    <a:gd name="T91" fmla="*/ 190 h 260"/>
                    <a:gd name="T92" fmla="*/ 9 w 169"/>
                    <a:gd name="T93" fmla="*/ 202 h 260"/>
                    <a:gd name="T94" fmla="*/ 12 w 169"/>
                    <a:gd name="T95" fmla="*/ 212 h 260"/>
                    <a:gd name="T96" fmla="*/ 14 w 169"/>
                    <a:gd name="T97" fmla="*/ 219 h 260"/>
                    <a:gd name="T98" fmla="*/ 12 w 169"/>
                    <a:gd name="T99" fmla="*/ 226 h 260"/>
                    <a:gd name="T100" fmla="*/ 10 w 169"/>
                    <a:gd name="T101" fmla="*/ 233 h 260"/>
                    <a:gd name="T102" fmla="*/ 16 w 169"/>
                    <a:gd name="T103" fmla="*/ 241 h 260"/>
                    <a:gd name="T104" fmla="*/ 27 w 169"/>
                    <a:gd name="T105" fmla="*/ 244 h 260"/>
                    <a:gd name="T106" fmla="*/ 34 w 169"/>
                    <a:gd name="T107" fmla="*/ 248 h 260"/>
                    <a:gd name="T108" fmla="*/ 39 w 169"/>
                    <a:gd name="T109" fmla="*/ 256 h 260"/>
                    <a:gd name="T110" fmla="*/ 41 w 169"/>
                    <a:gd name="T111" fmla="*/ 256 h 260"/>
                    <a:gd name="T112" fmla="*/ 51 w 169"/>
                    <a:gd name="T113" fmla="*/ 255 h 260"/>
                    <a:gd name="T114" fmla="*/ 61 w 169"/>
                    <a:gd name="T115" fmla="*/ 251 h 260"/>
                    <a:gd name="T116" fmla="*/ 71 w 169"/>
                    <a:gd name="T117" fmla="*/ 249 h 260"/>
                    <a:gd name="T118" fmla="*/ 80 w 169"/>
                    <a:gd name="T119" fmla="*/ 248 h 260"/>
                    <a:gd name="T120" fmla="*/ 85 w 169"/>
                    <a:gd name="T121" fmla="*/ 246 h 260"/>
                    <a:gd name="T122" fmla="*/ 96 w 169"/>
                    <a:gd name="T123" fmla="*/ 243 h 260"/>
                    <a:gd name="T124" fmla="*/ 110 w 169"/>
                    <a:gd name="T125" fmla="*/ 241 h 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69" h="260">
                      <a:moveTo>
                        <a:pt x="115" y="239"/>
                      </a:moveTo>
                      <a:lnTo>
                        <a:pt x="120" y="236"/>
                      </a:lnTo>
                      <a:lnTo>
                        <a:pt x="127" y="231"/>
                      </a:lnTo>
                      <a:lnTo>
                        <a:pt x="135" y="226"/>
                      </a:lnTo>
                      <a:lnTo>
                        <a:pt x="140" y="222"/>
                      </a:lnTo>
                      <a:lnTo>
                        <a:pt x="145" y="217"/>
                      </a:lnTo>
                      <a:lnTo>
                        <a:pt x="150" y="212"/>
                      </a:lnTo>
                      <a:lnTo>
                        <a:pt x="155" y="207"/>
                      </a:lnTo>
                      <a:lnTo>
                        <a:pt x="161" y="202"/>
                      </a:lnTo>
                      <a:lnTo>
                        <a:pt x="164" y="199"/>
                      </a:lnTo>
                      <a:lnTo>
                        <a:pt x="167" y="194"/>
                      </a:lnTo>
                      <a:lnTo>
                        <a:pt x="169" y="190"/>
                      </a:lnTo>
                      <a:lnTo>
                        <a:pt x="169" y="187"/>
                      </a:lnTo>
                      <a:lnTo>
                        <a:pt x="169" y="184"/>
                      </a:lnTo>
                      <a:lnTo>
                        <a:pt x="167" y="184"/>
                      </a:lnTo>
                      <a:lnTo>
                        <a:pt x="166" y="182"/>
                      </a:lnTo>
                      <a:lnTo>
                        <a:pt x="166" y="180"/>
                      </a:lnTo>
                      <a:lnTo>
                        <a:pt x="164" y="180"/>
                      </a:lnTo>
                      <a:lnTo>
                        <a:pt x="164" y="177"/>
                      </a:lnTo>
                      <a:lnTo>
                        <a:pt x="161" y="175"/>
                      </a:lnTo>
                      <a:lnTo>
                        <a:pt x="159" y="174"/>
                      </a:lnTo>
                      <a:lnTo>
                        <a:pt x="155" y="172"/>
                      </a:lnTo>
                      <a:lnTo>
                        <a:pt x="152" y="170"/>
                      </a:lnTo>
                      <a:lnTo>
                        <a:pt x="150" y="167"/>
                      </a:lnTo>
                      <a:lnTo>
                        <a:pt x="152" y="163"/>
                      </a:lnTo>
                      <a:lnTo>
                        <a:pt x="155" y="160"/>
                      </a:lnTo>
                      <a:lnTo>
                        <a:pt x="157" y="157"/>
                      </a:lnTo>
                      <a:lnTo>
                        <a:pt x="157" y="153"/>
                      </a:lnTo>
                      <a:lnTo>
                        <a:pt x="152" y="150"/>
                      </a:lnTo>
                      <a:lnTo>
                        <a:pt x="150" y="147"/>
                      </a:lnTo>
                      <a:lnTo>
                        <a:pt x="150" y="143"/>
                      </a:lnTo>
                      <a:lnTo>
                        <a:pt x="149" y="140"/>
                      </a:lnTo>
                      <a:lnTo>
                        <a:pt x="144" y="138"/>
                      </a:lnTo>
                      <a:lnTo>
                        <a:pt x="144" y="135"/>
                      </a:lnTo>
                      <a:lnTo>
                        <a:pt x="145" y="131"/>
                      </a:lnTo>
                      <a:lnTo>
                        <a:pt x="145" y="128"/>
                      </a:lnTo>
                      <a:lnTo>
                        <a:pt x="144" y="126"/>
                      </a:lnTo>
                      <a:lnTo>
                        <a:pt x="145" y="123"/>
                      </a:lnTo>
                      <a:lnTo>
                        <a:pt x="145" y="120"/>
                      </a:lnTo>
                      <a:lnTo>
                        <a:pt x="149" y="116"/>
                      </a:lnTo>
                      <a:lnTo>
                        <a:pt x="150" y="116"/>
                      </a:lnTo>
                      <a:lnTo>
                        <a:pt x="149" y="115"/>
                      </a:lnTo>
                      <a:lnTo>
                        <a:pt x="149" y="111"/>
                      </a:lnTo>
                      <a:lnTo>
                        <a:pt x="147" y="108"/>
                      </a:lnTo>
                      <a:lnTo>
                        <a:pt x="145" y="104"/>
                      </a:lnTo>
                      <a:lnTo>
                        <a:pt x="142" y="101"/>
                      </a:lnTo>
                      <a:lnTo>
                        <a:pt x="140" y="99"/>
                      </a:lnTo>
                      <a:lnTo>
                        <a:pt x="140" y="96"/>
                      </a:lnTo>
                      <a:lnTo>
                        <a:pt x="139" y="93"/>
                      </a:lnTo>
                      <a:lnTo>
                        <a:pt x="135" y="88"/>
                      </a:lnTo>
                      <a:lnTo>
                        <a:pt x="135" y="84"/>
                      </a:lnTo>
                      <a:lnTo>
                        <a:pt x="137" y="83"/>
                      </a:lnTo>
                      <a:lnTo>
                        <a:pt x="140" y="78"/>
                      </a:lnTo>
                      <a:lnTo>
                        <a:pt x="142" y="74"/>
                      </a:lnTo>
                      <a:lnTo>
                        <a:pt x="145" y="69"/>
                      </a:lnTo>
                      <a:lnTo>
                        <a:pt x="147" y="67"/>
                      </a:lnTo>
                      <a:lnTo>
                        <a:pt x="147" y="66"/>
                      </a:lnTo>
                      <a:lnTo>
                        <a:pt x="147" y="62"/>
                      </a:lnTo>
                      <a:lnTo>
                        <a:pt x="144" y="61"/>
                      </a:lnTo>
                      <a:lnTo>
                        <a:pt x="140" y="57"/>
                      </a:lnTo>
                      <a:lnTo>
                        <a:pt x="139" y="54"/>
                      </a:lnTo>
                      <a:lnTo>
                        <a:pt x="134" y="52"/>
                      </a:lnTo>
                      <a:lnTo>
                        <a:pt x="130" y="52"/>
                      </a:lnTo>
                      <a:lnTo>
                        <a:pt x="127" y="51"/>
                      </a:lnTo>
                      <a:lnTo>
                        <a:pt x="125" y="49"/>
                      </a:lnTo>
                      <a:lnTo>
                        <a:pt x="123" y="45"/>
                      </a:lnTo>
                      <a:lnTo>
                        <a:pt x="123" y="40"/>
                      </a:lnTo>
                      <a:lnTo>
                        <a:pt x="123" y="39"/>
                      </a:lnTo>
                      <a:lnTo>
                        <a:pt x="125" y="37"/>
                      </a:lnTo>
                      <a:lnTo>
                        <a:pt x="127" y="34"/>
                      </a:lnTo>
                      <a:lnTo>
                        <a:pt x="125" y="32"/>
                      </a:lnTo>
                      <a:lnTo>
                        <a:pt x="127" y="30"/>
                      </a:lnTo>
                      <a:lnTo>
                        <a:pt x="128" y="30"/>
                      </a:lnTo>
                      <a:lnTo>
                        <a:pt x="132" y="29"/>
                      </a:lnTo>
                      <a:lnTo>
                        <a:pt x="134" y="27"/>
                      </a:lnTo>
                      <a:lnTo>
                        <a:pt x="130" y="25"/>
                      </a:lnTo>
                      <a:lnTo>
                        <a:pt x="130" y="24"/>
                      </a:lnTo>
                      <a:lnTo>
                        <a:pt x="130" y="22"/>
                      </a:lnTo>
                      <a:lnTo>
                        <a:pt x="134" y="20"/>
                      </a:lnTo>
                      <a:lnTo>
                        <a:pt x="135" y="18"/>
                      </a:lnTo>
                      <a:lnTo>
                        <a:pt x="137" y="18"/>
                      </a:lnTo>
                      <a:lnTo>
                        <a:pt x="137" y="17"/>
                      </a:lnTo>
                      <a:lnTo>
                        <a:pt x="137" y="15"/>
                      </a:lnTo>
                      <a:lnTo>
                        <a:pt x="135" y="12"/>
                      </a:lnTo>
                      <a:lnTo>
                        <a:pt x="134" y="10"/>
                      </a:lnTo>
                      <a:lnTo>
                        <a:pt x="132" y="8"/>
                      </a:lnTo>
                      <a:lnTo>
                        <a:pt x="128" y="7"/>
                      </a:lnTo>
                      <a:lnTo>
                        <a:pt x="127" y="7"/>
                      </a:lnTo>
                      <a:lnTo>
                        <a:pt x="123" y="5"/>
                      </a:lnTo>
                      <a:lnTo>
                        <a:pt x="122" y="3"/>
                      </a:lnTo>
                      <a:lnTo>
                        <a:pt x="120" y="2"/>
                      </a:lnTo>
                      <a:lnTo>
                        <a:pt x="118" y="0"/>
                      </a:lnTo>
                      <a:lnTo>
                        <a:pt x="117" y="0"/>
                      </a:lnTo>
                      <a:lnTo>
                        <a:pt x="113" y="0"/>
                      </a:lnTo>
                      <a:lnTo>
                        <a:pt x="110" y="0"/>
                      </a:lnTo>
                      <a:lnTo>
                        <a:pt x="107" y="2"/>
                      </a:lnTo>
                      <a:lnTo>
                        <a:pt x="103" y="3"/>
                      </a:lnTo>
                      <a:lnTo>
                        <a:pt x="100" y="3"/>
                      </a:lnTo>
                      <a:lnTo>
                        <a:pt x="95" y="3"/>
                      </a:lnTo>
                      <a:lnTo>
                        <a:pt x="91" y="3"/>
                      </a:lnTo>
                      <a:lnTo>
                        <a:pt x="88" y="5"/>
                      </a:lnTo>
                      <a:lnTo>
                        <a:pt x="85" y="7"/>
                      </a:lnTo>
                      <a:lnTo>
                        <a:pt x="83" y="10"/>
                      </a:lnTo>
                      <a:lnTo>
                        <a:pt x="81" y="13"/>
                      </a:lnTo>
                      <a:lnTo>
                        <a:pt x="81" y="15"/>
                      </a:lnTo>
                      <a:lnTo>
                        <a:pt x="81" y="18"/>
                      </a:lnTo>
                      <a:lnTo>
                        <a:pt x="81" y="20"/>
                      </a:lnTo>
                      <a:lnTo>
                        <a:pt x="81" y="24"/>
                      </a:lnTo>
                      <a:lnTo>
                        <a:pt x="81" y="25"/>
                      </a:lnTo>
                      <a:lnTo>
                        <a:pt x="81" y="27"/>
                      </a:lnTo>
                      <a:lnTo>
                        <a:pt x="81" y="29"/>
                      </a:lnTo>
                      <a:lnTo>
                        <a:pt x="76" y="30"/>
                      </a:lnTo>
                      <a:lnTo>
                        <a:pt x="73" y="32"/>
                      </a:lnTo>
                      <a:lnTo>
                        <a:pt x="71" y="35"/>
                      </a:lnTo>
                      <a:lnTo>
                        <a:pt x="68" y="37"/>
                      </a:lnTo>
                      <a:lnTo>
                        <a:pt x="63" y="39"/>
                      </a:lnTo>
                      <a:lnTo>
                        <a:pt x="59" y="37"/>
                      </a:lnTo>
                      <a:lnTo>
                        <a:pt x="59" y="35"/>
                      </a:lnTo>
                      <a:lnTo>
                        <a:pt x="56" y="34"/>
                      </a:lnTo>
                      <a:lnTo>
                        <a:pt x="54" y="32"/>
                      </a:lnTo>
                      <a:lnTo>
                        <a:pt x="51" y="34"/>
                      </a:lnTo>
                      <a:lnTo>
                        <a:pt x="49" y="35"/>
                      </a:lnTo>
                      <a:lnTo>
                        <a:pt x="46" y="37"/>
                      </a:lnTo>
                      <a:lnTo>
                        <a:pt x="44" y="37"/>
                      </a:lnTo>
                      <a:lnTo>
                        <a:pt x="41" y="37"/>
                      </a:lnTo>
                      <a:lnTo>
                        <a:pt x="37" y="37"/>
                      </a:lnTo>
                      <a:lnTo>
                        <a:pt x="32" y="35"/>
                      </a:lnTo>
                      <a:lnTo>
                        <a:pt x="29" y="35"/>
                      </a:lnTo>
                      <a:lnTo>
                        <a:pt x="27" y="34"/>
                      </a:lnTo>
                      <a:lnTo>
                        <a:pt x="27" y="30"/>
                      </a:lnTo>
                      <a:lnTo>
                        <a:pt x="24" y="29"/>
                      </a:lnTo>
                      <a:lnTo>
                        <a:pt x="21" y="25"/>
                      </a:lnTo>
                      <a:lnTo>
                        <a:pt x="19" y="24"/>
                      </a:lnTo>
                      <a:lnTo>
                        <a:pt x="14" y="20"/>
                      </a:lnTo>
                      <a:lnTo>
                        <a:pt x="10" y="20"/>
                      </a:lnTo>
                      <a:lnTo>
                        <a:pt x="7" y="22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5" y="25"/>
                      </a:lnTo>
                      <a:lnTo>
                        <a:pt x="4" y="25"/>
                      </a:lnTo>
                      <a:lnTo>
                        <a:pt x="0" y="25"/>
                      </a:lnTo>
                      <a:lnTo>
                        <a:pt x="0" y="27"/>
                      </a:lnTo>
                      <a:lnTo>
                        <a:pt x="2" y="29"/>
                      </a:lnTo>
                      <a:lnTo>
                        <a:pt x="4" y="30"/>
                      </a:lnTo>
                      <a:lnTo>
                        <a:pt x="5" y="30"/>
                      </a:lnTo>
                      <a:lnTo>
                        <a:pt x="9" y="34"/>
                      </a:lnTo>
                      <a:lnTo>
                        <a:pt x="14" y="37"/>
                      </a:lnTo>
                      <a:lnTo>
                        <a:pt x="17" y="39"/>
                      </a:lnTo>
                      <a:lnTo>
                        <a:pt x="22" y="42"/>
                      </a:lnTo>
                      <a:lnTo>
                        <a:pt x="27" y="42"/>
                      </a:lnTo>
                      <a:lnTo>
                        <a:pt x="32" y="44"/>
                      </a:lnTo>
                      <a:lnTo>
                        <a:pt x="37" y="47"/>
                      </a:lnTo>
                      <a:lnTo>
                        <a:pt x="41" y="51"/>
                      </a:lnTo>
                      <a:lnTo>
                        <a:pt x="44" y="54"/>
                      </a:lnTo>
                      <a:lnTo>
                        <a:pt x="46" y="57"/>
                      </a:lnTo>
                      <a:lnTo>
                        <a:pt x="48" y="59"/>
                      </a:lnTo>
                      <a:lnTo>
                        <a:pt x="46" y="61"/>
                      </a:lnTo>
                      <a:lnTo>
                        <a:pt x="46" y="64"/>
                      </a:lnTo>
                      <a:lnTo>
                        <a:pt x="46" y="67"/>
                      </a:lnTo>
                      <a:lnTo>
                        <a:pt x="46" y="71"/>
                      </a:lnTo>
                      <a:lnTo>
                        <a:pt x="48" y="71"/>
                      </a:lnTo>
                      <a:lnTo>
                        <a:pt x="48" y="74"/>
                      </a:lnTo>
                      <a:lnTo>
                        <a:pt x="48" y="76"/>
                      </a:lnTo>
                      <a:lnTo>
                        <a:pt x="46" y="78"/>
                      </a:lnTo>
                      <a:lnTo>
                        <a:pt x="46" y="81"/>
                      </a:lnTo>
                      <a:lnTo>
                        <a:pt x="49" y="84"/>
                      </a:lnTo>
                      <a:lnTo>
                        <a:pt x="51" y="88"/>
                      </a:lnTo>
                      <a:lnTo>
                        <a:pt x="53" y="89"/>
                      </a:lnTo>
                      <a:lnTo>
                        <a:pt x="53" y="93"/>
                      </a:lnTo>
                      <a:lnTo>
                        <a:pt x="53" y="94"/>
                      </a:lnTo>
                      <a:lnTo>
                        <a:pt x="49" y="96"/>
                      </a:lnTo>
                      <a:lnTo>
                        <a:pt x="49" y="99"/>
                      </a:lnTo>
                      <a:lnTo>
                        <a:pt x="49" y="104"/>
                      </a:lnTo>
                      <a:lnTo>
                        <a:pt x="53" y="108"/>
                      </a:lnTo>
                      <a:lnTo>
                        <a:pt x="54" y="110"/>
                      </a:lnTo>
                      <a:lnTo>
                        <a:pt x="54" y="111"/>
                      </a:lnTo>
                      <a:lnTo>
                        <a:pt x="56" y="111"/>
                      </a:lnTo>
                      <a:lnTo>
                        <a:pt x="58" y="113"/>
                      </a:lnTo>
                      <a:lnTo>
                        <a:pt x="61" y="115"/>
                      </a:lnTo>
                      <a:lnTo>
                        <a:pt x="61" y="113"/>
                      </a:lnTo>
                      <a:lnTo>
                        <a:pt x="63" y="115"/>
                      </a:lnTo>
                      <a:lnTo>
                        <a:pt x="64" y="116"/>
                      </a:lnTo>
                      <a:lnTo>
                        <a:pt x="66" y="118"/>
                      </a:lnTo>
                      <a:lnTo>
                        <a:pt x="68" y="118"/>
                      </a:lnTo>
                      <a:lnTo>
                        <a:pt x="71" y="120"/>
                      </a:lnTo>
                      <a:lnTo>
                        <a:pt x="71" y="121"/>
                      </a:lnTo>
                      <a:lnTo>
                        <a:pt x="73" y="123"/>
                      </a:lnTo>
                      <a:lnTo>
                        <a:pt x="75" y="125"/>
                      </a:lnTo>
                      <a:lnTo>
                        <a:pt x="75" y="126"/>
                      </a:lnTo>
                      <a:lnTo>
                        <a:pt x="75" y="128"/>
                      </a:lnTo>
                      <a:lnTo>
                        <a:pt x="75" y="130"/>
                      </a:lnTo>
                      <a:lnTo>
                        <a:pt x="75" y="131"/>
                      </a:lnTo>
                      <a:lnTo>
                        <a:pt x="75" y="133"/>
                      </a:lnTo>
                      <a:lnTo>
                        <a:pt x="76" y="135"/>
                      </a:lnTo>
                      <a:lnTo>
                        <a:pt x="75" y="135"/>
                      </a:lnTo>
                      <a:lnTo>
                        <a:pt x="73" y="137"/>
                      </a:lnTo>
                      <a:lnTo>
                        <a:pt x="75" y="138"/>
                      </a:lnTo>
                      <a:lnTo>
                        <a:pt x="71" y="137"/>
                      </a:lnTo>
                      <a:lnTo>
                        <a:pt x="68" y="138"/>
                      </a:lnTo>
                      <a:lnTo>
                        <a:pt x="66" y="138"/>
                      </a:lnTo>
                      <a:lnTo>
                        <a:pt x="63" y="138"/>
                      </a:lnTo>
                      <a:lnTo>
                        <a:pt x="63" y="142"/>
                      </a:lnTo>
                      <a:lnTo>
                        <a:pt x="61" y="147"/>
                      </a:lnTo>
                      <a:lnTo>
                        <a:pt x="58" y="148"/>
                      </a:lnTo>
                      <a:lnTo>
                        <a:pt x="54" y="152"/>
                      </a:lnTo>
                      <a:lnTo>
                        <a:pt x="51" y="153"/>
                      </a:lnTo>
                      <a:lnTo>
                        <a:pt x="48" y="157"/>
                      </a:lnTo>
                      <a:lnTo>
                        <a:pt x="44" y="158"/>
                      </a:lnTo>
                      <a:lnTo>
                        <a:pt x="42" y="162"/>
                      </a:lnTo>
                      <a:lnTo>
                        <a:pt x="41" y="163"/>
                      </a:lnTo>
                      <a:lnTo>
                        <a:pt x="37" y="167"/>
                      </a:lnTo>
                      <a:lnTo>
                        <a:pt x="36" y="170"/>
                      </a:lnTo>
                      <a:lnTo>
                        <a:pt x="34" y="172"/>
                      </a:lnTo>
                      <a:lnTo>
                        <a:pt x="31" y="174"/>
                      </a:lnTo>
                      <a:lnTo>
                        <a:pt x="29" y="175"/>
                      </a:lnTo>
                      <a:lnTo>
                        <a:pt x="27" y="177"/>
                      </a:lnTo>
                      <a:lnTo>
                        <a:pt x="26" y="179"/>
                      </a:lnTo>
                      <a:lnTo>
                        <a:pt x="22" y="179"/>
                      </a:lnTo>
                      <a:lnTo>
                        <a:pt x="21" y="179"/>
                      </a:lnTo>
                      <a:lnTo>
                        <a:pt x="17" y="179"/>
                      </a:lnTo>
                      <a:lnTo>
                        <a:pt x="17" y="180"/>
                      </a:lnTo>
                      <a:lnTo>
                        <a:pt x="16" y="180"/>
                      </a:lnTo>
                      <a:lnTo>
                        <a:pt x="19" y="182"/>
                      </a:lnTo>
                      <a:lnTo>
                        <a:pt x="17" y="184"/>
                      </a:lnTo>
                      <a:lnTo>
                        <a:pt x="12" y="184"/>
                      </a:lnTo>
                      <a:lnTo>
                        <a:pt x="12" y="185"/>
                      </a:lnTo>
                      <a:lnTo>
                        <a:pt x="12" y="187"/>
                      </a:lnTo>
                      <a:lnTo>
                        <a:pt x="9" y="187"/>
                      </a:lnTo>
                      <a:lnTo>
                        <a:pt x="7" y="189"/>
                      </a:lnTo>
                      <a:lnTo>
                        <a:pt x="7" y="190"/>
                      </a:lnTo>
                      <a:lnTo>
                        <a:pt x="5" y="192"/>
                      </a:lnTo>
                      <a:lnTo>
                        <a:pt x="7" y="194"/>
                      </a:lnTo>
                      <a:lnTo>
                        <a:pt x="7" y="197"/>
                      </a:lnTo>
                      <a:lnTo>
                        <a:pt x="9" y="199"/>
                      </a:lnTo>
                      <a:lnTo>
                        <a:pt x="9" y="202"/>
                      </a:lnTo>
                      <a:lnTo>
                        <a:pt x="9" y="204"/>
                      </a:lnTo>
                      <a:lnTo>
                        <a:pt x="9" y="207"/>
                      </a:lnTo>
                      <a:lnTo>
                        <a:pt x="10" y="209"/>
                      </a:lnTo>
                      <a:lnTo>
                        <a:pt x="12" y="211"/>
                      </a:lnTo>
                      <a:lnTo>
                        <a:pt x="12" y="212"/>
                      </a:lnTo>
                      <a:lnTo>
                        <a:pt x="12" y="214"/>
                      </a:lnTo>
                      <a:lnTo>
                        <a:pt x="14" y="216"/>
                      </a:lnTo>
                      <a:lnTo>
                        <a:pt x="14" y="217"/>
                      </a:lnTo>
                      <a:lnTo>
                        <a:pt x="16" y="219"/>
                      </a:lnTo>
                      <a:lnTo>
                        <a:pt x="14" y="219"/>
                      </a:lnTo>
                      <a:lnTo>
                        <a:pt x="12" y="219"/>
                      </a:lnTo>
                      <a:lnTo>
                        <a:pt x="12" y="221"/>
                      </a:lnTo>
                      <a:lnTo>
                        <a:pt x="12" y="222"/>
                      </a:lnTo>
                      <a:lnTo>
                        <a:pt x="12" y="224"/>
                      </a:lnTo>
                      <a:lnTo>
                        <a:pt x="12" y="226"/>
                      </a:lnTo>
                      <a:lnTo>
                        <a:pt x="12" y="228"/>
                      </a:lnTo>
                      <a:lnTo>
                        <a:pt x="12" y="229"/>
                      </a:lnTo>
                      <a:lnTo>
                        <a:pt x="10" y="229"/>
                      </a:lnTo>
                      <a:lnTo>
                        <a:pt x="9" y="233"/>
                      </a:lnTo>
                      <a:lnTo>
                        <a:pt x="10" y="233"/>
                      </a:lnTo>
                      <a:lnTo>
                        <a:pt x="10" y="234"/>
                      </a:lnTo>
                      <a:lnTo>
                        <a:pt x="10" y="236"/>
                      </a:lnTo>
                      <a:lnTo>
                        <a:pt x="12" y="238"/>
                      </a:lnTo>
                      <a:lnTo>
                        <a:pt x="10" y="239"/>
                      </a:lnTo>
                      <a:lnTo>
                        <a:pt x="16" y="241"/>
                      </a:lnTo>
                      <a:lnTo>
                        <a:pt x="17" y="241"/>
                      </a:lnTo>
                      <a:lnTo>
                        <a:pt x="19" y="241"/>
                      </a:lnTo>
                      <a:lnTo>
                        <a:pt x="21" y="243"/>
                      </a:lnTo>
                      <a:lnTo>
                        <a:pt x="22" y="244"/>
                      </a:lnTo>
                      <a:lnTo>
                        <a:pt x="27" y="244"/>
                      </a:lnTo>
                      <a:lnTo>
                        <a:pt x="29" y="246"/>
                      </a:lnTo>
                      <a:lnTo>
                        <a:pt x="27" y="248"/>
                      </a:lnTo>
                      <a:lnTo>
                        <a:pt x="29" y="248"/>
                      </a:lnTo>
                      <a:lnTo>
                        <a:pt x="31" y="249"/>
                      </a:lnTo>
                      <a:lnTo>
                        <a:pt x="34" y="248"/>
                      </a:lnTo>
                      <a:lnTo>
                        <a:pt x="34" y="251"/>
                      </a:lnTo>
                      <a:lnTo>
                        <a:pt x="36" y="253"/>
                      </a:lnTo>
                      <a:lnTo>
                        <a:pt x="37" y="255"/>
                      </a:lnTo>
                      <a:lnTo>
                        <a:pt x="37" y="256"/>
                      </a:lnTo>
                      <a:lnTo>
                        <a:pt x="39" y="256"/>
                      </a:lnTo>
                      <a:lnTo>
                        <a:pt x="37" y="258"/>
                      </a:lnTo>
                      <a:lnTo>
                        <a:pt x="36" y="260"/>
                      </a:lnTo>
                      <a:lnTo>
                        <a:pt x="37" y="260"/>
                      </a:lnTo>
                      <a:lnTo>
                        <a:pt x="39" y="258"/>
                      </a:lnTo>
                      <a:lnTo>
                        <a:pt x="41" y="256"/>
                      </a:lnTo>
                      <a:lnTo>
                        <a:pt x="42" y="253"/>
                      </a:lnTo>
                      <a:lnTo>
                        <a:pt x="44" y="255"/>
                      </a:lnTo>
                      <a:lnTo>
                        <a:pt x="44" y="256"/>
                      </a:lnTo>
                      <a:lnTo>
                        <a:pt x="48" y="256"/>
                      </a:lnTo>
                      <a:lnTo>
                        <a:pt x="51" y="255"/>
                      </a:lnTo>
                      <a:lnTo>
                        <a:pt x="54" y="255"/>
                      </a:lnTo>
                      <a:lnTo>
                        <a:pt x="56" y="253"/>
                      </a:lnTo>
                      <a:lnTo>
                        <a:pt x="58" y="255"/>
                      </a:lnTo>
                      <a:lnTo>
                        <a:pt x="59" y="253"/>
                      </a:lnTo>
                      <a:lnTo>
                        <a:pt x="61" y="251"/>
                      </a:lnTo>
                      <a:lnTo>
                        <a:pt x="63" y="251"/>
                      </a:lnTo>
                      <a:lnTo>
                        <a:pt x="64" y="251"/>
                      </a:lnTo>
                      <a:lnTo>
                        <a:pt x="68" y="251"/>
                      </a:lnTo>
                      <a:lnTo>
                        <a:pt x="69" y="249"/>
                      </a:lnTo>
                      <a:lnTo>
                        <a:pt x="71" y="249"/>
                      </a:lnTo>
                      <a:lnTo>
                        <a:pt x="75" y="249"/>
                      </a:lnTo>
                      <a:lnTo>
                        <a:pt x="75" y="248"/>
                      </a:lnTo>
                      <a:lnTo>
                        <a:pt x="76" y="246"/>
                      </a:lnTo>
                      <a:lnTo>
                        <a:pt x="78" y="248"/>
                      </a:lnTo>
                      <a:lnTo>
                        <a:pt x="80" y="248"/>
                      </a:lnTo>
                      <a:lnTo>
                        <a:pt x="81" y="248"/>
                      </a:lnTo>
                      <a:lnTo>
                        <a:pt x="83" y="246"/>
                      </a:lnTo>
                      <a:lnTo>
                        <a:pt x="81" y="244"/>
                      </a:lnTo>
                      <a:lnTo>
                        <a:pt x="83" y="244"/>
                      </a:lnTo>
                      <a:lnTo>
                        <a:pt x="85" y="246"/>
                      </a:lnTo>
                      <a:lnTo>
                        <a:pt x="86" y="246"/>
                      </a:lnTo>
                      <a:lnTo>
                        <a:pt x="88" y="244"/>
                      </a:lnTo>
                      <a:lnTo>
                        <a:pt x="91" y="244"/>
                      </a:lnTo>
                      <a:lnTo>
                        <a:pt x="93" y="244"/>
                      </a:lnTo>
                      <a:lnTo>
                        <a:pt x="96" y="243"/>
                      </a:lnTo>
                      <a:lnTo>
                        <a:pt x="100" y="243"/>
                      </a:lnTo>
                      <a:lnTo>
                        <a:pt x="103" y="243"/>
                      </a:lnTo>
                      <a:lnTo>
                        <a:pt x="105" y="243"/>
                      </a:lnTo>
                      <a:lnTo>
                        <a:pt x="108" y="243"/>
                      </a:lnTo>
                      <a:lnTo>
                        <a:pt x="110" y="241"/>
                      </a:lnTo>
                      <a:lnTo>
                        <a:pt x="110" y="243"/>
                      </a:lnTo>
                      <a:lnTo>
                        <a:pt x="115" y="239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59" name="Freeform 333">
                  <a:extLst>
                    <a:ext uri="{FF2B5EF4-FFF2-40B4-BE49-F238E27FC236}">
                      <a16:creationId xmlns:a16="http://schemas.microsoft.com/office/drawing/2014/main" id="{4BD829DB-30C8-C943-83F3-B06CFF5EAB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2" y="30"/>
                  <a:ext cx="169" cy="260"/>
                </a:xfrm>
                <a:custGeom>
                  <a:avLst/>
                  <a:gdLst>
                    <a:gd name="T0" fmla="*/ 140 w 169"/>
                    <a:gd name="T1" fmla="*/ 222 h 260"/>
                    <a:gd name="T2" fmla="*/ 164 w 169"/>
                    <a:gd name="T3" fmla="*/ 199 h 260"/>
                    <a:gd name="T4" fmla="*/ 167 w 169"/>
                    <a:gd name="T5" fmla="*/ 184 h 260"/>
                    <a:gd name="T6" fmla="*/ 161 w 169"/>
                    <a:gd name="T7" fmla="*/ 175 h 260"/>
                    <a:gd name="T8" fmla="*/ 152 w 169"/>
                    <a:gd name="T9" fmla="*/ 163 h 260"/>
                    <a:gd name="T10" fmla="*/ 150 w 169"/>
                    <a:gd name="T11" fmla="*/ 147 h 260"/>
                    <a:gd name="T12" fmla="*/ 145 w 169"/>
                    <a:gd name="T13" fmla="*/ 131 h 260"/>
                    <a:gd name="T14" fmla="*/ 149 w 169"/>
                    <a:gd name="T15" fmla="*/ 116 h 260"/>
                    <a:gd name="T16" fmla="*/ 145 w 169"/>
                    <a:gd name="T17" fmla="*/ 104 h 260"/>
                    <a:gd name="T18" fmla="*/ 135 w 169"/>
                    <a:gd name="T19" fmla="*/ 88 h 260"/>
                    <a:gd name="T20" fmla="*/ 145 w 169"/>
                    <a:gd name="T21" fmla="*/ 69 h 260"/>
                    <a:gd name="T22" fmla="*/ 140 w 169"/>
                    <a:gd name="T23" fmla="*/ 57 h 260"/>
                    <a:gd name="T24" fmla="*/ 125 w 169"/>
                    <a:gd name="T25" fmla="*/ 49 h 260"/>
                    <a:gd name="T26" fmla="*/ 127 w 169"/>
                    <a:gd name="T27" fmla="*/ 34 h 260"/>
                    <a:gd name="T28" fmla="*/ 134 w 169"/>
                    <a:gd name="T29" fmla="*/ 27 h 260"/>
                    <a:gd name="T30" fmla="*/ 135 w 169"/>
                    <a:gd name="T31" fmla="*/ 18 h 260"/>
                    <a:gd name="T32" fmla="*/ 134 w 169"/>
                    <a:gd name="T33" fmla="*/ 10 h 260"/>
                    <a:gd name="T34" fmla="*/ 122 w 169"/>
                    <a:gd name="T35" fmla="*/ 3 h 260"/>
                    <a:gd name="T36" fmla="*/ 110 w 169"/>
                    <a:gd name="T37" fmla="*/ 0 h 260"/>
                    <a:gd name="T38" fmla="*/ 91 w 169"/>
                    <a:gd name="T39" fmla="*/ 3 h 260"/>
                    <a:gd name="T40" fmla="*/ 81 w 169"/>
                    <a:gd name="T41" fmla="*/ 15 h 260"/>
                    <a:gd name="T42" fmla="*/ 81 w 169"/>
                    <a:gd name="T43" fmla="*/ 27 h 260"/>
                    <a:gd name="T44" fmla="*/ 68 w 169"/>
                    <a:gd name="T45" fmla="*/ 37 h 260"/>
                    <a:gd name="T46" fmla="*/ 54 w 169"/>
                    <a:gd name="T47" fmla="*/ 32 h 260"/>
                    <a:gd name="T48" fmla="*/ 41 w 169"/>
                    <a:gd name="T49" fmla="*/ 37 h 260"/>
                    <a:gd name="T50" fmla="*/ 27 w 169"/>
                    <a:gd name="T51" fmla="*/ 30 h 260"/>
                    <a:gd name="T52" fmla="*/ 10 w 169"/>
                    <a:gd name="T53" fmla="*/ 20 h 260"/>
                    <a:gd name="T54" fmla="*/ 4 w 169"/>
                    <a:gd name="T55" fmla="*/ 25 h 260"/>
                    <a:gd name="T56" fmla="*/ 5 w 169"/>
                    <a:gd name="T57" fmla="*/ 30 h 260"/>
                    <a:gd name="T58" fmla="*/ 27 w 169"/>
                    <a:gd name="T59" fmla="*/ 42 h 260"/>
                    <a:gd name="T60" fmla="*/ 46 w 169"/>
                    <a:gd name="T61" fmla="*/ 57 h 260"/>
                    <a:gd name="T62" fmla="*/ 46 w 169"/>
                    <a:gd name="T63" fmla="*/ 71 h 260"/>
                    <a:gd name="T64" fmla="*/ 46 w 169"/>
                    <a:gd name="T65" fmla="*/ 81 h 260"/>
                    <a:gd name="T66" fmla="*/ 53 w 169"/>
                    <a:gd name="T67" fmla="*/ 94 h 260"/>
                    <a:gd name="T68" fmla="*/ 54 w 169"/>
                    <a:gd name="T69" fmla="*/ 110 h 260"/>
                    <a:gd name="T70" fmla="*/ 61 w 169"/>
                    <a:gd name="T71" fmla="*/ 113 h 260"/>
                    <a:gd name="T72" fmla="*/ 71 w 169"/>
                    <a:gd name="T73" fmla="*/ 120 h 260"/>
                    <a:gd name="T74" fmla="*/ 75 w 169"/>
                    <a:gd name="T75" fmla="*/ 128 h 260"/>
                    <a:gd name="T76" fmla="*/ 75 w 169"/>
                    <a:gd name="T77" fmla="*/ 135 h 260"/>
                    <a:gd name="T78" fmla="*/ 66 w 169"/>
                    <a:gd name="T79" fmla="*/ 138 h 260"/>
                    <a:gd name="T80" fmla="*/ 54 w 169"/>
                    <a:gd name="T81" fmla="*/ 152 h 260"/>
                    <a:gd name="T82" fmla="*/ 41 w 169"/>
                    <a:gd name="T83" fmla="*/ 163 h 260"/>
                    <a:gd name="T84" fmla="*/ 29 w 169"/>
                    <a:gd name="T85" fmla="*/ 175 h 260"/>
                    <a:gd name="T86" fmla="*/ 17 w 169"/>
                    <a:gd name="T87" fmla="*/ 179 h 260"/>
                    <a:gd name="T88" fmla="*/ 12 w 169"/>
                    <a:gd name="T89" fmla="*/ 184 h 260"/>
                    <a:gd name="T90" fmla="*/ 7 w 169"/>
                    <a:gd name="T91" fmla="*/ 190 h 260"/>
                    <a:gd name="T92" fmla="*/ 9 w 169"/>
                    <a:gd name="T93" fmla="*/ 202 h 260"/>
                    <a:gd name="T94" fmla="*/ 12 w 169"/>
                    <a:gd name="T95" fmla="*/ 212 h 260"/>
                    <a:gd name="T96" fmla="*/ 14 w 169"/>
                    <a:gd name="T97" fmla="*/ 219 h 260"/>
                    <a:gd name="T98" fmla="*/ 12 w 169"/>
                    <a:gd name="T99" fmla="*/ 226 h 260"/>
                    <a:gd name="T100" fmla="*/ 10 w 169"/>
                    <a:gd name="T101" fmla="*/ 233 h 260"/>
                    <a:gd name="T102" fmla="*/ 16 w 169"/>
                    <a:gd name="T103" fmla="*/ 241 h 260"/>
                    <a:gd name="T104" fmla="*/ 27 w 169"/>
                    <a:gd name="T105" fmla="*/ 244 h 260"/>
                    <a:gd name="T106" fmla="*/ 34 w 169"/>
                    <a:gd name="T107" fmla="*/ 248 h 260"/>
                    <a:gd name="T108" fmla="*/ 39 w 169"/>
                    <a:gd name="T109" fmla="*/ 256 h 260"/>
                    <a:gd name="T110" fmla="*/ 41 w 169"/>
                    <a:gd name="T111" fmla="*/ 256 h 260"/>
                    <a:gd name="T112" fmla="*/ 51 w 169"/>
                    <a:gd name="T113" fmla="*/ 255 h 260"/>
                    <a:gd name="T114" fmla="*/ 61 w 169"/>
                    <a:gd name="T115" fmla="*/ 251 h 260"/>
                    <a:gd name="T116" fmla="*/ 71 w 169"/>
                    <a:gd name="T117" fmla="*/ 249 h 260"/>
                    <a:gd name="T118" fmla="*/ 80 w 169"/>
                    <a:gd name="T119" fmla="*/ 248 h 260"/>
                    <a:gd name="T120" fmla="*/ 85 w 169"/>
                    <a:gd name="T121" fmla="*/ 246 h 260"/>
                    <a:gd name="T122" fmla="*/ 96 w 169"/>
                    <a:gd name="T123" fmla="*/ 243 h 260"/>
                    <a:gd name="T124" fmla="*/ 110 w 169"/>
                    <a:gd name="T125" fmla="*/ 241 h 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69" h="260">
                      <a:moveTo>
                        <a:pt x="115" y="239"/>
                      </a:moveTo>
                      <a:lnTo>
                        <a:pt x="120" y="236"/>
                      </a:lnTo>
                      <a:lnTo>
                        <a:pt x="127" y="231"/>
                      </a:lnTo>
                      <a:lnTo>
                        <a:pt x="135" y="226"/>
                      </a:lnTo>
                      <a:lnTo>
                        <a:pt x="140" y="222"/>
                      </a:lnTo>
                      <a:lnTo>
                        <a:pt x="145" y="217"/>
                      </a:lnTo>
                      <a:lnTo>
                        <a:pt x="150" y="212"/>
                      </a:lnTo>
                      <a:lnTo>
                        <a:pt x="155" y="207"/>
                      </a:lnTo>
                      <a:lnTo>
                        <a:pt x="161" y="202"/>
                      </a:lnTo>
                      <a:lnTo>
                        <a:pt x="164" y="199"/>
                      </a:lnTo>
                      <a:lnTo>
                        <a:pt x="167" y="194"/>
                      </a:lnTo>
                      <a:lnTo>
                        <a:pt x="169" y="190"/>
                      </a:lnTo>
                      <a:lnTo>
                        <a:pt x="169" y="187"/>
                      </a:lnTo>
                      <a:lnTo>
                        <a:pt x="169" y="184"/>
                      </a:lnTo>
                      <a:lnTo>
                        <a:pt x="167" y="184"/>
                      </a:lnTo>
                      <a:lnTo>
                        <a:pt x="166" y="182"/>
                      </a:lnTo>
                      <a:lnTo>
                        <a:pt x="166" y="180"/>
                      </a:lnTo>
                      <a:lnTo>
                        <a:pt x="164" y="180"/>
                      </a:lnTo>
                      <a:lnTo>
                        <a:pt x="164" y="177"/>
                      </a:lnTo>
                      <a:lnTo>
                        <a:pt x="161" y="175"/>
                      </a:lnTo>
                      <a:lnTo>
                        <a:pt x="159" y="174"/>
                      </a:lnTo>
                      <a:lnTo>
                        <a:pt x="155" y="172"/>
                      </a:lnTo>
                      <a:lnTo>
                        <a:pt x="152" y="170"/>
                      </a:lnTo>
                      <a:lnTo>
                        <a:pt x="150" y="167"/>
                      </a:lnTo>
                      <a:lnTo>
                        <a:pt x="152" y="163"/>
                      </a:lnTo>
                      <a:lnTo>
                        <a:pt x="155" y="160"/>
                      </a:lnTo>
                      <a:lnTo>
                        <a:pt x="157" y="157"/>
                      </a:lnTo>
                      <a:lnTo>
                        <a:pt x="157" y="153"/>
                      </a:lnTo>
                      <a:lnTo>
                        <a:pt x="152" y="150"/>
                      </a:lnTo>
                      <a:lnTo>
                        <a:pt x="150" y="147"/>
                      </a:lnTo>
                      <a:lnTo>
                        <a:pt x="150" y="143"/>
                      </a:lnTo>
                      <a:lnTo>
                        <a:pt x="149" y="140"/>
                      </a:lnTo>
                      <a:lnTo>
                        <a:pt x="144" y="138"/>
                      </a:lnTo>
                      <a:lnTo>
                        <a:pt x="144" y="135"/>
                      </a:lnTo>
                      <a:lnTo>
                        <a:pt x="145" y="131"/>
                      </a:lnTo>
                      <a:lnTo>
                        <a:pt x="145" y="128"/>
                      </a:lnTo>
                      <a:lnTo>
                        <a:pt x="144" y="126"/>
                      </a:lnTo>
                      <a:lnTo>
                        <a:pt x="145" y="123"/>
                      </a:lnTo>
                      <a:lnTo>
                        <a:pt x="145" y="120"/>
                      </a:lnTo>
                      <a:lnTo>
                        <a:pt x="149" y="116"/>
                      </a:lnTo>
                      <a:lnTo>
                        <a:pt x="150" y="116"/>
                      </a:lnTo>
                      <a:lnTo>
                        <a:pt x="149" y="115"/>
                      </a:lnTo>
                      <a:lnTo>
                        <a:pt x="149" y="111"/>
                      </a:lnTo>
                      <a:lnTo>
                        <a:pt x="147" y="108"/>
                      </a:lnTo>
                      <a:lnTo>
                        <a:pt x="145" y="104"/>
                      </a:lnTo>
                      <a:lnTo>
                        <a:pt x="142" y="101"/>
                      </a:lnTo>
                      <a:lnTo>
                        <a:pt x="140" y="99"/>
                      </a:lnTo>
                      <a:lnTo>
                        <a:pt x="140" y="96"/>
                      </a:lnTo>
                      <a:lnTo>
                        <a:pt x="139" y="93"/>
                      </a:lnTo>
                      <a:lnTo>
                        <a:pt x="135" y="88"/>
                      </a:lnTo>
                      <a:lnTo>
                        <a:pt x="135" y="84"/>
                      </a:lnTo>
                      <a:lnTo>
                        <a:pt x="137" y="83"/>
                      </a:lnTo>
                      <a:lnTo>
                        <a:pt x="140" y="78"/>
                      </a:lnTo>
                      <a:lnTo>
                        <a:pt x="142" y="74"/>
                      </a:lnTo>
                      <a:lnTo>
                        <a:pt x="145" y="69"/>
                      </a:lnTo>
                      <a:lnTo>
                        <a:pt x="147" y="67"/>
                      </a:lnTo>
                      <a:lnTo>
                        <a:pt x="147" y="66"/>
                      </a:lnTo>
                      <a:lnTo>
                        <a:pt x="147" y="62"/>
                      </a:lnTo>
                      <a:lnTo>
                        <a:pt x="144" y="61"/>
                      </a:lnTo>
                      <a:lnTo>
                        <a:pt x="140" y="57"/>
                      </a:lnTo>
                      <a:lnTo>
                        <a:pt x="139" y="54"/>
                      </a:lnTo>
                      <a:lnTo>
                        <a:pt x="134" y="52"/>
                      </a:lnTo>
                      <a:lnTo>
                        <a:pt x="130" y="52"/>
                      </a:lnTo>
                      <a:lnTo>
                        <a:pt x="127" y="51"/>
                      </a:lnTo>
                      <a:lnTo>
                        <a:pt x="125" y="49"/>
                      </a:lnTo>
                      <a:lnTo>
                        <a:pt x="123" y="45"/>
                      </a:lnTo>
                      <a:lnTo>
                        <a:pt x="123" y="40"/>
                      </a:lnTo>
                      <a:lnTo>
                        <a:pt x="123" y="39"/>
                      </a:lnTo>
                      <a:lnTo>
                        <a:pt x="125" y="37"/>
                      </a:lnTo>
                      <a:lnTo>
                        <a:pt x="127" y="34"/>
                      </a:lnTo>
                      <a:lnTo>
                        <a:pt x="125" y="32"/>
                      </a:lnTo>
                      <a:lnTo>
                        <a:pt x="127" y="30"/>
                      </a:lnTo>
                      <a:lnTo>
                        <a:pt x="128" y="30"/>
                      </a:lnTo>
                      <a:lnTo>
                        <a:pt x="132" y="29"/>
                      </a:lnTo>
                      <a:lnTo>
                        <a:pt x="134" y="27"/>
                      </a:lnTo>
                      <a:lnTo>
                        <a:pt x="130" y="25"/>
                      </a:lnTo>
                      <a:lnTo>
                        <a:pt x="130" y="24"/>
                      </a:lnTo>
                      <a:lnTo>
                        <a:pt x="130" y="22"/>
                      </a:lnTo>
                      <a:lnTo>
                        <a:pt x="134" y="20"/>
                      </a:lnTo>
                      <a:lnTo>
                        <a:pt x="135" y="18"/>
                      </a:lnTo>
                      <a:lnTo>
                        <a:pt x="137" y="18"/>
                      </a:lnTo>
                      <a:lnTo>
                        <a:pt x="137" y="17"/>
                      </a:lnTo>
                      <a:lnTo>
                        <a:pt x="137" y="15"/>
                      </a:lnTo>
                      <a:lnTo>
                        <a:pt x="135" y="12"/>
                      </a:lnTo>
                      <a:lnTo>
                        <a:pt x="134" y="10"/>
                      </a:lnTo>
                      <a:lnTo>
                        <a:pt x="132" y="8"/>
                      </a:lnTo>
                      <a:lnTo>
                        <a:pt x="128" y="7"/>
                      </a:lnTo>
                      <a:lnTo>
                        <a:pt x="127" y="7"/>
                      </a:lnTo>
                      <a:lnTo>
                        <a:pt x="123" y="5"/>
                      </a:lnTo>
                      <a:lnTo>
                        <a:pt x="122" y="3"/>
                      </a:lnTo>
                      <a:lnTo>
                        <a:pt x="120" y="2"/>
                      </a:lnTo>
                      <a:lnTo>
                        <a:pt x="118" y="0"/>
                      </a:lnTo>
                      <a:lnTo>
                        <a:pt x="117" y="0"/>
                      </a:lnTo>
                      <a:lnTo>
                        <a:pt x="113" y="0"/>
                      </a:lnTo>
                      <a:lnTo>
                        <a:pt x="110" y="0"/>
                      </a:lnTo>
                      <a:lnTo>
                        <a:pt x="107" y="2"/>
                      </a:lnTo>
                      <a:lnTo>
                        <a:pt x="103" y="3"/>
                      </a:lnTo>
                      <a:lnTo>
                        <a:pt x="100" y="3"/>
                      </a:lnTo>
                      <a:lnTo>
                        <a:pt x="95" y="3"/>
                      </a:lnTo>
                      <a:lnTo>
                        <a:pt x="91" y="3"/>
                      </a:lnTo>
                      <a:lnTo>
                        <a:pt x="88" y="5"/>
                      </a:lnTo>
                      <a:lnTo>
                        <a:pt x="85" y="7"/>
                      </a:lnTo>
                      <a:lnTo>
                        <a:pt x="83" y="10"/>
                      </a:lnTo>
                      <a:lnTo>
                        <a:pt x="81" y="13"/>
                      </a:lnTo>
                      <a:lnTo>
                        <a:pt x="81" y="15"/>
                      </a:lnTo>
                      <a:lnTo>
                        <a:pt x="81" y="18"/>
                      </a:lnTo>
                      <a:lnTo>
                        <a:pt x="81" y="20"/>
                      </a:lnTo>
                      <a:lnTo>
                        <a:pt x="81" y="24"/>
                      </a:lnTo>
                      <a:lnTo>
                        <a:pt x="81" y="25"/>
                      </a:lnTo>
                      <a:lnTo>
                        <a:pt x="81" y="27"/>
                      </a:lnTo>
                      <a:lnTo>
                        <a:pt x="81" y="29"/>
                      </a:lnTo>
                      <a:lnTo>
                        <a:pt x="76" y="30"/>
                      </a:lnTo>
                      <a:lnTo>
                        <a:pt x="73" y="32"/>
                      </a:lnTo>
                      <a:lnTo>
                        <a:pt x="71" y="35"/>
                      </a:lnTo>
                      <a:lnTo>
                        <a:pt x="68" y="37"/>
                      </a:lnTo>
                      <a:lnTo>
                        <a:pt x="63" y="39"/>
                      </a:lnTo>
                      <a:lnTo>
                        <a:pt x="59" y="37"/>
                      </a:lnTo>
                      <a:lnTo>
                        <a:pt x="59" y="35"/>
                      </a:lnTo>
                      <a:lnTo>
                        <a:pt x="56" y="34"/>
                      </a:lnTo>
                      <a:lnTo>
                        <a:pt x="54" y="32"/>
                      </a:lnTo>
                      <a:lnTo>
                        <a:pt x="51" y="34"/>
                      </a:lnTo>
                      <a:lnTo>
                        <a:pt x="49" y="35"/>
                      </a:lnTo>
                      <a:lnTo>
                        <a:pt x="46" y="37"/>
                      </a:lnTo>
                      <a:lnTo>
                        <a:pt x="44" y="37"/>
                      </a:lnTo>
                      <a:lnTo>
                        <a:pt x="41" y="37"/>
                      </a:lnTo>
                      <a:lnTo>
                        <a:pt x="37" y="37"/>
                      </a:lnTo>
                      <a:lnTo>
                        <a:pt x="32" y="35"/>
                      </a:lnTo>
                      <a:lnTo>
                        <a:pt x="29" y="35"/>
                      </a:lnTo>
                      <a:lnTo>
                        <a:pt x="27" y="34"/>
                      </a:lnTo>
                      <a:lnTo>
                        <a:pt x="27" y="30"/>
                      </a:lnTo>
                      <a:lnTo>
                        <a:pt x="24" y="29"/>
                      </a:lnTo>
                      <a:lnTo>
                        <a:pt x="21" y="25"/>
                      </a:lnTo>
                      <a:lnTo>
                        <a:pt x="19" y="24"/>
                      </a:lnTo>
                      <a:lnTo>
                        <a:pt x="14" y="20"/>
                      </a:lnTo>
                      <a:lnTo>
                        <a:pt x="10" y="20"/>
                      </a:lnTo>
                      <a:lnTo>
                        <a:pt x="7" y="22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5" y="25"/>
                      </a:lnTo>
                      <a:lnTo>
                        <a:pt x="4" y="25"/>
                      </a:lnTo>
                      <a:lnTo>
                        <a:pt x="0" y="25"/>
                      </a:lnTo>
                      <a:lnTo>
                        <a:pt x="0" y="27"/>
                      </a:lnTo>
                      <a:lnTo>
                        <a:pt x="2" y="29"/>
                      </a:lnTo>
                      <a:lnTo>
                        <a:pt x="4" y="30"/>
                      </a:lnTo>
                      <a:lnTo>
                        <a:pt x="5" y="30"/>
                      </a:lnTo>
                      <a:lnTo>
                        <a:pt x="9" y="34"/>
                      </a:lnTo>
                      <a:lnTo>
                        <a:pt x="14" y="37"/>
                      </a:lnTo>
                      <a:lnTo>
                        <a:pt x="17" y="39"/>
                      </a:lnTo>
                      <a:lnTo>
                        <a:pt x="22" y="42"/>
                      </a:lnTo>
                      <a:lnTo>
                        <a:pt x="27" y="42"/>
                      </a:lnTo>
                      <a:lnTo>
                        <a:pt x="32" y="44"/>
                      </a:lnTo>
                      <a:lnTo>
                        <a:pt x="37" y="47"/>
                      </a:lnTo>
                      <a:lnTo>
                        <a:pt x="41" y="51"/>
                      </a:lnTo>
                      <a:lnTo>
                        <a:pt x="44" y="54"/>
                      </a:lnTo>
                      <a:lnTo>
                        <a:pt x="46" y="57"/>
                      </a:lnTo>
                      <a:lnTo>
                        <a:pt x="48" y="59"/>
                      </a:lnTo>
                      <a:lnTo>
                        <a:pt x="46" y="61"/>
                      </a:lnTo>
                      <a:lnTo>
                        <a:pt x="46" y="64"/>
                      </a:lnTo>
                      <a:lnTo>
                        <a:pt x="46" y="67"/>
                      </a:lnTo>
                      <a:lnTo>
                        <a:pt x="46" y="71"/>
                      </a:lnTo>
                      <a:lnTo>
                        <a:pt x="48" y="71"/>
                      </a:lnTo>
                      <a:lnTo>
                        <a:pt x="48" y="74"/>
                      </a:lnTo>
                      <a:lnTo>
                        <a:pt x="48" y="76"/>
                      </a:lnTo>
                      <a:lnTo>
                        <a:pt x="46" y="78"/>
                      </a:lnTo>
                      <a:lnTo>
                        <a:pt x="46" y="81"/>
                      </a:lnTo>
                      <a:lnTo>
                        <a:pt x="49" y="84"/>
                      </a:lnTo>
                      <a:lnTo>
                        <a:pt x="51" y="88"/>
                      </a:lnTo>
                      <a:lnTo>
                        <a:pt x="53" y="89"/>
                      </a:lnTo>
                      <a:lnTo>
                        <a:pt x="53" y="93"/>
                      </a:lnTo>
                      <a:lnTo>
                        <a:pt x="53" y="94"/>
                      </a:lnTo>
                      <a:lnTo>
                        <a:pt x="49" y="96"/>
                      </a:lnTo>
                      <a:lnTo>
                        <a:pt x="49" y="99"/>
                      </a:lnTo>
                      <a:lnTo>
                        <a:pt x="49" y="104"/>
                      </a:lnTo>
                      <a:lnTo>
                        <a:pt x="53" y="108"/>
                      </a:lnTo>
                      <a:lnTo>
                        <a:pt x="54" y="110"/>
                      </a:lnTo>
                      <a:lnTo>
                        <a:pt x="54" y="111"/>
                      </a:lnTo>
                      <a:lnTo>
                        <a:pt x="56" y="111"/>
                      </a:lnTo>
                      <a:lnTo>
                        <a:pt x="58" y="113"/>
                      </a:lnTo>
                      <a:lnTo>
                        <a:pt x="61" y="115"/>
                      </a:lnTo>
                      <a:lnTo>
                        <a:pt x="61" y="113"/>
                      </a:lnTo>
                      <a:lnTo>
                        <a:pt x="63" y="115"/>
                      </a:lnTo>
                      <a:lnTo>
                        <a:pt x="64" y="116"/>
                      </a:lnTo>
                      <a:lnTo>
                        <a:pt x="66" y="118"/>
                      </a:lnTo>
                      <a:lnTo>
                        <a:pt x="68" y="118"/>
                      </a:lnTo>
                      <a:lnTo>
                        <a:pt x="71" y="120"/>
                      </a:lnTo>
                      <a:lnTo>
                        <a:pt x="71" y="121"/>
                      </a:lnTo>
                      <a:lnTo>
                        <a:pt x="73" y="123"/>
                      </a:lnTo>
                      <a:lnTo>
                        <a:pt x="75" y="125"/>
                      </a:lnTo>
                      <a:lnTo>
                        <a:pt x="75" y="126"/>
                      </a:lnTo>
                      <a:lnTo>
                        <a:pt x="75" y="128"/>
                      </a:lnTo>
                      <a:lnTo>
                        <a:pt x="75" y="130"/>
                      </a:lnTo>
                      <a:lnTo>
                        <a:pt x="75" y="131"/>
                      </a:lnTo>
                      <a:lnTo>
                        <a:pt x="75" y="133"/>
                      </a:lnTo>
                      <a:lnTo>
                        <a:pt x="76" y="135"/>
                      </a:lnTo>
                      <a:lnTo>
                        <a:pt x="75" y="135"/>
                      </a:lnTo>
                      <a:lnTo>
                        <a:pt x="73" y="137"/>
                      </a:lnTo>
                      <a:lnTo>
                        <a:pt x="75" y="138"/>
                      </a:lnTo>
                      <a:lnTo>
                        <a:pt x="71" y="137"/>
                      </a:lnTo>
                      <a:lnTo>
                        <a:pt x="68" y="138"/>
                      </a:lnTo>
                      <a:lnTo>
                        <a:pt x="66" y="138"/>
                      </a:lnTo>
                      <a:lnTo>
                        <a:pt x="63" y="138"/>
                      </a:lnTo>
                      <a:lnTo>
                        <a:pt x="63" y="142"/>
                      </a:lnTo>
                      <a:lnTo>
                        <a:pt x="61" y="147"/>
                      </a:lnTo>
                      <a:lnTo>
                        <a:pt x="58" y="148"/>
                      </a:lnTo>
                      <a:lnTo>
                        <a:pt x="54" y="152"/>
                      </a:lnTo>
                      <a:lnTo>
                        <a:pt x="51" y="153"/>
                      </a:lnTo>
                      <a:lnTo>
                        <a:pt x="48" y="157"/>
                      </a:lnTo>
                      <a:lnTo>
                        <a:pt x="44" y="158"/>
                      </a:lnTo>
                      <a:lnTo>
                        <a:pt x="42" y="162"/>
                      </a:lnTo>
                      <a:lnTo>
                        <a:pt x="41" y="163"/>
                      </a:lnTo>
                      <a:lnTo>
                        <a:pt x="37" y="167"/>
                      </a:lnTo>
                      <a:lnTo>
                        <a:pt x="36" y="170"/>
                      </a:lnTo>
                      <a:lnTo>
                        <a:pt x="34" y="172"/>
                      </a:lnTo>
                      <a:lnTo>
                        <a:pt x="31" y="174"/>
                      </a:lnTo>
                      <a:lnTo>
                        <a:pt x="29" y="175"/>
                      </a:lnTo>
                      <a:lnTo>
                        <a:pt x="27" y="177"/>
                      </a:lnTo>
                      <a:lnTo>
                        <a:pt x="26" y="179"/>
                      </a:lnTo>
                      <a:lnTo>
                        <a:pt x="22" y="179"/>
                      </a:lnTo>
                      <a:lnTo>
                        <a:pt x="21" y="179"/>
                      </a:lnTo>
                      <a:lnTo>
                        <a:pt x="17" y="179"/>
                      </a:lnTo>
                      <a:lnTo>
                        <a:pt x="17" y="180"/>
                      </a:lnTo>
                      <a:lnTo>
                        <a:pt x="16" y="180"/>
                      </a:lnTo>
                      <a:lnTo>
                        <a:pt x="19" y="182"/>
                      </a:lnTo>
                      <a:lnTo>
                        <a:pt x="17" y="184"/>
                      </a:lnTo>
                      <a:lnTo>
                        <a:pt x="12" y="184"/>
                      </a:lnTo>
                      <a:lnTo>
                        <a:pt x="12" y="185"/>
                      </a:lnTo>
                      <a:lnTo>
                        <a:pt x="12" y="187"/>
                      </a:lnTo>
                      <a:lnTo>
                        <a:pt x="9" y="187"/>
                      </a:lnTo>
                      <a:lnTo>
                        <a:pt x="7" y="189"/>
                      </a:lnTo>
                      <a:lnTo>
                        <a:pt x="7" y="190"/>
                      </a:lnTo>
                      <a:lnTo>
                        <a:pt x="5" y="192"/>
                      </a:lnTo>
                      <a:lnTo>
                        <a:pt x="7" y="194"/>
                      </a:lnTo>
                      <a:lnTo>
                        <a:pt x="7" y="197"/>
                      </a:lnTo>
                      <a:lnTo>
                        <a:pt x="9" y="199"/>
                      </a:lnTo>
                      <a:lnTo>
                        <a:pt x="9" y="202"/>
                      </a:lnTo>
                      <a:lnTo>
                        <a:pt x="9" y="204"/>
                      </a:lnTo>
                      <a:lnTo>
                        <a:pt x="9" y="207"/>
                      </a:lnTo>
                      <a:lnTo>
                        <a:pt x="10" y="209"/>
                      </a:lnTo>
                      <a:lnTo>
                        <a:pt x="12" y="211"/>
                      </a:lnTo>
                      <a:lnTo>
                        <a:pt x="12" y="212"/>
                      </a:lnTo>
                      <a:lnTo>
                        <a:pt x="12" y="214"/>
                      </a:lnTo>
                      <a:lnTo>
                        <a:pt x="14" y="216"/>
                      </a:lnTo>
                      <a:lnTo>
                        <a:pt x="14" y="217"/>
                      </a:lnTo>
                      <a:lnTo>
                        <a:pt x="16" y="219"/>
                      </a:lnTo>
                      <a:lnTo>
                        <a:pt x="14" y="219"/>
                      </a:lnTo>
                      <a:lnTo>
                        <a:pt x="12" y="219"/>
                      </a:lnTo>
                      <a:lnTo>
                        <a:pt x="12" y="221"/>
                      </a:lnTo>
                      <a:lnTo>
                        <a:pt x="12" y="222"/>
                      </a:lnTo>
                      <a:lnTo>
                        <a:pt x="12" y="224"/>
                      </a:lnTo>
                      <a:lnTo>
                        <a:pt x="12" y="226"/>
                      </a:lnTo>
                      <a:lnTo>
                        <a:pt x="12" y="228"/>
                      </a:lnTo>
                      <a:lnTo>
                        <a:pt x="12" y="229"/>
                      </a:lnTo>
                      <a:lnTo>
                        <a:pt x="10" y="229"/>
                      </a:lnTo>
                      <a:lnTo>
                        <a:pt x="9" y="233"/>
                      </a:lnTo>
                      <a:lnTo>
                        <a:pt x="10" y="233"/>
                      </a:lnTo>
                      <a:lnTo>
                        <a:pt x="10" y="234"/>
                      </a:lnTo>
                      <a:lnTo>
                        <a:pt x="10" y="236"/>
                      </a:lnTo>
                      <a:lnTo>
                        <a:pt x="12" y="238"/>
                      </a:lnTo>
                      <a:lnTo>
                        <a:pt x="10" y="239"/>
                      </a:lnTo>
                      <a:lnTo>
                        <a:pt x="16" y="241"/>
                      </a:lnTo>
                      <a:lnTo>
                        <a:pt x="17" y="241"/>
                      </a:lnTo>
                      <a:lnTo>
                        <a:pt x="19" y="241"/>
                      </a:lnTo>
                      <a:lnTo>
                        <a:pt x="21" y="243"/>
                      </a:lnTo>
                      <a:lnTo>
                        <a:pt x="22" y="244"/>
                      </a:lnTo>
                      <a:lnTo>
                        <a:pt x="27" y="244"/>
                      </a:lnTo>
                      <a:lnTo>
                        <a:pt x="29" y="246"/>
                      </a:lnTo>
                      <a:lnTo>
                        <a:pt x="27" y="248"/>
                      </a:lnTo>
                      <a:lnTo>
                        <a:pt x="29" y="248"/>
                      </a:lnTo>
                      <a:lnTo>
                        <a:pt x="31" y="249"/>
                      </a:lnTo>
                      <a:lnTo>
                        <a:pt x="34" y="248"/>
                      </a:lnTo>
                      <a:lnTo>
                        <a:pt x="34" y="251"/>
                      </a:lnTo>
                      <a:lnTo>
                        <a:pt x="36" y="253"/>
                      </a:lnTo>
                      <a:lnTo>
                        <a:pt x="37" y="255"/>
                      </a:lnTo>
                      <a:lnTo>
                        <a:pt x="37" y="256"/>
                      </a:lnTo>
                      <a:lnTo>
                        <a:pt x="39" y="256"/>
                      </a:lnTo>
                      <a:lnTo>
                        <a:pt x="37" y="258"/>
                      </a:lnTo>
                      <a:lnTo>
                        <a:pt x="36" y="260"/>
                      </a:lnTo>
                      <a:lnTo>
                        <a:pt x="37" y="260"/>
                      </a:lnTo>
                      <a:lnTo>
                        <a:pt x="39" y="258"/>
                      </a:lnTo>
                      <a:lnTo>
                        <a:pt x="41" y="256"/>
                      </a:lnTo>
                      <a:lnTo>
                        <a:pt x="42" y="253"/>
                      </a:lnTo>
                      <a:lnTo>
                        <a:pt x="44" y="255"/>
                      </a:lnTo>
                      <a:lnTo>
                        <a:pt x="44" y="256"/>
                      </a:lnTo>
                      <a:lnTo>
                        <a:pt x="48" y="256"/>
                      </a:lnTo>
                      <a:lnTo>
                        <a:pt x="51" y="255"/>
                      </a:lnTo>
                      <a:lnTo>
                        <a:pt x="54" y="255"/>
                      </a:lnTo>
                      <a:lnTo>
                        <a:pt x="56" y="253"/>
                      </a:lnTo>
                      <a:lnTo>
                        <a:pt x="58" y="255"/>
                      </a:lnTo>
                      <a:lnTo>
                        <a:pt x="59" y="253"/>
                      </a:lnTo>
                      <a:lnTo>
                        <a:pt x="61" y="251"/>
                      </a:lnTo>
                      <a:lnTo>
                        <a:pt x="63" y="251"/>
                      </a:lnTo>
                      <a:lnTo>
                        <a:pt x="64" y="251"/>
                      </a:lnTo>
                      <a:lnTo>
                        <a:pt x="68" y="251"/>
                      </a:lnTo>
                      <a:lnTo>
                        <a:pt x="69" y="249"/>
                      </a:lnTo>
                      <a:lnTo>
                        <a:pt x="71" y="249"/>
                      </a:lnTo>
                      <a:lnTo>
                        <a:pt x="75" y="249"/>
                      </a:lnTo>
                      <a:lnTo>
                        <a:pt x="75" y="248"/>
                      </a:lnTo>
                      <a:lnTo>
                        <a:pt x="76" y="246"/>
                      </a:lnTo>
                      <a:lnTo>
                        <a:pt x="78" y="248"/>
                      </a:lnTo>
                      <a:lnTo>
                        <a:pt x="80" y="248"/>
                      </a:lnTo>
                      <a:lnTo>
                        <a:pt x="81" y="248"/>
                      </a:lnTo>
                      <a:lnTo>
                        <a:pt x="83" y="246"/>
                      </a:lnTo>
                      <a:lnTo>
                        <a:pt x="81" y="244"/>
                      </a:lnTo>
                      <a:lnTo>
                        <a:pt x="83" y="244"/>
                      </a:lnTo>
                      <a:lnTo>
                        <a:pt x="85" y="246"/>
                      </a:lnTo>
                      <a:lnTo>
                        <a:pt x="86" y="246"/>
                      </a:lnTo>
                      <a:lnTo>
                        <a:pt x="88" y="244"/>
                      </a:lnTo>
                      <a:lnTo>
                        <a:pt x="91" y="244"/>
                      </a:lnTo>
                      <a:lnTo>
                        <a:pt x="93" y="244"/>
                      </a:lnTo>
                      <a:lnTo>
                        <a:pt x="96" y="243"/>
                      </a:lnTo>
                      <a:lnTo>
                        <a:pt x="100" y="243"/>
                      </a:lnTo>
                      <a:lnTo>
                        <a:pt x="103" y="243"/>
                      </a:lnTo>
                      <a:lnTo>
                        <a:pt x="105" y="243"/>
                      </a:lnTo>
                      <a:lnTo>
                        <a:pt x="108" y="243"/>
                      </a:lnTo>
                      <a:lnTo>
                        <a:pt x="110" y="241"/>
                      </a:lnTo>
                      <a:lnTo>
                        <a:pt x="110" y="243"/>
                      </a:lnTo>
                      <a:lnTo>
                        <a:pt x="115" y="239"/>
                      </a:lnTo>
                      <a:close/>
                    </a:path>
                  </a:pathLst>
                </a:custGeom>
                <a:solidFill>
                  <a:srgbClr val="EB1562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49" name="Group 1948">
                <a:extLst>
                  <a:ext uri="{FF2B5EF4-FFF2-40B4-BE49-F238E27FC236}">
                    <a16:creationId xmlns:a16="http://schemas.microsoft.com/office/drawing/2014/main" id="{46663A5D-897C-CE42-B67B-4BB9D42C530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67" y="276"/>
                <a:ext cx="7" cy="9"/>
                <a:chOff x="467" y="276"/>
                <a:chExt cx="7" cy="9"/>
              </a:xfrm>
            </p:grpSpPr>
            <p:sp>
              <p:nvSpPr>
                <p:cNvPr id="1956" name="Freeform 330">
                  <a:extLst>
                    <a:ext uri="{FF2B5EF4-FFF2-40B4-BE49-F238E27FC236}">
                      <a16:creationId xmlns:a16="http://schemas.microsoft.com/office/drawing/2014/main" id="{47E116AB-A1FB-7A48-B856-CFA398D680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7" y="276"/>
                  <a:ext cx="7" cy="9"/>
                </a:xfrm>
                <a:custGeom>
                  <a:avLst/>
                  <a:gdLst>
                    <a:gd name="T0" fmla="*/ 5 w 7"/>
                    <a:gd name="T1" fmla="*/ 2 h 9"/>
                    <a:gd name="T2" fmla="*/ 7 w 7"/>
                    <a:gd name="T3" fmla="*/ 2 h 9"/>
                    <a:gd name="T4" fmla="*/ 7 w 7"/>
                    <a:gd name="T5" fmla="*/ 3 h 9"/>
                    <a:gd name="T6" fmla="*/ 5 w 7"/>
                    <a:gd name="T7" fmla="*/ 5 h 9"/>
                    <a:gd name="T8" fmla="*/ 4 w 7"/>
                    <a:gd name="T9" fmla="*/ 5 h 9"/>
                    <a:gd name="T10" fmla="*/ 5 w 7"/>
                    <a:gd name="T11" fmla="*/ 7 h 9"/>
                    <a:gd name="T12" fmla="*/ 7 w 7"/>
                    <a:gd name="T13" fmla="*/ 7 h 9"/>
                    <a:gd name="T14" fmla="*/ 5 w 7"/>
                    <a:gd name="T15" fmla="*/ 9 h 9"/>
                    <a:gd name="T16" fmla="*/ 4 w 7"/>
                    <a:gd name="T17" fmla="*/ 7 h 9"/>
                    <a:gd name="T18" fmla="*/ 2 w 7"/>
                    <a:gd name="T19" fmla="*/ 7 h 9"/>
                    <a:gd name="T20" fmla="*/ 0 w 7"/>
                    <a:gd name="T21" fmla="*/ 7 h 9"/>
                    <a:gd name="T22" fmla="*/ 0 w 7"/>
                    <a:gd name="T23" fmla="*/ 5 h 9"/>
                    <a:gd name="T24" fmla="*/ 0 w 7"/>
                    <a:gd name="T25" fmla="*/ 3 h 9"/>
                    <a:gd name="T26" fmla="*/ 2 w 7"/>
                    <a:gd name="T27" fmla="*/ 3 h 9"/>
                    <a:gd name="T28" fmla="*/ 2 w 7"/>
                    <a:gd name="T29" fmla="*/ 2 h 9"/>
                    <a:gd name="T30" fmla="*/ 0 w 7"/>
                    <a:gd name="T31" fmla="*/ 0 h 9"/>
                    <a:gd name="T32" fmla="*/ 2 w 7"/>
                    <a:gd name="T33" fmla="*/ 0 h 9"/>
                    <a:gd name="T34" fmla="*/ 4 w 7"/>
                    <a:gd name="T35" fmla="*/ 0 h 9"/>
                    <a:gd name="T36" fmla="*/ 5 w 7"/>
                    <a:gd name="T37" fmla="*/ 0 h 9"/>
                    <a:gd name="T38" fmla="*/ 5 w 7"/>
                    <a:gd name="T39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" h="9">
                      <a:moveTo>
                        <a:pt x="5" y="2"/>
                      </a:moveTo>
                      <a:lnTo>
                        <a:pt x="7" y="2"/>
                      </a:lnTo>
                      <a:lnTo>
                        <a:pt x="7" y="3"/>
                      </a:lnTo>
                      <a:lnTo>
                        <a:pt x="5" y="5"/>
                      </a:lnTo>
                      <a:lnTo>
                        <a:pt x="4" y="5"/>
                      </a:lnTo>
                      <a:lnTo>
                        <a:pt x="5" y="7"/>
                      </a:lnTo>
                      <a:lnTo>
                        <a:pt x="7" y="7"/>
                      </a:lnTo>
                      <a:lnTo>
                        <a:pt x="5" y="9"/>
                      </a:lnTo>
                      <a:lnTo>
                        <a:pt x="4" y="7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57" name="Freeform 331">
                  <a:extLst>
                    <a:ext uri="{FF2B5EF4-FFF2-40B4-BE49-F238E27FC236}">
                      <a16:creationId xmlns:a16="http://schemas.microsoft.com/office/drawing/2014/main" id="{016CF1F1-E0CB-5145-903C-D0A7F0E535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7" y="276"/>
                  <a:ext cx="7" cy="9"/>
                </a:xfrm>
                <a:custGeom>
                  <a:avLst/>
                  <a:gdLst>
                    <a:gd name="T0" fmla="*/ 5 w 7"/>
                    <a:gd name="T1" fmla="*/ 2 h 9"/>
                    <a:gd name="T2" fmla="*/ 7 w 7"/>
                    <a:gd name="T3" fmla="*/ 2 h 9"/>
                    <a:gd name="T4" fmla="*/ 7 w 7"/>
                    <a:gd name="T5" fmla="*/ 3 h 9"/>
                    <a:gd name="T6" fmla="*/ 5 w 7"/>
                    <a:gd name="T7" fmla="*/ 5 h 9"/>
                    <a:gd name="T8" fmla="*/ 4 w 7"/>
                    <a:gd name="T9" fmla="*/ 5 h 9"/>
                    <a:gd name="T10" fmla="*/ 5 w 7"/>
                    <a:gd name="T11" fmla="*/ 7 h 9"/>
                    <a:gd name="T12" fmla="*/ 7 w 7"/>
                    <a:gd name="T13" fmla="*/ 7 h 9"/>
                    <a:gd name="T14" fmla="*/ 5 w 7"/>
                    <a:gd name="T15" fmla="*/ 9 h 9"/>
                    <a:gd name="T16" fmla="*/ 4 w 7"/>
                    <a:gd name="T17" fmla="*/ 7 h 9"/>
                    <a:gd name="T18" fmla="*/ 2 w 7"/>
                    <a:gd name="T19" fmla="*/ 7 h 9"/>
                    <a:gd name="T20" fmla="*/ 0 w 7"/>
                    <a:gd name="T21" fmla="*/ 7 h 9"/>
                    <a:gd name="T22" fmla="*/ 0 w 7"/>
                    <a:gd name="T23" fmla="*/ 5 h 9"/>
                    <a:gd name="T24" fmla="*/ 0 w 7"/>
                    <a:gd name="T25" fmla="*/ 3 h 9"/>
                    <a:gd name="T26" fmla="*/ 2 w 7"/>
                    <a:gd name="T27" fmla="*/ 3 h 9"/>
                    <a:gd name="T28" fmla="*/ 2 w 7"/>
                    <a:gd name="T29" fmla="*/ 2 h 9"/>
                    <a:gd name="T30" fmla="*/ 0 w 7"/>
                    <a:gd name="T31" fmla="*/ 0 h 9"/>
                    <a:gd name="T32" fmla="*/ 2 w 7"/>
                    <a:gd name="T33" fmla="*/ 0 h 9"/>
                    <a:gd name="T34" fmla="*/ 4 w 7"/>
                    <a:gd name="T35" fmla="*/ 0 h 9"/>
                    <a:gd name="T36" fmla="*/ 5 w 7"/>
                    <a:gd name="T37" fmla="*/ 0 h 9"/>
                    <a:gd name="T38" fmla="*/ 5 w 7"/>
                    <a:gd name="T39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" h="9">
                      <a:moveTo>
                        <a:pt x="5" y="2"/>
                      </a:moveTo>
                      <a:lnTo>
                        <a:pt x="7" y="2"/>
                      </a:lnTo>
                      <a:lnTo>
                        <a:pt x="7" y="3"/>
                      </a:lnTo>
                      <a:lnTo>
                        <a:pt x="5" y="5"/>
                      </a:lnTo>
                      <a:lnTo>
                        <a:pt x="4" y="5"/>
                      </a:lnTo>
                      <a:lnTo>
                        <a:pt x="5" y="7"/>
                      </a:lnTo>
                      <a:lnTo>
                        <a:pt x="7" y="7"/>
                      </a:lnTo>
                      <a:lnTo>
                        <a:pt x="5" y="9"/>
                      </a:lnTo>
                      <a:lnTo>
                        <a:pt x="4" y="7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50" name="Group 1949">
                <a:extLst>
                  <a:ext uri="{FF2B5EF4-FFF2-40B4-BE49-F238E27FC236}">
                    <a16:creationId xmlns:a16="http://schemas.microsoft.com/office/drawing/2014/main" id="{CE7B914B-2E91-9948-BDF1-10650D8097C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8" y="279"/>
                <a:ext cx="3" cy="4"/>
                <a:chOff x="498" y="279"/>
                <a:chExt cx="3" cy="4"/>
              </a:xfrm>
            </p:grpSpPr>
            <p:sp>
              <p:nvSpPr>
                <p:cNvPr id="1954" name="Freeform 328">
                  <a:extLst>
                    <a:ext uri="{FF2B5EF4-FFF2-40B4-BE49-F238E27FC236}">
                      <a16:creationId xmlns:a16="http://schemas.microsoft.com/office/drawing/2014/main" id="{B7C6CAFD-FB5E-CD45-96E3-F55123C583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8" y="279"/>
                  <a:ext cx="3" cy="4"/>
                </a:xfrm>
                <a:custGeom>
                  <a:avLst/>
                  <a:gdLst>
                    <a:gd name="T0" fmla="*/ 3 w 3"/>
                    <a:gd name="T1" fmla="*/ 4 h 4"/>
                    <a:gd name="T2" fmla="*/ 1 w 3"/>
                    <a:gd name="T3" fmla="*/ 4 h 4"/>
                    <a:gd name="T4" fmla="*/ 0 w 3"/>
                    <a:gd name="T5" fmla="*/ 2 h 4"/>
                    <a:gd name="T6" fmla="*/ 0 w 3"/>
                    <a:gd name="T7" fmla="*/ 0 h 4"/>
                    <a:gd name="T8" fmla="*/ 1 w 3"/>
                    <a:gd name="T9" fmla="*/ 0 h 4"/>
                    <a:gd name="T10" fmla="*/ 3 w 3"/>
                    <a:gd name="T11" fmla="*/ 2 h 4"/>
                    <a:gd name="T12" fmla="*/ 3 w 3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2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55" name="Freeform 329">
                  <a:extLst>
                    <a:ext uri="{FF2B5EF4-FFF2-40B4-BE49-F238E27FC236}">
                      <a16:creationId xmlns:a16="http://schemas.microsoft.com/office/drawing/2014/main" id="{E95772C9-9E87-D54A-8B86-BE34ED6046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8" y="279"/>
                  <a:ext cx="3" cy="4"/>
                </a:xfrm>
                <a:custGeom>
                  <a:avLst/>
                  <a:gdLst>
                    <a:gd name="T0" fmla="*/ 3 w 3"/>
                    <a:gd name="T1" fmla="*/ 4 h 4"/>
                    <a:gd name="T2" fmla="*/ 1 w 3"/>
                    <a:gd name="T3" fmla="*/ 4 h 4"/>
                    <a:gd name="T4" fmla="*/ 0 w 3"/>
                    <a:gd name="T5" fmla="*/ 2 h 4"/>
                    <a:gd name="T6" fmla="*/ 0 w 3"/>
                    <a:gd name="T7" fmla="*/ 0 h 4"/>
                    <a:gd name="T8" fmla="*/ 1 w 3"/>
                    <a:gd name="T9" fmla="*/ 0 h 4"/>
                    <a:gd name="T10" fmla="*/ 3 w 3"/>
                    <a:gd name="T11" fmla="*/ 2 h 4"/>
                    <a:gd name="T12" fmla="*/ 3 w 3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2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51" name="Group 1950">
                <a:extLst>
                  <a:ext uri="{FF2B5EF4-FFF2-40B4-BE49-F238E27FC236}">
                    <a16:creationId xmlns:a16="http://schemas.microsoft.com/office/drawing/2014/main" id="{4472CC46-44D3-F54A-9E1B-4ED84AAD76A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8" y="279"/>
                <a:ext cx="8" cy="6"/>
                <a:chOff x="508" y="279"/>
                <a:chExt cx="8" cy="6"/>
              </a:xfrm>
            </p:grpSpPr>
            <p:sp>
              <p:nvSpPr>
                <p:cNvPr id="1952" name="Freeform 326">
                  <a:extLst>
                    <a:ext uri="{FF2B5EF4-FFF2-40B4-BE49-F238E27FC236}">
                      <a16:creationId xmlns:a16="http://schemas.microsoft.com/office/drawing/2014/main" id="{572FE909-6AD1-F24B-A122-8796879CC9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" y="279"/>
                  <a:ext cx="8" cy="6"/>
                </a:xfrm>
                <a:custGeom>
                  <a:avLst/>
                  <a:gdLst>
                    <a:gd name="T0" fmla="*/ 5 w 8"/>
                    <a:gd name="T1" fmla="*/ 6 h 6"/>
                    <a:gd name="T2" fmla="*/ 3 w 8"/>
                    <a:gd name="T3" fmla="*/ 6 h 6"/>
                    <a:gd name="T4" fmla="*/ 1 w 8"/>
                    <a:gd name="T5" fmla="*/ 6 h 6"/>
                    <a:gd name="T6" fmla="*/ 0 w 8"/>
                    <a:gd name="T7" fmla="*/ 6 h 6"/>
                    <a:gd name="T8" fmla="*/ 1 w 8"/>
                    <a:gd name="T9" fmla="*/ 4 h 6"/>
                    <a:gd name="T10" fmla="*/ 3 w 8"/>
                    <a:gd name="T11" fmla="*/ 4 h 6"/>
                    <a:gd name="T12" fmla="*/ 3 w 8"/>
                    <a:gd name="T13" fmla="*/ 2 h 6"/>
                    <a:gd name="T14" fmla="*/ 5 w 8"/>
                    <a:gd name="T15" fmla="*/ 0 h 6"/>
                    <a:gd name="T16" fmla="*/ 6 w 8"/>
                    <a:gd name="T17" fmla="*/ 0 h 6"/>
                    <a:gd name="T18" fmla="*/ 8 w 8"/>
                    <a:gd name="T19" fmla="*/ 0 h 6"/>
                    <a:gd name="T20" fmla="*/ 6 w 8"/>
                    <a:gd name="T21" fmla="*/ 0 h 6"/>
                    <a:gd name="T22" fmla="*/ 6 w 8"/>
                    <a:gd name="T23" fmla="*/ 2 h 6"/>
                    <a:gd name="T24" fmla="*/ 6 w 8"/>
                    <a:gd name="T25" fmla="*/ 6 h 6"/>
                    <a:gd name="T26" fmla="*/ 5 w 8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" h="6">
                      <a:moveTo>
                        <a:pt x="5" y="6"/>
                      </a:moveTo>
                      <a:lnTo>
                        <a:pt x="3" y="6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6" y="2"/>
                      </a:lnTo>
                      <a:lnTo>
                        <a:pt x="6" y="6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53" name="Freeform 327">
                  <a:extLst>
                    <a:ext uri="{FF2B5EF4-FFF2-40B4-BE49-F238E27FC236}">
                      <a16:creationId xmlns:a16="http://schemas.microsoft.com/office/drawing/2014/main" id="{3E198636-C544-A747-A4A1-33D625A886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" y="279"/>
                  <a:ext cx="8" cy="6"/>
                </a:xfrm>
                <a:custGeom>
                  <a:avLst/>
                  <a:gdLst>
                    <a:gd name="T0" fmla="*/ 5 w 8"/>
                    <a:gd name="T1" fmla="*/ 6 h 6"/>
                    <a:gd name="T2" fmla="*/ 3 w 8"/>
                    <a:gd name="T3" fmla="*/ 6 h 6"/>
                    <a:gd name="T4" fmla="*/ 1 w 8"/>
                    <a:gd name="T5" fmla="*/ 6 h 6"/>
                    <a:gd name="T6" fmla="*/ 0 w 8"/>
                    <a:gd name="T7" fmla="*/ 6 h 6"/>
                    <a:gd name="T8" fmla="*/ 1 w 8"/>
                    <a:gd name="T9" fmla="*/ 4 h 6"/>
                    <a:gd name="T10" fmla="*/ 3 w 8"/>
                    <a:gd name="T11" fmla="*/ 4 h 6"/>
                    <a:gd name="T12" fmla="*/ 3 w 8"/>
                    <a:gd name="T13" fmla="*/ 2 h 6"/>
                    <a:gd name="T14" fmla="*/ 5 w 8"/>
                    <a:gd name="T15" fmla="*/ 0 h 6"/>
                    <a:gd name="T16" fmla="*/ 6 w 8"/>
                    <a:gd name="T17" fmla="*/ 0 h 6"/>
                    <a:gd name="T18" fmla="*/ 8 w 8"/>
                    <a:gd name="T19" fmla="*/ 0 h 6"/>
                    <a:gd name="T20" fmla="*/ 6 w 8"/>
                    <a:gd name="T21" fmla="*/ 0 h 6"/>
                    <a:gd name="T22" fmla="*/ 6 w 8"/>
                    <a:gd name="T23" fmla="*/ 2 h 6"/>
                    <a:gd name="T24" fmla="*/ 6 w 8"/>
                    <a:gd name="T25" fmla="*/ 6 h 6"/>
                    <a:gd name="T26" fmla="*/ 5 w 8"/>
                    <a:gd name="T2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" h="6">
                      <a:moveTo>
                        <a:pt x="5" y="6"/>
                      </a:moveTo>
                      <a:lnTo>
                        <a:pt x="3" y="6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6" y="2"/>
                      </a:lnTo>
                      <a:lnTo>
                        <a:pt x="6" y="6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648" name="Group 1647">
              <a:extLst>
                <a:ext uri="{FF2B5EF4-FFF2-40B4-BE49-F238E27FC236}">
                  <a16:creationId xmlns:a16="http://schemas.microsoft.com/office/drawing/2014/main" id="{7705CC60-6FD6-7949-A719-57EC1D033CC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8" y="480"/>
              <a:ext cx="222" cy="191"/>
              <a:chOff x="88" y="480"/>
              <a:chExt cx="222" cy="191"/>
            </a:xfrm>
          </p:grpSpPr>
          <p:grpSp>
            <p:nvGrpSpPr>
              <p:cNvPr id="1942" name="Group 1941">
                <a:extLst>
                  <a:ext uri="{FF2B5EF4-FFF2-40B4-BE49-F238E27FC236}">
                    <a16:creationId xmlns:a16="http://schemas.microsoft.com/office/drawing/2014/main" id="{8C5CBE44-0B80-834A-8CD6-81DD9151D44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88" y="480"/>
                <a:ext cx="199" cy="172"/>
                <a:chOff x="88" y="480"/>
                <a:chExt cx="199" cy="172"/>
              </a:xfrm>
            </p:grpSpPr>
            <p:sp>
              <p:nvSpPr>
                <p:cNvPr id="1946" name="Freeform 320">
                  <a:extLst>
                    <a:ext uri="{FF2B5EF4-FFF2-40B4-BE49-F238E27FC236}">
                      <a16:creationId xmlns:a16="http://schemas.microsoft.com/office/drawing/2014/main" id="{2DFC0B1F-94B4-8D4E-8E53-6D4ABBB60E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" y="480"/>
                  <a:ext cx="199" cy="172"/>
                </a:xfrm>
                <a:custGeom>
                  <a:avLst/>
                  <a:gdLst>
                    <a:gd name="T0" fmla="*/ 189 w 199"/>
                    <a:gd name="T1" fmla="*/ 138 h 172"/>
                    <a:gd name="T2" fmla="*/ 180 w 199"/>
                    <a:gd name="T3" fmla="*/ 130 h 172"/>
                    <a:gd name="T4" fmla="*/ 177 w 199"/>
                    <a:gd name="T5" fmla="*/ 121 h 172"/>
                    <a:gd name="T6" fmla="*/ 182 w 199"/>
                    <a:gd name="T7" fmla="*/ 115 h 172"/>
                    <a:gd name="T8" fmla="*/ 179 w 199"/>
                    <a:gd name="T9" fmla="*/ 105 h 172"/>
                    <a:gd name="T10" fmla="*/ 179 w 199"/>
                    <a:gd name="T11" fmla="*/ 101 h 172"/>
                    <a:gd name="T12" fmla="*/ 175 w 199"/>
                    <a:gd name="T13" fmla="*/ 94 h 172"/>
                    <a:gd name="T14" fmla="*/ 167 w 199"/>
                    <a:gd name="T15" fmla="*/ 96 h 172"/>
                    <a:gd name="T16" fmla="*/ 170 w 199"/>
                    <a:gd name="T17" fmla="*/ 88 h 172"/>
                    <a:gd name="T18" fmla="*/ 177 w 199"/>
                    <a:gd name="T19" fmla="*/ 81 h 172"/>
                    <a:gd name="T20" fmla="*/ 182 w 199"/>
                    <a:gd name="T21" fmla="*/ 73 h 172"/>
                    <a:gd name="T22" fmla="*/ 189 w 199"/>
                    <a:gd name="T23" fmla="*/ 68 h 172"/>
                    <a:gd name="T24" fmla="*/ 192 w 199"/>
                    <a:gd name="T25" fmla="*/ 52 h 172"/>
                    <a:gd name="T26" fmla="*/ 190 w 199"/>
                    <a:gd name="T27" fmla="*/ 41 h 172"/>
                    <a:gd name="T28" fmla="*/ 175 w 199"/>
                    <a:gd name="T29" fmla="*/ 37 h 172"/>
                    <a:gd name="T30" fmla="*/ 167 w 199"/>
                    <a:gd name="T31" fmla="*/ 32 h 172"/>
                    <a:gd name="T32" fmla="*/ 152 w 199"/>
                    <a:gd name="T33" fmla="*/ 29 h 172"/>
                    <a:gd name="T34" fmla="*/ 148 w 199"/>
                    <a:gd name="T35" fmla="*/ 20 h 172"/>
                    <a:gd name="T36" fmla="*/ 140 w 199"/>
                    <a:gd name="T37" fmla="*/ 19 h 172"/>
                    <a:gd name="T38" fmla="*/ 130 w 199"/>
                    <a:gd name="T39" fmla="*/ 14 h 172"/>
                    <a:gd name="T40" fmla="*/ 118 w 199"/>
                    <a:gd name="T41" fmla="*/ 7 h 172"/>
                    <a:gd name="T42" fmla="*/ 113 w 199"/>
                    <a:gd name="T43" fmla="*/ 2 h 172"/>
                    <a:gd name="T44" fmla="*/ 99 w 199"/>
                    <a:gd name="T45" fmla="*/ 14 h 172"/>
                    <a:gd name="T46" fmla="*/ 87 w 199"/>
                    <a:gd name="T47" fmla="*/ 25 h 172"/>
                    <a:gd name="T48" fmla="*/ 81 w 199"/>
                    <a:gd name="T49" fmla="*/ 34 h 172"/>
                    <a:gd name="T50" fmla="*/ 74 w 199"/>
                    <a:gd name="T51" fmla="*/ 37 h 172"/>
                    <a:gd name="T52" fmla="*/ 59 w 199"/>
                    <a:gd name="T53" fmla="*/ 35 h 172"/>
                    <a:gd name="T54" fmla="*/ 52 w 199"/>
                    <a:gd name="T55" fmla="*/ 30 h 172"/>
                    <a:gd name="T56" fmla="*/ 47 w 199"/>
                    <a:gd name="T57" fmla="*/ 37 h 172"/>
                    <a:gd name="T58" fmla="*/ 50 w 199"/>
                    <a:gd name="T59" fmla="*/ 49 h 172"/>
                    <a:gd name="T60" fmla="*/ 44 w 199"/>
                    <a:gd name="T61" fmla="*/ 51 h 172"/>
                    <a:gd name="T62" fmla="*/ 34 w 199"/>
                    <a:gd name="T63" fmla="*/ 52 h 172"/>
                    <a:gd name="T64" fmla="*/ 22 w 199"/>
                    <a:gd name="T65" fmla="*/ 47 h 172"/>
                    <a:gd name="T66" fmla="*/ 13 w 199"/>
                    <a:gd name="T67" fmla="*/ 51 h 172"/>
                    <a:gd name="T68" fmla="*/ 0 w 199"/>
                    <a:gd name="T69" fmla="*/ 56 h 172"/>
                    <a:gd name="T70" fmla="*/ 5 w 199"/>
                    <a:gd name="T71" fmla="*/ 57 h 172"/>
                    <a:gd name="T72" fmla="*/ 1 w 199"/>
                    <a:gd name="T73" fmla="*/ 62 h 172"/>
                    <a:gd name="T74" fmla="*/ 13 w 199"/>
                    <a:gd name="T75" fmla="*/ 66 h 172"/>
                    <a:gd name="T76" fmla="*/ 25 w 199"/>
                    <a:gd name="T77" fmla="*/ 71 h 172"/>
                    <a:gd name="T78" fmla="*/ 30 w 199"/>
                    <a:gd name="T79" fmla="*/ 73 h 172"/>
                    <a:gd name="T80" fmla="*/ 40 w 199"/>
                    <a:gd name="T81" fmla="*/ 78 h 172"/>
                    <a:gd name="T82" fmla="*/ 42 w 199"/>
                    <a:gd name="T83" fmla="*/ 81 h 172"/>
                    <a:gd name="T84" fmla="*/ 50 w 199"/>
                    <a:gd name="T85" fmla="*/ 94 h 172"/>
                    <a:gd name="T86" fmla="*/ 59 w 199"/>
                    <a:gd name="T87" fmla="*/ 105 h 172"/>
                    <a:gd name="T88" fmla="*/ 64 w 199"/>
                    <a:gd name="T89" fmla="*/ 118 h 172"/>
                    <a:gd name="T90" fmla="*/ 59 w 199"/>
                    <a:gd name="T91" fmla="*/ 118 h 172"/>
                    <a:gd name="T92" fmla="*/ 57 w 199"/>
                    <a:gd name="T93" fmla="*/ 135 h 172"/>
                    <a:gd name="T94" fmla="*/ 49 w 199"/>
                    <a:gd name="T95" fmla="*/ 153 h 172"/>
                    <a:gd name="T96" fmla="*/ 54 w 199"/>
                    <a:gd name="T97" fmla="*/ 159 h 172"/>
                    <a:gd name="T98" fmla="*/ 67 w 199"/>
                    <a:gd name="T99" fmla="*/ 165 h 172"/>
                    <a:gd name="T100" fmla="*/ 86 w 199"/>
                    <a:gd name="T101" fmla="*/ 165 h 172"/>
                    <a:gd name="T102" fmla="*/ 96 w 199"/>
                    <a:gd name="T103" fmla="*/ 169 h 172"/>
                    <a:gd name="T104" fmla="*/ 109 w 199"/>
                    <a:gd name="T105" fmla="*/ 172 h 172"/>
                    <a:gd name="T106" fmla="*/ 123 w 199"/>
                    <a:gd name="T107" fmla="*/ 165 h 172"/>
                    <a:gd name="T108" fmla="*/ 130 w 199"/>
                    <a:gd name="T109" fmla="*/ 155 h 172"/>
                    <a:gd name="T110" fmla="*/ 138 w 199"/>
                    <a:gd name="T111" fmla="*/ 150 h 172"/>
                    <a:gd name="T112" fmla="*/ 145 w 199"/>
                    <a:gd name="T113" fmla="*/ 153 h 172"/>
                    <a:gd name="T114" fmla="*/ 152 w 199"/>
                    <a:gd name="T115" fmla="*/ 152 h 172"/>
                    <a:gd name="T116" fmla="*/ 162 w 199"/>
                    <a:gd name="T117" fmla="*/ 157 h 172"/>
                    <a:gd name="T118" fmla="*/ 168 w 199"/>
                    <a:gd name="T119" fmla="*/ 159 h 172"/>
                    <a:gd name="T120" fmla="*/ 177 w 199"/>
                    <a:gd name="T121" fmla="*/ 155 h 172"/>
                    <a:gd name="T122" fmla="*/ 184 w 199"/>
                    <a:gd name="T123" fmla="*/ 150 h 172"/>
                    <a:gd name="T124" fmla="*/ 190 w 199"/>
                    <a:gd name="T125" fmla="*/ 145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99" h="172">
                      <a:moveTo>
                        <a:pt x="190" y="143"/>
                      </a:moveTo>
                      <a:lnTo>
                        <a:pt x="190" y="142"/>
                      </a:lnTo>
                      <a:lnTo>
                        <a:pt x="190" y="140"/>
                      </a:lnTo>
                      <a:lnTo>
                        <a:pt x="190" y="138"/>
                      </a:lnTo>
                      <a:lnTo>
                        <a:pt x="189" y="138"/>
                      </a:lnTo>
                      <a:lnTo>
                        <a:pt x="185" y="138"/>
                      </a:lnTo>
                      <a:lnTo>
                        <a:pt x="184" y="137"/>
                      </a:lnTo>
                      <a:lnTo>
                        <a:pt x="182" y="135"/>
                      </a:lnTo>
                      <a:lnTo>
                        <a:pt x="180" y="132"/>
                      </a:lnTo>
                      <a:lnTo>
                        <a:pt x="180" y="130"/>
                      </a:lnTo>
                      <a:lnTo>
                        <a:pt x="180" y="127"/>
                      </a:lnTo>
                      <a:lnTo>
                        <a:pt x="180" y="125"/>
                      </a:lnTo>
                      <a:lnTo>
                        <a:pt x="179" y="125"/>
                      </a:lnTo>
                      <a:lnTo>
                        <a:pt x="179" y="123"/>
                      </a:lnTo>
                      <a:lnTo>
                        <a:pt x="177" y="121"/>
                      </a:lnTo>
                      <a:lnTo>
                        <a:pt x="179" y="120"/>
                      </a:lnTo>
                      <a:lnTo>
                        <a:pt x="180" y="118"/>
                      </a:lnTo>
                      <a:lnTo>
                        <a:pt x="182" y="118"/>
                      </a:lnTo>
                      <a:lnTo>
                        <a:pt x="184" y="116"/>
                      </a:lnTo>
                      <a:lnTo>
                        <a:pt x="182" y="115"/>
                      </a:lnTo>
                      <a:lnTo>
                        <a:pt x="180" y="113"/>
                      </a:lnTo>
                      <a:lnTo>
                        <a:pt x="180" y="110"/>
                      </a:lnTo>
                      <a:lnTo>
                        <a:pt x="179" y="108"/>
                      </a:lnTo>
                      <a:lnTo>
                        <a:pt x="179" y="106"/>
                      </a:lnTo>
                      <a:lnTo>
                        <a:pt x="179" y="105"/>
                      </a:lnTo>
                      <a:lnTo>
                        <a:pt x="180" y="105"/>
                      </a:lnTo>
                      <a:lnTo>
                        <a:pt x="182" y="105"/>
                      </a:lnTo>
                      <a:lnTo>
                        <a:pt x="182" y="103"/>
                      </a:lnTo>
                      <a:lnTo>
                        <a:pt x="180" y="103"/>
                      </a:lnTo>
                      <a:lnTo>
                        <a:pt x="179" y="101"/>
                      </a:lnTo>
                      <a:lnTo>
                        <a:pt x="179" y="100"/>
                      </a:lnTo>
                      <a:lnTo>
                        <a:pt x="179" y="96"/>
                      </a:lnTo>
                      <a:lnTo>
                        <a:pt x="179" y="94"/>
                      </a:lnTo>
                      <a:lnTo>
                        <a:pt x="177" y="94"/>
                      </a:lnTo>
                      <a:lnTo>
                        <a:pt x="175" y="94"/>
                      </a:lnTo>
                      <a:lnTo>
                        <a:pt x="172" y="94"/>
                      </a:lnTo>
                      <a:lnTo>
                        <a:pt x="170" y="96"/>
                      </a:lnTo>
                      <a:lnTo>
                        <a:pt x="168" y="100"/>
                      </a:lnTo>
                      <a:lnTo>
                        <a:pt x="167" y="100"/>
                      </a:lnTo>
                      <a:lnTo>
                        <a:pt x="167" y="96"/>
                      </a:lnTo>
                      <a:lnTo>
                        <a:pt x="167" y="94"/>
                      </a:lnTo>
                      <a:lnTo>
                        <a:pt x="167" y="93"/>
                      </a:lnTo>
                      <a:lnTo>
                        <a:pt x="168" y="91"/>
                      </a:lnTo>
                      <a:lnTo>
                        <a:pt x="168" y="89"/>
                      </a:lnTo>
                      <a:lnTo>
                        <a:pt x="170" y="88"/>
                      </a:lnTo>
                      <a:lnTo>
                        <a:pt x="172" y="88"/>
                      </a:lnTo>
                      <a:lnTo>
                        <a:pt x="172" y="86"/>
                      </a:lnTo>
                      <a:lnTo>
                        <a:pt x="173" y="84"/>
                      </a:lnTo>
                      <a:lnTo>
                        <a:pt x="175" y="83"/>
                      </a:lnTo>
                      <a:lnTo>
                        <a:pt x="177" y="81"/>
                      </a:lnTo>
                      <a:lnTo>
                        <a:pt x="179" y="78"/>
                      </a:lnTo>
                      <a:lnTo>
                        <a:pt x="180" y="76"/>
                      </a:lnTo>
                      <a:lnTo>
                        <a:pt x="182" y="76"/>
                      </a:lnTo>
                      <a:lnTo>
                        <a:pt x="180" y="74"/>
                      </a:lnTo>
                      <a:lnTo>
                        <a:pt x="182" y="73"/>
                      </a:lnTo>
                      <a:lnTo>
                        <a:pt x="184" y="73"/>
                      </a:lnTo>
                      <a:lnTo>
                        <a:pt x="187" y="73"/>
                      </a:lnTo>
                      <a:lnTo>
                        <a:pt x="189" y="73"/>
                      </a:lnTo>
                      <a:lnTo>
                        <a:pt x="190" y="71"/>
                      </a:lnTo>
                      <a:lnTo>
                        <a:pt x="189" y="68"/>
                      </a:lnTo>
                      <a:lnTo>
                        <a:pt x="189" y="64"/>
                      </a:lnTo>
                      <a:lnTo>
                        <a:pt x="190" y="61"/>
                      </a:lnTo>
                      <a:lnTo>
                        <a:pt x="190" y="59"/>
                      </a:lnTo>
                      <a:lnTo>
                        <a:pt x="192" y="56"/>
                      </a:lnTo>
                      <a:lnTo>
                        <a:pt x="192" y="52"/>
                      </a:lnTo>
                      <a:lnTo>
                        <a:pt x="195" y="49"/>
                      </a:lnTo>
                      <a:lnTo>
                        <a:pt x="197" y="47"/>
                      </a:lnTo>
                      <a:lnTo>
                        <a:pt x="199" y="44"/>
                      </a:lnTo>
                      <a:lnTo>
                        <a:pt x="194" y="42"/>
                      </a:lnTo>
                      <a:lnTo>
                        <a:pt x="190" y="41"/>
                      </a:lnTo>
                      <a:lnTo>
                        <a:pt x="187" y="41"/>
                      </a:lnTo>
                      <a:lnTo>
                        <a:pt x="184" y="39"/>
                      </a:lnTo>
                      <a:lnTo>
                        <a:pt x="180" y="39"/>
                      </a:lnTo>
                      <a:lnTo>
                        <a:pt x="177" y="39"/>
                      </a:lnTo>
                      <a:lnTo>
                        <a:pt x="175" y="37"/>
                      </a:lnTo>
                      <a:lnTo>
                        <a:pt x="173" y="35"/>
                      </a:lnTo>
                      <a:lnTo>
                        <a:pt x="172" y="34"/>
                      </a:lnTo>
                      <a:lnTo>
                        <a:pt x="170" y="32"/>
                      </a:lnTo>
                      <a:lnTo>
                        <a:pt x="168" y="32"/>
                      </a:lnTo>
                      <a:lnTo>
                        <a:pt x="167" y="32"/>
                      </a:lnTo>
                      <a:lnTo>
                        <a:pt x="162" y="30"/>
                      </a:lnTo>
                      <a:lnTo>
                        <a:pt x="160" y="32"/>
                      </a:lnTo>
                      <a:lnTo>
                        <a:pt x="157" y="30"/>
                      </a:lnTo>
                      <a:lnTo>
                        <a:pt x="155" y="29"/>
                      </a:lnTo>
                      <a:lnTo>
                        <a:pt x="152" y="29"/>
                      </a:lnTo>
                      <a:lnTo>
                        <a:pt x="152" y="27"/>
                      </a:lnTo>
                      <a:lnTo>
                        <a:pt x="150" y="25"/>
                      </a:lnTo>
                      <a:lnTo>
                        <a:pt x="150" y="22"/>
                      </a:lnTo>
                      <a:lnTo>
                        <a:pt x="150" y="20"/>
                      </a:lnTo>
                      <a:lnTo>
                        <a:pt x="148" y="20"/>
                      </a:lnTo>
                      <a:lnTo>
                        <a:pt x="146" y="22"/>
                      </a:lnTo>
                      <a:lnTo>
                        <a:pt x="145" y="24"/>
                      </a:lnTo>
                      <a:lnTo>
                        <a:pt x="143" y="24"/>
                      </a:lnTo>
                      <a:lnTo>
                        <a:pt x="140" y="24"/>
                      </a:lnTo>
                      <a:lnTo>
                        <a:pt x="140" y="19"/>
                      </a:lnTo>
                      <a:lnTo>
                        <a:pt x="138" y="17"/>
                      </a:lnTo>
                      <a:lnTo>
                        <a:pt x="136" y="15"/>
                      </a:lnTo>
                      <a:lnTo>
                        <a:pt x="133" y="15"/>
                      </a:lnTo>
                      <a:lnTo>
                        <a:pt x="131" y="14"/>
                      </a:lnTo>
                      <a:lnTo>
                        <a:pt x="130" y="14"/>
                      </a:lnTo>
                      <a:lnTo>
                        <a:pt x="126" y="12"/>
                      </a:lnTo>
                      <a:lnTo>
                        <a:pt x="125" y="10"/>
                      </a:lnTo>
                      <a:lnTo>
                        <a:pt x="125" y="9"/>
                      </a:lnTo>
                      <a:lnTo>
                        <a:pt x="121" y="9"/>
                      </a:lnTo>
                      <a:lnTo>
                        <a:pt x="118" y="7"/>
                      </a:lnTo>
                      <a:lnTo>
                        <a:pt x="116" y="5"/>
                      </a:lnTo>
                      <a:lnTo>
                        <a:pt x="116" y="2"/>
                      </a:lnTo>
                      <a:lnTo>
                        <a:pt x="116" y="0"/>
                      </a:lnTo>
                      <a:lnTo>
                        <a:pt x="114" y="2"/>
                      </a:lnTo>
                      <a:lnTo>
                        <a:pt x="113" y="2"/>
                      </a:lnTo>
                      <a:lnTo>
                        <a:pt x="109" y="2"/>
                      </a:lnTo>
                      <a:lnTo>
                        <a:pt x="106" y="3"/>
                      </a:lnTo>
                      <a:lnTo>
                        <a:pt x="101" y="5"/>
                      </a:lnTo>
                      <a:lnTo>
                        <a:pt x="99" y="9"/>
                      </a:lnTo>
                      <a:lnTo>
                        <a:pt x="99" y="14"/>
                      </a:lnTo>
                      <a:lnTo>
                        <a:pt x="99" y="17"/>
                      </a:lnTo>
                      <a:lnTo>
                        <a:pt x="99" y="19"/>
                      </a:lnTo>
                      <a:lnTo>
                        <a:pt x="96" y="22"/>
                      </a:lnTo>
                      <a:lnTo>
                        <a:pt x="93" y="24"/>
                      </a:lnTo>
                      <a:lnTo>
                        <a:pt x="87" y="25"/>
                      </a:lnTo>
                      <a:lnTo>
                        <a:pt x="82" y="27"/>
                      </a:lnTo>
                      <a:lnTo>
                        <a:pt x="79" y="29"/>
                      </a:lnTo>
                      <a:lnTo>
                        <a:pt x="77" y="32"/>
                      </a:lnTo>
                      <a:lnTo>
                        <a:pt x="77" y="34"/>
                      </a:lnTo>
                      <a:lnTo>
                        <a:pt x="81" y="34"/>
                      </a:lnTo>
                      <a:lnTo>
                        <a:pt x="82" y="34"/>
                      </a:lnTo>
                      <a:lnTo>
                        <a:pt x="82" y="35"/>
                      </a:lnTo>
                      <a:lnTo>
                        <a:pt x="81" y="35"/>
                      </a:lnTo>
                      <a:lnTo>
                        <a:pt x="77" y="35"/>
                      </a:lnTo>
                      <a:lnTo>
                        <a:pt x="74" y="37"/>
                      </a:lnTo>
                      <a:lnTo>
                        <a:pt x="71" y="37"/>
                      </a:lnTo>
                      <a:lnTo>
                        <a:pt x="69" y="37"/>
                      </a:lnTo>
                      <a:lnTo>
                        <a:pt x="64" y="37"/>
                      </a:lnTo>
                      <a:lnTo>
                        <a:pt x="60" y="35"/>
                      </a:lnTo>
                      <a:lnTo>
                        <a:pt x="59" y="35"/>
                      </a:lnTo>
                      <a:lnTo>
                        <a:pt x="57" y="34"/>
                      </a:lnTo>
                      <a:lnTo>
                        <a:pt x="55" y="32"/>
                      </a:lnTo>
                      <a:lnTo>
                        <a:pt x="55" y="30"/>
                      </a:lnTo>
                      <a:lnTo>
                        <a:pt x="54" y="30"/>
                      </a:lnTo>
                      <a:lnTo>
                        <a:pt x="52" y="30"/>
                      </a:lnTo>
                      <a:lnTo>
                        <a:pt x="49" y="30"/>
                      </a:lnTo>
                      <a:lnTo>
                        <a:pt x="45" y="29"/>
                      </a:lnTo>
                      <a:lnTo>
                        <a:pt x="45" y="32"/>
                      </a:lnTo>
                      <a:lnTo>
                        <a:pt x="45" y="34"/>
                      </a:lnTo>
                      <a:lnTo>
                        <a:pt x="47" y="37"/>
                      </a:lnTo>
                      <a:lnTo>
                        <a:pt x="49" y="37"/>
                      </a:lnTo>
                      <a:lnTo>
                        <a:pt x="49" y="41"/>
                      </a:lnTo>
                      <a:lnTo>
                        <a:pt x="50" y="44"/>
                      </a:lnTo>
                      <a:lnTo>
                        <a:pt x="50" y="46"/>
                      </a:lnTo>
                      <a:lnTo>
                        <a:pt x="50" y="49"/>
                      </a:lnTo>
                      <a:lnTo>
                        <a:pt x="52" y="51"/>
                      </a:lnTo>
                      <a:lnTo>
                        <a:pt x="49" y="51"/>
                      </a:lnTo>
                      <a:lnTo>
                        <a:pt x="47" y="51"/>
                      </a:lnTo>
                      <a:lnTo>
                        <a:pt x="45" y="51"/>
                      </a:lnTo>
                      <a:lnTo>
                        <a:pt x="44" y="51"/>
                      </a:lnTo>
                      <a:lnTo>
                        <a:pt x="42" y="51"/>
                      </a:lnTo>
                      <a:lnTo>
                        <a:pt x="40" y="51"/>
                      </a:lnTo>
                      <a:lnTo>
                        <a:pt x="39" y="51"/>
                      </a:lnTo>
                      <a:lnTo>
                        <a:pt x="37" y="51"/>
                      </a:lnTo>
                      <a:lnTo>
                        <a:pt x="34" y="52"/>
                      </a:lnTo>
                      <a:lnTo>
                        <a:pt x="32" y="51"/>
                      </a:lnTo>
                      <a:lnTo>
                        <a:pt x="28" y="49"/>
                      </a:lnTo>
                      <a:lnTo>
                        <a:pt x="27" y="47"/>
                      </a:lnTo>
                      <a:lnTo>
                        <a:pt x="23" y="47"/>
                      </a:lnTo>
                      <a:lnTo>
                        <a:pt x="22" y="47"/>
                      </a:lnTo>
                      <a:lnTo>
                        <a:pt x="20" y="47"/>
                      </a:lnTo>
                      <a:lnTo>
                        <a:pt x="18" y="49"/>
                      </a:lnTo>
                      <a:lnTo>
                        <a:pt x="17" y="49"/>
                      </a:lnTo>
                      <a:lnTo>
                        <a:pt x="15" y="51"/>
                      </a:lnTo>
                      <a:lnTo>
                        <a:pt x="13" y="51"/>
                      </a:lnTo>
                      <a:lnTo>
                        <a:pt x="10" y="51"/>
                      </a:lnTo>
                      <a:lnTo>
                        <a:pt x="8" y="51"/>
                      </a:lnTo>
                      <a:lnTo>
                        <a:pt x="5" y="52"/>
                      </a:lnTo>
                      <a:lnTo>
                        <a:pt x="1" y="54"/>
                      </a:lnTo>
                      <a:lnTo>
                        <a:pt x="0" y="56"/>
                      </a:lnTo>
                      <a:lnTo>
                        <a:pt x="0" y="57"/>
                      </a:lnTo>
                      <a:lnTo>
                        <a:pt x="3" y="57"/>
                      </a:lnTo>
                      <a:lnTo>
                        <a:pt x="7" y="56"/>
                      </a:lnTo>
                      <a:lnTo>
                        <a:pt x="7" y="57"/>
                      </a:lnTo>
                      <a:lnTo>
                        <a:pt x="5" y="57"/>
                      </a:lnTo>
                      <a:lnTo>
                        <a:pt x="3" y="59"/>
                      </a:lnTo>
                      <a:lnTo>
                        <a:pt x="3" y="61"/>
                      </a:lnTo>
                      <a:lnTo>
                        <a:pt x="7" y="61"/>
                      </a:lnTo>
                      <a:lnTo>
                        <a:pt x="3" y="62"/>
                      </a:lnTo>
                      <a:lnTo>
                        <a:pt x="1" y="62"/>
                      </a:lnTo>
                      <a:lnTo>
                        <a:pt x="3" y="64"/>
                      </a:lnTo>
                      <a:lnTo>
                        <a:pt x="5" y="66"/>
                      </a:lnTo>
                      <a:lnTo>
                        <a:pt x="7" y="68"/>
                      </a:lnTo>
                      <a:lnTo>
                        <a:pt x="10" y="66"/>
                      </a:lnTo>
                      <a:lnTo>
                        <a:pt x="13" y="66"/>
                      </a:lnTo>
                      <a:lnTo>
                        <a:pt x="15" y="68"/>
                      </a:lnTo>
                      <a:lnTo>
                        <a:pt x="18" y="69"/>
                      </a:lnTo>
                      <a:lnTo>
                        <a:pt x="22" y="69"/>
                      </a:lnTo>
                      <a:lnTo>
                        <a:pt x="23" y="71"/>
                      </a:lnTo>
                      <a:lnTo>
                        <a:pt x="25" y="71"/>
                      </a:lnTo>
                      <a:lnTo>
                        <a:pt x="25" y="73"/>
                      </a:lnTo>
                      <a:lnTo>
                        <a:pt x="27" y="73"/>
                      </a:lnTo>
                      <a:lnTo>
                        <a:pt x="30" y="71"/>
                      </a:lnTo>
                      <a:lnTo>
                        <a:pt x="32" y="73"/>
                      </a:lnTo>
                      <a:lnTo>
                        <a:pt x="30" y="73"/>
                      </a:lnTo>
                      <a:lnTo>
                        <a:pt x="35" y="73"/>
                      </a:lnTo>
                      <a:lnTo>
                        <a:pt x="37" y="74"/>
                      </a:lnTo>
                      <a:lnTo>
                        <a:pt x="37" y="76"/>
                      </a:lnTo>
                      <a:lnTo>
                        <a:pt x="37" y="78"/>
                      </a:lnTo>
                      <a:lnTo>
                        <a:pt x="40" y="78"/>
                      </a:lnTo>
                      <a:lnTo>
                        <a:pt x="45" y="78"/>
                      </a:lnTo>
                      <a:lnTo>
                        <a:pt x="47" y="79"/>
                      </a:lnTo>
                      <a:lnTo>
                        <a:pt x="45" y="79"/>
                      </a:lnTo>
                      <a:lnTo>
                        <a:pt x="42" y="79"/>
                      </a:lnTo>
                      <a:lnTo>
                        <a:pt x="42" y="81"/>
                      </a:lnTo>
                      <a:lnTo>
                        <a:pt x="44" y="84"/>
                      </a:lnTo>
                      <a:lnTo>
                        <a:pt x="42" y="86"/>
                      </a:lnTo>
                      <a:lnTo>
                        <a:pt x="45" y="89"/>
                      </a:lnTo>
                      <a:lnTo>
                        <a:pt x="47" y="93"/>
                      </a:lnTo>
                      <a:lnTo>
                        <a:pt x="50" y="94"/>
                      </a:lnTo>
                      <a:lnTo>
                        <a:pt x="54" y="96"/>
                      </a:lnTo>
                      <a:lnTo>
                        <a:pt x="57" y="98"/>
                      </a:lnTo>
                      <a:lnTo>
                        <a:pt x="57" y="100"/>
                      </a:lnTo>
                      <a:lnTo>
                        <a:pt x="59" y="101"/>
                      </a:lnTo>
                      <a:lnTo>
                        <a:pt x="59" y="105"/>
                      </a:lnTo>
                      <a:lnTo>
                        <a:pt x="57" y="108"/>
                      </a:lnTo>
                      <a:lnTo>
                        <a:pt x="59" y="110"/>
                      </a:lnTo>
                      <a:lnTo>
                        <a:pt x="60" y="111"/>
                      </a:lnTo>
                      <a:lnTo>
                        <a:pt x="64" y="115"/>
                      </a:lnTo>
                      <a:lnTo>
                        <a:pt x="64" y="118"/>
                      </a:lnTo>
                      <a:lnTo>
                        <a:pt x="64" y="116"/>
                      </a:lnTo>
                      <a:lnTo>
                        <a:pt x="62" y="115"/>
                      </a:lnTo>
                      <a:lnTo>
                        <a:pt x="59" y="113"/>
                      </a:lnTo>
                      <a:lnTo>
                        <a:pt x="59" y="115"/>
                      </a:lnTo>
                      <a:lnTo>
                        <a:pt x="59" y="118"/>
                      </a:lnTo>
                      <a:lnTo>
                        <a:pt x="57" y="123"/>
                      </a:lnTo>
                      <a:lnTo>
                        <a:pt x="57" y="127"/>
                      </a:lnTo>
                      <a:lnTo>
                        <a:pt x="59" y="128"/>
                      </a:lnTo>
                      <a:lnTo>
                        <a:pt x="59" y="130"/>
                      </a:lnTo>
                      <a:lnTo>
                        <a:pt x="57" y="135"/>
                      </a:lnTo>
                      <a:lnTo>
                        <a:pt x="55" y="140"/>
                      </a:lnTo>
                      <a:lnTo>
                        <a:pt x="54" y="145"/>
                      </a:lnTo>
                      <a:lnTo>
                        <a:pt x="54" y="148"/>
                      </a:lnTo>
                      <a:lnTo>
                        <a:pt x="52" y="152"/>
                      </a:lnTo>
                      <a:lnTo>
                        <a:pt x="49" y="153"/>
                      </a:lnTo>
                      <a:lnTo>
                        <a:pt x="47" y="153"/>
                      </a:lnTo>
                      <a:lnTo>
                        <a:pt x="47" y="155"/>
                      </a:lnTo>
                      <a:lnTo>
                        <a:pt x="49" y="155"/>
                      </a:lnTo>
                      <a:lnTo>
                        <a:pt x="50" y="157"/>
                      </a:lnTo>
                      <a:lnTo>
                        <a:pt x="54" y="159"/>
                      </a:lnTo>
                      <a:lnTo>
                        <a:pt x="55" y="160"/>
                      </a:lnTo>
                      <a:lnTo>
                        <a:pt x="59" y="160"/>
                      </a:lnTo>
                      <a:lnTo>
                        <a:pt x="62" y="162"/>
                      </a:lnTo>
                      <a:lnTo>
                        <a:pt x="64" y="164"/>
                      </a:lnTo>
                      <a:lnTo>
                        <a:pt x="67" y="165"/>
                      </a:lnTo>
                      <a:lnTo>
                        <a:pt x="72" y="165"/>
                      </a:lnTo>
                      <a:lnTo>
                        <a:pt x="77" y="167"/>
                      </a:lnTo>
                      <a:lnTo>
                        <a:pt x="81" y="167"/>
                      </a:lnTo>
                      <a:lnTo>
                        <a:pt x="82" y="167"/>
                      </a:lnTo>
                      <a:lnTo>
                        <a:pt x="86" y="165"/>
                      </a:lnTo>
                      <a:lnTo>
                        <a:pt x="89" y="165"/>
                      </a:lnTo>
                      <a:lnTo>
                        <a:pt x="91" y="165"/>
                      </a:lnTo>
                      <a:lnTo>
                        <a:pt x="93" y="167"/>
                      </a:lnTo>
                      <a:lnTo>
                        <a:pt x="94" y="169"/>
                      </a:lnTo>
                      <a:lnTo>
                        <a:pt x="96" y="169"/>
                      </a:lnTo>
                      <a:lnTo>
                        <a:pt x="99" y="169"/>
                      </a:lnTo>
                      <a:lnTo>
                        <a:pt x="101" y="170"/>
                      </a:lnTo>
                      <a:lnTo>
                        <a:pt x="103" y="172"/>
                      </a:lnTo>
                      <a:lnTo>
                        <a:pt x="106" y="172"/>
                      </a:lnTo>
                      <a:lnTo>
                        <a:pt x="109" y="172"/>
                      </a:lnTo>
                      <a:lnTo>
                        <a:pt x="114" y="172"/>
                      </a:lnTo>
                      <a:lnTo>
                        <a:pt x="118" y="172"/>
                      </a:lnTo>
                      <a:lnTo>
                        <a:pt x="121" y="172"/>
                      </a:lnTo>
                      <a:lnTo>
                        <a:pt x="123" y="172"/>
                      </a:lnTo>
                      <a:lnTo>
                        <a:pt x="123" y="165"/>
                      </a:lnTo>
                      <a:lnTo>
                        <a:pt x="121" y="164"/>
                      </a:lnTo>
                      <a:lnTo>
                        <a:pt x="123" y="160"/>
                      </a:lnTo>
                      <a:lnTo>
                        <a:pt x="125" y="157"/>
                      </a:lnTo>
                      <a:lnTo>
                        <a:pt x="128" y="155"/>
                      </a:lnTo>
                      <a:lnTo>
                        <a:pt x="130" y="155"/>
                      </a:lnTo>
                      <a:lnTo>
                        <a:pt x="131" y="153"/>
                      </a:lnTo>
                      <a:lnTo>
                        <a:pt x="133" y="153"/>
                      </a:lnTo>
                      <a:lnTo>
                        <a:pt x="135" y="152"/>
                      </a:lnTo>
                      <a:lnTo>
                        <a:pt x="136" y="150"/>
                      </a:lnTo>
                      <a:lnTo>
                        <a:pt x="138" y="150"/>
                      </a:lnTo>
                      <a:lnTo>
                        <a:pt x="140" y="152"/>
                      </a:lnTo>
                      <a:lnTo>
                        <a:pt x="141" y="152"/>
                      </a:lnTo>
                      <a:lnTo>
                        <a:pt x="143" y="152"/>
                      </a:lnTo>
                      <a:lnTo>
                        <a:pt x="145" y="152"/>
                      </a:lnTo>
                      <a:lnTo>
                        <a:pt x="145" y="153"/>
                      </a:lnTo>
                      <a:lnTo>
                        <a:pt x="148" y="153"/>
                      </a:lnTo>
                      <a:lnTo>
                        <a:pt x="150" y="153"/>
                      </a:lnTo>
                      <a:lnTo>
                        <a:pt x="152" y="153"/>
                      </a:lnTo>
                      <a:lnTo>
                        <a:pt x="153" y="153"/>
                      </a:lnTo>
                      <a:lnTo>
                        <a:pt x="152" y="152"/>
                      </a:lnTo>
                      <a:lnTo>
                        <a:pt x="153" y="153"/>
                      </a:lnTo>
                      <a:lnTo>
                        <a:pt x="157" y="153"/>
                      </a:lnTo>
                      <a:lnTo>
                        <a:pt x="158" y="155"/>
                      </a:lnTo>
                      <a:lnTo>
                        <a:pt x="160" y="157"/>
                      </a:lnTo>
                      <a:lnTo>
                        <a:pt x="162" y="157"/>
                      </a:lnTo>
                      <a:lnTo>
                        <a:pt x="163" y="157"/>
                      </a:lnTo>
                      <a:lnTo>
                        <a:pt x="163" y="159"/>
                      </a:lnTo>
                      <a:lnTo>
                        <a:pt x="165" y="159"/>
                      </a:lnTo>
                      <a:lnTo>
                        <a:pt x="167" y="159"/>
                      </a:lnTo>
                      <a:lnTo>
                        <a:pt x="168" y="159"/>
                      </a:lnTo>
                      <a:lnTo>
                        <a:pt x="170" y="159"/>
                      </a:lnTo>
                      <a:lnTo>
                        <a:pt x="172" y="159"/>
                      </a:lnTo>
                      <a:lnTo>
                        <a:pt x="173" y="157"/>
                      </a:lnTo>
                      <a:lnTo>
                        <a:pt x="177" y="157"/>
                      </a:lnTo>
                      <a:lnTo>
                        <a:pt x="177" y="155"/>
                      </a:lnTo>
                      <a:lnTo>
                        <a:pt x="177" y="153"/>
                      </a:lnTo>
                      <a:lnTo>
                        <a:pt x="179" y="153"/>
                      </a:lnTo>
                      <a:lnTo>
                        <a:pt x="180" y="152"/>
                      </a:lnTo>
                      <a:lnTo>
                        <a:pt x="182" y="150"/>
                      </a:lnTo>
                      <a:lnTo>
                        <a:pt x="184" y="150"/>
                      </a:lnTo>
                      <a:lnTo>
                        <a:pt x="185" y="148"/>
                      </a:lnTo>
                      <a:lnTo>
                        <a:pt x="185" y="147"/>
                      </a:lnTo>
                      <a:lnTo>
                        <a:pt x="187" y="147"/>
                      </a:lnTo>
                      <a:lnTo>
                        <a:pt x="189" y="145"/>
                      </a:lnTo>
                      <a:lnTo>
                        <a:pt x="190" y="145"/>
                      </a:lnTo>
                      <a:lnTo>
                        <a:pt x="190" y="14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47" name="Freeform 321">
                  <a:extLst>
                    <a:ext uri="{FF2B5EF4-FFF2-40B4-BE49-F238E27FC236}">
                      <a16:creationId xmlns:a16="http://schemas.microsoft.com/office/drawing/2014/main" id="{9DD1674E-62A1-D344-9092-9CE85F7E29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" y="480"/>
                  <a:ext cx="199" cy="172"/>
                </a:xfrm>
                <a:custGeom>
                  <a:avLst/>
                  <a:gdLst>
                    <a:gd name="T0" fmla="*/ 189 w 199"/>
                    <a:gd name="T1" fmla="*/ 138 h 172"/>
                    <a:gd name="T2" fmla="*/ 180 w 199"/>
                    <a:gd name="T3" fmla="*/ 130 h 172"/>
                    <a:gd name="T4" fmla="*/ 177 w 199"/>
                    <a:gd name="T5" fmla="*/ 121 h 172"/>
                    <a:gd name="T6" fmla="*/ 182 w 199"/>
                    <a:gd name="T7" fmla="*/ 115 h 172"/>
                    <a:gd name="T8" fmla="*/ 179 w 199"/>
                    <a:gd name="T9" fmla="*/ 105 h 172"/>
                    <a:gd name="T10" fmla="*/ 179 w 199"/>
                    <a:gd name="T11" fmla="*/ 101 h 172"/>
                    <a:gd name="T12" fmla="*/ 175 w 199"/>
                    <a:gd name="T13" fmla="*/ 94 h 172"/>
                    <a:gd name="T14" fmla="*/ 167 w 199"/>
                    <a:gd name="T15" fmla="*/ 96 h 172"/>
                    <a:gd name="T16" fmla="*/ 170 w 199"/>
                    <a:gd name="T17" fmla="*/ 88 h 172"/>
                    <a:gd name="T18" fmla="*/ 177 w 199"/>
                    <a:gd name="T19" fmla="*/ 81 h 172"/>
                    <a:gd name="T20" fmla="*/ 182 w 199"/>
                    <a:gd name="T21" fmla="*/ 73 h 172"/>
                    <a:gd name="T22" fmla="*/ 189 w 199"/>
                    <a:gd name="T23" fmla="*/ 68 h 172"/>
                    <a:gd name="T24" fmla="*/ 192 w 199"/>
                    <a:gd name="T25" fmla="*/ 52 h 172"/>
                    <a:gd name="T26" fmla="*/ 190 w 199"/>
                    <a:gd name="T27" fmla="*/ 41 h 172"/>
                    <a:gd name="T28" fmla="*/ 175 w 199"/>
                    <a:gd name="T29" fmla="*/ 37 h 172"/>
                    <a:gd name="T30" fmla="*/ 167 w 199"/>
                    <a:gd name="T31" fmla="*/ 32 h 172"/>
                    <a:gd name="T32" fmla="*/ 152 w 199"/>
                    <a:gd name="T33" fmla="*/ 29 h 172"/>
                    <a:gd name="T34" fmla="*/ 148 w 199"/>
                    <a:gd name="T35" fmla="*/ 20 h 172"/>
                    <a:gd name="T36" fmla="*/ 140 w 199"/>
                    <a:gd name="T37" fmla="*/ 19 h 172"/>
                    <a:gd name="T38" fmla="*/ 130 w 199"/>
                    <a:gd name="T39" fmla="*/ 14 h 172"/>
                    <a:gd name="T40" fmla="*/ 118 w 199"/>
                    <a:gd name="T41" fmla="*/ 7 h 172"/>
                    <a:gd name="T42" fmla="*/ 113 w 199"/>
                    <a:gd name="T43" fmla="*/ 2 h 172"/>
                    <a:gd name="T44" fmla="*/ 99 w 199"/>
                    <a:gd name="T45" fmla="*/ 14 h 172"/>
                    <a:gd name="T46" fmla="*/ 87 w 199"/>
                    <a:gd name="T47" fmla="*/ 25 h 172"/>
                    <a:gd name="T48" fmla="*/ 81 w 199"/>
                    <a:gd name="T49" fmla="*/ 34 h 172"/>
                    <a:gd name="T50" fmla="*/ 74 w 199"/>
                    <a:gd name="T51" fmla="*/ 37 h 172"/>
                    <a:gd name="T52" fmla="*/ 59 w 199"/>
                    <a:gd name="T53" fmla="*/ 35 h 172"/>
                    <a:gd name="T54" fmla="*/ 52 w 199"/>
                    <a:gd name="T55" fmla="*/ 30 h 172"/>
                    <a:gd name="T56" fmla="*/ 47 w 199"/>
                    <a:gd name="T57" fmla="*/ 37 h 172"/>
                    <a:gd name="T58" fmla="*/ 50 w 199"/>
                    <a:gd name="T59" fmla="*/ 49 h 172"/>
                    <a:gd name="T60" fmla="*/ 44 w 199"/>
                    <a:gd name="T61" fmla="*/ 51 h 172"/>
                    <a:gd name="T62" fmla="*/ 34 w 199"/>
                    <a:gd name="T63" fmla="*/ 52 h 172"/>
                    <a:gd name="T64" fmla="*/ 22 w 199"/>
                    <a:gd name="T65" fmla="*/ 47 h 172"/>
                    <a:gd name="T66" fmla="*/ 13 w 199"/>
                    <a:gd name="T67" fmla="*/ 51 h 172"/>
                    <a:gd name="T68" fmla="*/ 0 w 199"/>
                    <a:gd name="T69" fmla="*/ 56 h 172"/>
                    <a:gd name="T70" fmla="*/ 5 w 199"/>
                    <a:gd name="T71" fmla="*/ 57 h 172"/>
                    <a:gd name="T72" fmla="*/ 1 w 199"/>
                    <a:gd name="T73" fmla="*/ 62 h 172"/>
                    <a:gd name="T74" fmla="*/ 13 w 199"/>
                    <a:gd name="T75" fmla="*/ 66 h 172"/>
                    <a:gd name="T76" fmla="*/ 25 w 199"/>
                    <a:gd name="T77" fmla="*/ 71 h 172"/>
                    <a:gd name="T78" fmla="*/ 30 w 199"/>
                    <a:gd name="T79" fmla="*/ 73 h 172"/>
                    <a:gd name="T80" fmla="*/ 40 w 199"/>
                    <a:gd name="T81" fmla="*/ 78 h 172"/>
                    <a:gd name="T82" fmla="*/ 42 w 199"/>
                    <a:gd name="T83" fmla="*/ 81 h 172"/>
                    <a:gd name="T84" fmla="*/ 50 w 199"/>
                    <a:gd name="T85" fmla="*/ 94 h 172"/>
                    <a:gd name="T86" fmla="*/ 59 w 199"/>
                    <a:gd name="T87" fmla="*/ 105 h 172"/>
                    <a:gd name="T88" fmla="*/ 64 w 199"/>
                    <a:gd name="T89" fmla="*/ 118 h 172"/>
                    <a:gd name="T90" fmla="*/ 59 w 199"/>
                    <a:gd name="T91" fmla="*/ 118 h 172"/>
                    <a:gd name="T92" fmla="*/ 57 w 199"/>
                    <a:gd name="T93" fmla="*/ 135 h 172"/>
                    <a:gd name="T94" fmla="*/ 49 w 199"/>
                    <a:gd name="T95" fmla="*/ 153 h 172"/>
                    <a:gd name="T96" fmla="*/ 54 w 199"/>
                    <a:gd name="T97" fmla="*/ 159 h 172"/>
                    <a:gd name="T98" fmla="*/ 67 w 199"/>
                    <a:gd name="T99" fmla="*/ 165 h 172"/>
                    <a:gd name="T100" fmla="*/ 86 w 199"/>
                    <a:gd name="T101" fmla="*/ 165 h 172"/>
                    <a:gd name="T102" fmla="*/ 96 w 199"/>
                    <a:gd name="T103" fmla="*/ 169 h 172"/>
                    <a:gd name="T104" fmla="*/ 109 w 199"/>
                    <a:gd name="T105" fmla="*/ 172 h 172"/>
                    <a:gd name="T106" fmla="*/ 123 w 199"/>
                    <a:gd name="T107" fmla="*/ 165 h 172"/>
                    <a:gd name="T108" fmla="*/ 130 w 199"/>
                    <a:gd name="T109" fmla="*/ 155 h 172"/>
                    <a:gd name="T110" fmla="*/ 138 w 199"/>
                    <a:gd name="T111" fmla="*/ 150 h 172"/>
                    <a:gd name="T112" fmla="*/ 145 w 199"/>
                    <a:gd name="T113" fmla="*/ 153 h 172"/>
                    <a:gd name="T114" fmla="*/ 152 w 199"/>
                    <a:gd name="T115" fmla="*/ 152 h 172"/>
                    <a:gd name="T116" fmla="*/ 162 w 199"/>
                    <a:gd name="T117" fmla="*/ 157 h 172"/>
                    <a:gd name="T118" fmla="*/ 168 w 199"/>
                    <a:gd name="T119" fmla="*/ 159 h 172"/>
                    <a:gd name="T120" fmla="*/ 177 w 199"/>
                    <a:gd name="T121" fmla="*/ 155 h 172"/>
                    <a:gd name="T122" fmla="*/ 184 w 199"/>
                    <a:gd name="T123" fmla="*/ 150 h 172"/>
                    <a:gd name="T124" fmla="*/ 190 w 199"/>
                    <a:gd name="T125" fmla="*/ 145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99" h="172">
                      <a:moveTo>
                        <a:pt x="190" y="143"/>
                      </a:moveTo>
                      <a:lnTo>
                        <a:pt x="190" y="142"/>
                      </a:lnTo>
                      <a:lnTo>
                        <a:pt x="190" y="140"/>
                      </a:lnTo>
                      <a:lnTo>
                        <a:pt x="190" y="138"/>
                      </a:lnTo>
                      <a:lnTo>
                        <a:pt x="189" y="138"/>
                      </a:lnTo>
                      <a:lnTo>
                        <a:pt x="185" y="138"/>
                      </a:lnTo>
                      <a:lnTo>
                        <a:pt x="184" y="137"/>
                      </a:lnTo>
                      <a:lnTo>
                        <a:pt x="182" y="135"/>
                      </a:lnTo>
                      <a:lnTo>
                        <a:pt x="180" y="132"/>
                      </a:lnTo>
                      <a:lnTo>
                        <a:pt x="180" y="130"/>
                      </a:lnTo>
                      <a:lnTo>
                        <a:pt x="180" y="127"/>
                      </a:lnTo>
                      <a:lnTo>
                        <a:pt x="180" y="125"/>
                      </a:lnTo>
                      <a:lnTo>
                        <a:pt x="179" y="125"/>
                      </a:lnTo>
                      <a:lnTo>
                        <a:pt x="179" y="123"/>
                      </a:lnTo>
                      <a:lnTo>
                        <a:pt x="177" y="121"/>
                      </a:lnTo>
                      <a:lnTo>
                        <a:pt x="179" y="120"/>
                      </a:lnTo>
                      <a:lnTo>
                        <a:pt x="180" y="118"/>
                      </a:lnTo>
                      <a:lnTo>
                        <a:pt x="182" y="118"/>
                      </a:lnTo>
                      <a:lnTo>
                        <a:pt x="184" y="116"/>
                      </a:lnTo>
                      <a:lnTo>
                        <a:pt x="182" y="115"/>
                      </a:lnTo>
                      <a:lnTo>
                        <a:pt x="180" y="113"/>
                      </a:lnTo>
                      <a:lnTo>
                        <a:pt x="180" y="110"/>
                      </a:lnTo>
                      <a:lnTo>
                        <a:pt x="179" y="108"/>
                      </a:lnTo>
                      <a:lnTo>
                        <a:pt x="179" y="106"/>
                      </a:lnTo>
                      <a:lnTo>
                        <a:pt x="179" y="105"/>
                      </a:lnTo>
                      <a:lnTo>
                        <a:pt x="180" y="105"/>
                      </a:lnTo>
                      <a:lnTo>
                        <a:pt x="182" y="105"/>
                      </a:lnTo>
                      <a:lnTo>
                        <a:pt x="182" y="103"/>
                      </a:lnTo>
                      <a:lnTo>
                        <a:pt x="180" y="103"/>
                      </a:lnTo>
                      <a:lnTo>
                        <a:pt x="179" y="101"/>
                      </a:lnTo>
                      <a:lnTo>
                        <a:pt x="179" y="100"/>
                      </a:lnTo>
                      <a:lnTo>
                        <a:pt x="179" y="96"/>
                      </a:lnTo>
                      <a:lnTo>
                        <a:pt x="179" y="94"/>
                      </a:lnTo>
                      <a:lnTo>
                        <a:pt x="177" y="94"/>
                      </a:lnTo>
                      <a:lnTo>
                        <a:pt x="175" y="94"/>
                      </a:lnTo>
                      <a:lnTo>
                        <a:pt x="172" y="94"/>
                      </a:lnTo>
                      <a:lnTo>
                        <a:pt x="170" y="96"/>
                      </a:lnTo>
                      <a:lnTo>
                        <a:pt x="168" y="100"/>
                      </a:lnTo>
                      <a:lnTo>
                        <a:pt x="167" y="100"/>
                      </a:lnTo>
                      <a:lnTo>
                        <a:pt x="167" y="96"/>
                      </a:lnTo>
                      <a:lnTo>
                        <a:pt x="167" y="94"/>
                      </a:lnTo>
                      <a:lnTo>
                        <a:pt x="167" y="93"/>
                      </a:lnTo>
                      <a:lnTo>
                        <a:pt x="168" y="91"/>
                      </a:lnTo>
                      <a:lnTo>
                        <a:pt x="168" y="89"/>
                      </a:lnTo>
                      <a:lnTo>
                        <a:pt x="170" y="88"/>
                      </a:lnTo>
                      <a:lnTo>
                        <a:pt x="172" y="88"/>
                      </a:lnTo>
                      <a:lnTo>
                        <a:pt x="172" y="86"/>
                      </a:lnTo>
                      <a:lnTo>
                        <a:pt x="173" y="84"/>
                      </a:lnTo>
                      <a:lnTo>
                        <a:pt x="175" y="83"/>
                      </a:lnTo>
                      <a:lnTo>
                        <a:pt x="177" y="81"/>
                      </a:lnTo>
                      <a:lnTo>
                        <a:pt x="179" y="78"/>
                      </a:lnTo>
                      <a:lnTo>
                        <a:pt x="180" y="76"/>
                      </a:lnTo>
                      <a:lnTo>
                        <a:pt x="182" y="76"/>
                      </a:lnTo>
                      <a:lnTo>
                        <a:pt x="180" y="74"/>
                      </a:lnTo>
                      <a:lnTo>
                        <a:pt x="182" y="73"/>
                      </a:lnTo>
                      <a:lnTo>
                        <a:pt x="184" y="73"/>
                      </a:lnTo>
                      <a:lnTo>
                        <a:pt x="187" y="73"/>
                      </a:lnTo>
                      <a:lnTo>
                        <a:pt x="189" y="73"/>
                      </a:lnTo>
                      <a:lnTo>
                        <a:pt x="190" y="71"/>
                      </a:lnTo>
                      <a:lnTo>
                        <a:pt x="189" y="68"/>
                      </a:lnTo>
                      <a:lnTo>
                        <a:pt x="189" y="64"/>
                      </a:lnTo>
                      <a:lnTo>
                        <a:pt x="190" y="61"/>
                      </a:lnTo>
                      <a:lnTo>
                        <a:pt x="190" y="59"/>
                      </a:lnTo>
                      <a:lnTo>
                        <a:pt x="192" y="56"/>
                      </a:lnTo>
                      <a:lnTo>
                        <a:pt x="192" y="52"/>
                      </a:lnTo>
                      <a:lnTo>
                        <a:pt x="195" y="49"/>
                      </a:lnTo>
                      <a:lnTo>
                        <a:pt x="197" y="47"/>
                      </a:lnTo>
                      <a:lnTo>
                        <a:pt x="199" y="44"/>
                      </a:lnTo>
                      <a:lnTo>
                        <a:pt x="194" y="42"/>
                      </a:lnTo>
                      <a:lnTo>
                        <a:pt x="190" y="41"/>
                      </a:lnTo>
                      <a:lnTo>
                        <a:pt x="187" y="41"/>
                      </a:lnTo>
                      <a:lnTo>
                        <a:pt x="184" y="39"/>
                      </a:lnTo>
                      <a:lnTo>
                        <a:pt x="180" y="39"/>
                      </a:lnTo>
                      <a:lnTo>
                        <a:pt x="177" y="39"/>
                      </a:lnTo>
                      <a:lnTo>
                        <a:pt x="175" y="37"/>
                      </a:lnTo>
                      <a:lnTo>
                        <a:pt x="173" y="35"/>
                      </a:lnTo>
                      <a:lnTo>
                        <a:pt x="172" y="34"/>
                      </a:lnTo>
                      <a:lnTo>
                        <a:pt x="170" y="32"/>
                      </a:lnTo>
                      <a:lnTo>
                        <a:pt x="168" y="32"/>
                      </a:lnTo>
                      <a:lnTo>
                        <a:pt x="167" y="32"/>
                      </a:lnTo>
                      <a:lnTo>
                        <a:pt x="162" y="30"/>
                      </a:lnTo>
                      <a:lnTo>
                        <a:pt x="160" y="32"/>
                      </a:lnTo>
                      <a:lnTo>
                        <a:pt x="157" y="30"/>
                      </a:lnTo>
                      <a:lnTo>
                        <a:pt x="155" y="29"/>
                      </a:lnTo>
                      <a:lnTo>
                        <a:pt x="152" y="29"/>
                      </a:lnTo>
                      <a:lnTo>
                        <a:pt x="152" y="27"/>
                      </a:lnTo>
                      <a:lnTo>
                        <a:pt x="150" y="25"/>
                      </a:lnTo>
                      <a:lnTo>
                        <a:pt x="150" y="22"/>
                      </a:lnTo>
                      <a:lnTo>
                        <a:pt x="150" y="20"/>
                      </a:lnTo>
                      <a:lnTo>
                        <a:pt x="148" y="20"/>
                      </a:lnTo>
                      <a:lnTo>
                        <a:pt x="146" y="22"/>
                      </a:lnTo>
                      <a:lnTo>
                        <a:pt x="145" y="24"/>
                      </a:lnTo>
                      <a:lnTo>
                        <a:pt x="143" y="24"/>
                      </a:lnTo>
                      <a:lnTo>
                        <a:pt x="140" y="24"/>
                      </a:lnTo>
                      <a:lnTo>
                        <a:pt x="140" y="19"/>
                      </a:lnTo>
                      <a:lnTo>
                        <a:pt x="138" y="17"/>
                      </a:lnTo>
                      <a:lnTo>
                        <a:pt x="136" y="15"/>
                      </a:lnTo>
                      <a:lnTo>
                        <a:pt x="133" y="15"/>
                      </a:lnTo>
                      <a:lnTo>
                        <a:pt x="131" y="14"/>
                      </a:lnTo>
                      <a:lnTo>
                        <a:pt x="130" y="14"/>
                      </a:lnTo>
                      <a:lnTo>
                        <a:pt x="126" y="12"/>
                      </a:lnTo>
                      <a:lnTo>
                        <a:pt x="125" y="10"/>
                      </a:lnTo>
                      <a:lnTo>
                        <a:pt x="125" y="9"/>
                      </a:lnTo>
                      <a:lnTo>
                        <a:pt x="121" y="9"/>
                      </a:lnTo>
                      <a:lnTo>
                        <a:pt x="118" y="7"/>
                      </a:lnTo>
                      <a:lnTo>
                        <a:pt x="116" y="5"/>
                      </a:lnTo>
                      <a:lnTo>
                        <a:pt x="116" y="2"/>
                      </a:lnTo>
                      <a:lnTo>
                        <a:pt x="116" y="0"/>
                      </a:lnTo>
                      <a:lnTo>
                        <a:pt x="114" y="2"/>
                      </a:lnTo>
                      <a:lnTo>
                        <a:pt x="113" y="2"/>
                      </a:lnTo>
                      <a:lnTo>
                        <a:pt x="109" y="2"/>
                      </a:lnTo>
                      <a:lnTo>
                        <a:pt x="106" y="3"/>
                      </a:lnTo>
                      <a:lnTo>
                        <a:pt x="101" y="5"/>
                      </a:lnTo>
                      <a:lnTo>
                        <a:pt x="99" y="9"/>
                      </a:lnTo>
                      <a:lnTo>
                        <a:pt x="99" y="14"/>
                      </a:lnTo>
                      <a:lnTo>
                        <a:pt x="99" y="17"/>
                      </a:lnTo>
                      <a:lnTo>
                        <a:pt x="99" y="19"/>
                      </a:lnTo>
                      <a:lnTo>
                        <a:pt x="96" y="22"/>
                      </a:lnTo>
                      <a:lnTo>
                        <a:pt x="93" y="24"/>
                      </a:lnTo>
                      <a:lnTo>
                        <a:pt x="87" y="25"/>
                      </a:lnTo>
                      <a:lnTo>
                        <a:pt x="82" y="27"/>
                      </a:lnTo>
                      <a:lnTo>
                        <a:pt x="79" y="29"/>
                      </a:lnTo>
                      <a:lnTo>
                        <a:pt x="77" y="32"/>
                      </a:lnTo>
                      <a:lnTo>
                        <a:pt x="77" y="34"/>
                      </a:lnTo>
                      <a:lnTo>
                        <a:pt x="81" y="34"/>
                      </a:lnTo>
                      <a:lnTo>
                        <a:pt x="82" y="34"/>
                      </a:lnTo>
                      <a:lnTo>
                        <a:pt x="82" y="35"/>
                      </a:lnTo>
                      <a:lnTo>
                        <a:pt x="81" y="35"/>
                      </a:lnTo>
                      <a:lnTo>
                        <a:pt x="77" y="35"/>
                      </a:lnTo>
                      <a:lnTo>
                        <a:pt x="74" y="37"/>
                      </a:lnTo>
                      <a:lnTo>
                        <a:pt x="71" y="37"/>
                      </a:lnTo>
                      <a:lnTo>
                        <a:pt x="69" y="37"/>
                      </a:lnTo>
                      <a:lnTo>
                        <a:pt x="64" y="37"/>
                      </a:lnTo>
                      <a:lnTo>
                        <a:pt x="60" y="35"/>
                      </a:lnTo>
                      <a:lnTo>
                        <a:pt x="59" y="35"/>
                      </a:lnTo>
                      <a:lnTo>
                        <a:pt x="57" y="34"/>
                      </a:lnTo>
                      <a:lnTo>
                        <a:pt x="55" y="32"/>
                      </a:lnTo>
                      <a:lnTo>
                        <a:pt x="55" y="30"/>
                      </a:lnTo>
                      <a:lnTo>
                        <a:pt x="54" y="30"/>
                      </a:lnTo>
                      <a:lnTo>
                        <a:pt x="52" y="30"/>
                      </a:lnTo>
                      <a:lnTo>
                        <a:pt x="49" y="30"/>
                      </a:lnTo>
                      <a:lnTo>
                        <a:pt x="45" y="29"/>
                      </a:lnTo>
                      <a:lnTo>
                        <a:pt x="45" y="32"/>
                      </a:lnTo>
                      <a:lnTo>
                        <a:pt x="45" y="34"/>
                      </a:lnTo>
                      <a:lnTo>
                        <a:pt x="47" y="37"/>
                      </a:lnTo>
                      <a:lnTo>
                        <a:pt x="49" y="37"/>
                      </a:lnTo>
                      <a:lnTo>
                        <a:pt x="49" y="41"/>
                      </a:lnTo>
                      <a:lnTo>
                        <a:pt x="50" y="44"/>
                      </a:lnTo>
                      <a:lnTo>
                        <a:pt x="50" y="46"/>
                      </a:lnTo>
                      <a:lnTo>
                        <a:pt x="50" y="49"/>
                      </a:lnTo>
                      <a:lnTo>
                        <a:pt x="52" y="51"/>
                      </a:lnTo>
                      <a:lnTo>
                        <a:pt x="49" y="51"/>
                      </a:lnTo>
                      <a:lnTo>
                        <a:pt x="47" y="51"/>
                      </a:lnTo>
                      <a:lnTo>
                        <a:pt x="45" y="51"/>
                      </a:lnTo>
                      <a:lnTo>
                        <a:pt x="44" y="51"/>
                      </a:lnTo>
                      <a:lnTo>
                        <a:pt x="42" y="51"/>
                      </a:lnTo>
                      <a:lnTo>
                        <a:pt x="40" y="51"/>
                      </a:lnTo>
                      <a:lnTo>
                        <a:pt x="39" y="51"/>
                      </a:lnTo>
                      <a:lnTo>
                        <a:pt x="37" y="51"/>
                      </a:lnTo>
                      <a:lnTo>
                        <a:pt x="34" y="52"/>
                      </a:lnTo>
                      <a:lnTo>
                        <a:pt x="32" y="51"/>
                      </a:lnTo>
                      <a:lnTo>
                        <a:pt x="28" y="49"/>
                      </a:lnTo>
                      <a:lnTo>
                        <a:pt x="27" y="47"/>
                      </a:lnTo>
                      <a:lnTo>
                        <a:pt x="23" y="47"/>
                      </a:lnTo>
                      <a:lnTo>
                        <a:pt x="22" y="47"/>
                      </a:lnTo>
                      <a:lnTo>
                        <a:pt x="20" y="47"/>
                      </a:lnTo>
                      <a:lnTo>
                        <a:pt x="18" y="49"/>
                      </a:lnTo>
                      <a:lnTo>
                        <a:pt x="17" y="49"/>
                      </a:lnTo>
                      <a:lnTo>
                        <a:pt x="15" y="51"/>
                      </a:lnTo>
                      <a:lnTo>
                        <a:pt x="13" y="51"/>
                      </a:lnTo>
                      <a:lnTo>
                        <a:pt x="10" y="51"/>
                      </a:lnTo>
                      <a:lnTo>
                        <a:pt x="8" y="51"/>
                      </a:lnTo>
                      <a:lnTo>
                        <a:pt x="5" y="52"/>
                      </a:lnTo>
                      <a:lnTo>
                        <a:pt x="1" y="54"/>
                      </a:lnTo>
                      <a:lnTo>
                        <a:pt x="0" y="56"/>
                      </a:lnTo>
                      <a:lnTo>
                        <a:pt x="0" y="57"/>
                      </a:lnTo>
                      <a:lnTo>
                        <a:pt x="3" y="57"/>
                      </a:lnTo>
                      <a:lnTo>
                        <a:pt x="7" y="56"/>
                      </a:lnTo>
                      <a:lnTo>
                        <a:pt x="7" y="57"/>
                      </a:lnTo>
                      <a:lnTo>
                        <a:pt x="5" y="57"/>
                      </a:lnTo>
                      <a:lnTo>
                        <a:pt x="3" y="59"/>
                      </a:lnTo>
                      <a:lnTo>
                        <a:pt x="3" y="61"/>
                      </a:lnTo>
                      <a:lnTo>
                        <a:pt x="7" y="61"/>
                      </a:lnTo>
                      <a:lnTo>
                        <a:pt x="3" y="62"/>
                      </a:lnTo>
                      <a:lnTo>
                        <a:pt x="1" y="62"/>
                      </a:lnTo>
                      <a:lnTo>
                        <a:pt x="3" y="64"/>
                      </a:lnTo>
                      <a:lnTo>
                        <a:pt x="5" y="66"/>
                      </a:lnTo>
                      <a:lnTo>
                        <a:pt x="7" y="68"/>
                      </a:lnTo>
                      <a:lnTo>
                        <a:pt x="10" y="66"/>
                      </a:lnTo>
                      <a:lnTo>
                        <a:pt x="13" y="66"/>
                      </a:lnTo>
                      <a:lnTo>
                        <a:pt x="15" y="68"/>
                      </a:lnTo>
                      <a:lnTo>
                        <a:pt x="18" y="69"/>
                      </a:lnTo>
                      <a:lnTo>
                        <a:pt x="22" y="69"/>
                      </a:lnTo>
                      <a:lnTo>
                        <a:pt x="23" y="71"/>
                      </a:lnTo>
                      <a:lnTo>
                        <a:pt x="25" y="71"/>
                      </a:lnTo>
                      <a:lnTo>
                        <a:pt x="25" y="73"/>
                      </a:lnTo>
                      <a:lnTo>
                        <a:pt x="27" y="73"/>
                      </a:lnTo>
                      <a:lnTo>
                        <a:pt x="30" y="71"/>
                      </a:lnTo>
                      <a:lnTo>
                        <a:pt x="32" y="73"/>
                      </a:lnTo>
                      <a:lnTo>
                        <a:pt x="30" y="73"/>
                      </a:lnTo>
                      <a:lnTo>
                        <a:pt x="35" y="73"/>
                      </a:lnTo>
                      <a:lnTo>
                        <a:pt x="37" y="74"/>
                      </a:lnTo>
                      <a:lnTo>
                        <a:pt x="37" y="76"/>
                      </a:lnTo>
                      <a:lnTo>
                        <a:pt x="37" y="78"/>
                      </a:lnTo>
                      <a:lnTo>
                        <a:pt x="40" y="78"/>
                      </a:lnTo>
                      <a:lnTo>
                        <a:pt x="45" y="78"/>
                      </a:lnTo>
                      <a:lnTo>
                        <a:pt x="47" y="79"/>
                      </a:lnTo>
                      <a:lnTo>
                        <a:pt x="45" y="79"/>
                      </a:lnTo>
                      <a:lnTo>
                        <a:pt x="42" y="79"/>
                      </a:lnTo>
                      <a:lnTo>
                        <a:pt x="42" y="81"/>
                      </a:lnTo>
                      <a:lnTo>
                        <a:pt x="44" y="84"/>
                      </a:lnTo>
                      <a:lnTo>
                        <a:pt x="42" y="86"/>
                      </a:lnTo>
                      <a:lnTo>
                        <a:pt x="45" y="89"/>
                      </a:lnTo>
                      <a:lnTo>
                        <a:pt x="47" y="93"/>
                      </a:lnTo>
                      <a:lnTo>
                        <a:pt x="50" y="94"/>
                      </a:lnTo>
                      <a:lnTo>
                        <a:pt x="54" y="96"/>
                      </a:lnTo>
                      <a:lnTo>
                        <a:pt x="57" y="98"/>
                      </a:lnTo>
                      <a:lnTo>
                        <a:pt x="57" y="100"/>
                      </a:lnTo>
                      <a:lnTo>
                        <a:pt x="59" y="101"/>
                      </a:lnTo>
                      <a:lnTo>
                        <a:pt x="59" y="105"/>
                      </a:lnTo>
                      <a:lnTo>
                        <a:pt x="57" y="108"/>
                      </a:lnTo>
                      <a:lnTo>
                        <a:pt x="59" y="110"/>
                      </a:lnTo>
                      <a:lnTo>
                        <a:pt x="60" y="111"/>
                      </a:lnTo>
                      <a:lnTo>
                        <a:pt x="64" y="115"/>
                      </a:lnTo>
                      <a:lnTo>
                        <a:pt x="64" y="118"/>
                      </a:lnTo>
                      <a:lnTo>
                        <a:pt x="64" y="116"/>
                      </a:lnTo>
                      <a:lnTo>
                        <a:pt x="62" y="115"/>
                      </a:lnTo>
                      <a:lnTo>
                        <a:pt x="59" y="113"/>
                      </a:lnTo>
                      <a:lnTo>
                        <a:pt x="59" y="115"/>
                      </a:lnTo>
                      <a:lnTo>
                        <a:pt x="59" y="118"/>
                      </a:lnTo>
                      <a:lnTo>
                        <a:pt x="57" y="123"/>
                      </a:lnTo>
                      <a:lnTo>
                        <a:pt x="57" y="127"/>
                      </a:lnTo>
                      <a:lnTo>
                        <a:pt x="59" y="128"/>
                      </a:lnTo>
                      <a:lnTo>
                        <a:pt x="59" y="130"/>
                      </a:lnTo>
                      <a:lnTo>
                        <a:pt x="57" y="135"/>
                      </a:lnTo>
                      <a:lnTo>
                        <a:pt x="55" y="140"/>
                      </a:lnTo>
                      <a:lnTo>
                        <a:pt x="54" y="145"/>
                      </a:lnTo>
                      <a:lnTo>
                        <a:pt x="54" y="148"/>
                      </a:lnTo>
                      <a:lnTo>
                        <a:pt x="52" y="152"/>
                      </a:lnTo>
                      <a:lnTo>
                        <a:pt x="49" y="153"/>
                      </a:lnTo>
                      <a:lnTo>
                        <a:pt x="47" y="153"/>
                      </a:lnTo>
                      <a:lnTo>
                        <a:pt x="47" y="155"/>
                      </a:lnTo>
                      <a:lnTo>
                        <a:pt x="49" y="155"/>
                      </a:lnTo>
                      <a:lnTo>
                        <a:pt x="50" y="157"/>
                      </a:lnTo>
                      <a:lnTo>
                        <a:pt x="54" y="159"/>
                      </a:lnTo>
                      <a:lnTo>
                        <a:pt x="55" y="160"/>
                      </a:lnTo>
                      <a:lnTo>
                        <a:pt x="59" y="160"/>
                      </a:lnTo>
                      <a:lnTo>
                        <a:pt x="62" y="162"/>
                      </a:lnTo>
                      <a:lnTo>
                        <a:pt x="64" y="164"/>
                      </a:lnTo>
                      <a:lnTo>
                        <a:pt x="67" y="165"/>
                      </a:lnTo>
                      <a:lnTo>
                        <a:pt x="72" y="165"/>
                      </a:lnTo>
                      <a:lnTo>
                        <a:pt x="77" y="167"/>
                      </a:lnTo>
                      <a:lnTo>
                        <a:pt x="81" y="167"/>
                      </a:lnTo>
                      <a:lnTo>
                        <a:pt x="82" y="167"/>
                      </a:lnTo>
                      <a:lnTo>
                        <a:pt x="86" y="165"/>
                      </a:lnTo>
                      <a:lnTo>
                        <a:pt x="89" y="165"/>
                      </a:lnTo>
                      <a:lnTo>
                        <a:pt x="91" y="165"/>
                      </a:lnTo>
                      <a:lnTo>
                        <a:pt x="93" y="167"/>
                      </a:lnTo>
                      <a:lnTo>
                        <a:pt x="94" y="169"/>
                      </a:lnTo>
                      <a:lnTo>
                        <a:pt x="96" y="169"/>
                      </a:lnTo>
                      <a:lnTo>
                        <a:pt x="99" y="169"/>
                      </a:lnTo>
                      <a:lnTo>
                        <a:pt x="101" y="170"/>
                      </a:lnTo>
                      <a:lnTo>
                        <a:pt x="103" y="172"/>
                      </a:lnTo>
                      <a:lnTo>
                        <a:pt x="106" y="172"/>
                      </a:lnTo>
                      <a:lnTo>
                        <a:pt x="109" y="172"/>
                      </a:lnTo>
                      <a:lnTo>
                        <a:pt x="114" y="172"/>
                      </a:lnTo>
                      <a:lnTo>
                        <a:pt x="118" y="172"/>
                      </a:lnTo>
                      <a:lnTo>
                        <a:pt x="121" y="172"/>
                      </a:lnTo>
                      <a:lnTo>
                        <a:pt x="123" y="172"/>
                      </a:lnTo>
                      <a:lnTo>
                        <a:pt x="123" y="165"/>
                      </a:lnTo>
                      <a:lnTo>
                        <a:pt x="121" y="164"/>
                      </a:lnTo>
                      <a:lnTo>
                        <a:pt x="123" y="160"/>
                      </a:lnTo>
                      <a:lnTo>
                        <a:pt x="125" y="157"/>
                      </a:lnTo>
                      <a:lnTo>
                        <a:pt x="128" y="155"/>
                      </a:lnTo>
                      <a:lnTo>
                        <a:pt x="130" y="155"/>
                      </a:lnTo>
                      <a:lnTo>
                        <a:pt x="131" y="153"/>
                      </a:lnTo>
                      <a:lnTo>
                        <a:pt x="133" y="153"/>
                      </a:lnTo>
                      <a:lnTo>
                        <a:pt x="135" y="152"/>
                      </a:lnTo>
                      <a:lnTo>
                        <a:pt x="136" y="150"/>
                      </a:lnTo>
                      <a:lnTo>
                        <a:pt x="138" y="150"/>
                      </a:lnTo>
                      <a:lnTo>
                        <a:pt x="140" y="152"/>
                      </a:lnTo>
                      <a:lnTo>
                        <a:pt x="141" y="152"/>
                      </a:lnTo>
                      <a:lnTo>
                        <a:pt x="143" y="152"/>
                      </a:lnTo>
                      <a:lnTo>
                        <a:pt x="145" y="152"/>
                      </a:lnTo>
                      <a:lnTo>
                        <a:pt x="145" y="153"/>
                      </a:lnTo>
                      <a:lnTo>
                        <a:pt x="148" y="153"/>
                      </a:lnTo>
                      <a:lnTo>
                        <a:pt x="150" y="153"/>
                      </a:lnTo>
                      <a:lnTo>
                        <a:pt x="152" y="153"/>
                      </a:lnTo>
                      <a:lnTo>
                        <a:pt x="153" y="153"/>
                      </a:lnTo>
                      <a:lnTo>
                        <a:pt x="152" y="152"/>
                      </a:lnTo>
                      <a:lnTo>
                        <a:pt x="153" y="153"/>
                      </a:lnTo>
                      <a:lnTo>
                        <a:pt x="157" y="153"/>
                      </a:lnTo>
                      <a:lnTo>
                        <a:pt x="158" y="155"/>
                      </a:lnTo>
                      <a:lnTo>
                        <a:pt x="160" y="157"/>
                      </a:lnTo>
                      <a:lnTo>
                        <a:pt x="162" y="157"/>
                      </a:lnTo>
                      <a:lnTo>
                        <a:pt x="163" y="157"/>
                      </a:lnTo>
                      <a:lnTo>
                        <a:pt x="163" y="159"/>
                      </a:lnTo>
                      <a:lnTo>
                        <a:pt x="165" y="159"/>
                      </a:lnTo>
                      <a:lnTo>
                        <a:pt x="167" y="159"/>
                      </a:lnTo>
                      <a:lnTo>
                        <a:pt x="168" y="159"/>
                      </a:lnTo>
                      <a:lnTo>
                        <a:pt x="170" y="159"/>
                      </a:lnTo>
                      <a:lnTo>
                        <a:pt x="172" y="159"/>
                      </a:lnTo>
                      <a:lnTo>
                        <a:pt x="173" y="157"/>
                      </a:lnTo>
                      <a:lnTo>
                        <a:pt x="177" y="157"/>
                      </a:lnTo>
                      <a:lnTo>
                        <a:pt x="177" y="155"/>
                      </a:lnTo>
                      <a:lnTo>
                        <a:pt x="177" y="153"/>
                      </a:lnTo>
                      <a:lnTo>
                        <a:pt x="179" y="153"/>
                      </a:lnTo>
                      <a:lnTo>
                        <a:pt x="180" y="152"/>
                      </a:lnTo>
                      <a:lnTo>
                        <a:pt x="182" y="150"/>
                      </a:lnTo>
                      <a:lnTo>
                        <a:pt x="184" y="150"/>
                      </a:lnTo>
                      <a:lnTo>
                        <a:pt x="185" y="148"/>
                      </a:lnTo>
                      <a:lnTo>
                        <a:pt x="185" y="147"/>
                      </a:lnTo>
                      <a:lnTo>
                        <a:pt x="187" y="147"/>
                      </a:lnTo>
                      <a:lnTo>
                        <a:pt x="189" y="145"/>
                      </a:lnTo>
                      <a:lnTo>
                        <a:pt x="190" y="145"/>
                      </a:lnTo>
                      <a:lnTo>
                        <a:pt x="190" y="14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43" name="Group 1942">
                <a:extLst>
                  <a:ext uri="{FF2B5EF4-FFF2-40B4-BE49-F238E27FC236}">
                    <a16:creationId xmlns:a16="http://schemas.microsoft.com/office/drawing/2014/main" id="{31982B53-11D9-2B41-9409-65A5E74DC24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95" y="640"/>
                <a:ext cx="15" cy="31"/>
                <a:chOff x="295" y="640"/>
                <a:chExt cx="15" cy="31"/>
              </a:xfrm>
            </p:grpSpPr>
            <p:sp>
              <p:nvSpPr>
                <p:cNvPr id="1944" name="Freeform 318">
                  <a:extLst>
                    <a:ext uri="{FF2B5EF4-FFF2-40B4-BE49-F238E27FC236}">
                      <a16:creationId xmlns:a16="http://schemas.microsoft.com/office/drawing/2014/main" id="{FBADB57C-9E42-DE4C-91DB-55EE612504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" y="640"/>
                  <a:ext cx="15" cy="31"/>
                </a:xfrm>
                <a:custGeom>
                  <a:avLst/>
                  <a:gdLst>
                    <a:gd name="T0" fmla="*/ 12 w 15"/>
                    <a:gd name="T1" fmla="*/ 0 h 31"/>
                    <a:gd name="T2" fmla="*/ 12 w 15"/>
                    <a:gd name="T3" fmla="*/ 2 h 31"/>
                    <a:gd name="T4" fmla="*/ 12 w 15"/>
                    <a:gd name="T5" fmla="*/ 4 h 31"/>
                    <a:gd name="T6" fmla="*/ 10 w 15"/>
                    <a:gd name="T7" fmla="*/ 5 h 31"/>
                    <a:gd name="T8" fmla="*/ 9 w 15"/>
                    <a:gd name="T9" fmla="*/ 5 h 31"/>
                    <a:gd name="T10" fmla="*/ 7 w 15"/>
                    <a:gd name="T11" fmla="*/ 7 h 31"/>
                    <a:gd name="T12" fmla="*/ 5 w 15"/>
                    <a:gd name="T13" fmla="*/ 7 h 31"/>
                    <a:gd name="T14" fmla="*/ 4 w 15"/>
                    <a:gd name="T15" fmla="*/ 9 h 31"/>
                    <a:gd name="T16" fmla="*/ 2 w 15"/>
                    <a:gd name="T17" fmla="*/ 7 h 31"/>
                    <a:gd name="T18" fmla="*/ 2 w 15"/>
                    <a:gd name="T19" fmla="*/ 9 h 31"/>
                    <a:gd name="T20" fmla="*/ 0 w 15"/>
                    <a:gd name="T21" fmla="*/ 10 h 31"/>
                    <a:gd name="T22" fmla="*/ 0 w 15"/>
                    <a:gd name="T23" fmla="*/ 12 h 31"/>
                    <a:gd name="T24" fmla="*/ 0 w 15"/>
                    <a:gd name="T25" fmla="*/ 14 h 31"/>
                    <a:gd name="T26" fmla="*/ 0 w 15"/>
                    <a:gd name="T27" fmla="*/ 15 h 31"/>
                    <a:gd name="T28" fmla="*/ 2 w 15"/>
                    <a:gd name="T29" fmla="*/ 17 h 31"/>
                    <a:gd name="T30" fmla="*/ 2 w 15"/>
                    <a:gd name="T31" fmla="*/ 20 h 31"/>
                    <a:gd name="T32" fmla="*/ 2 w 15"/>
                    <a:gd name="T33" fmla="*/ 22 h 31"/>
                    <a:gd name="T34" fmla="*/ 2 w 15"/>
                    <a:gd name="T35" fmla="*/ 24 h 31"/>
                    <a:gd name="T36" fmla="*/ 4 w 15"/>
                    <a:gd name="T37" fmla="*/ 24 h 31"/>
                    <a:gd name="T38" fmla="*/ 4 w 15"/>
                    <a:gd name="T39" fmla="*/ 26 h 31"/>
                    <a:gd name="T40" fmla="*/ 5 w 15"/>
                    <a:gd name="T41" fmla="*/ 27 h 31"/>
                    <a:gd name="T42" fmla="*/ 7 w 15"/>
                    <a:gd name="T43" fmla="*/ 29 h 31"/>
                    <a:gd name="T44" fmla="*/ 9 w 15"/>
                    <a:gd name="T45" fmla="*/ 29 h 31"/>
                    <a:gd name="T46" fmla="*/ 10 w 15"/>
                    <a:gd name="T47" fmla="*/ 31 h 31"/>
                    <a:gd name="T48" fmla="*/ 10 w 15"/>
                    <a:gd name="T49" fmla="*/ 29 h 31"/>
                    <a:gd name="T50" fmla="*/ 10 w 15"/>
                    <a:gd name="T51" fmla="*/ 27 h 31"/>
                    <a:gd name="T52" fmla="*/ 12 w 15"/>
                    <a:gd name="T53" fmla="*/ 27 h 31"/>
                    <a:gd name="T54" fmla="*/ 12 w 15"/>
                    <a:gd name="T55" fmla="*/ 26 h 31"/>
                    <a:gd name="T56" fmla="*/ 12 w 15"/>
                    <a:gd name="T57" fmla="*/ 24 h 31"/>
                    <a:gd name="T58" fmla="*/ 14 w 15"/>
                    <a:gd name="T59" fmla="*/ 22 h 31"/>
                    <a:gd name="T60" fmla="*/ 14 w 15"/>
                    <a:gd name="T61" fmla="*/ 20 h 31"/>
                    <a:gd name="T62" fmla="*/ 14 w 15"/>
                    <a:gd name="T63" fmla="*/ 17 h 31"/>
                    <a:gd name="T64" fmla="*/ 15 w 15"/>
                    <a:gd name="T65" fmla="*/ 15 h 31"/>
                    <a:gd name="T66" fmla="*/ 14 w 15"/>
                    <a:gd name="T67" fmla="*/ 10 h 31"/>
                    <a:gd name="T68" fmla="*/ 14 w 15"/>
                    <a:gd name="T69" fmla="*/ 9 h 31"/>
                    <a:gd name="T70" fmla="*/ 14 w 15"/>
                    <a:gd name="T71" fmla="*/ 5 h 31"/>
                    <a:gd name="T72" fmla="*/ 14 w 15"/>
                    <a:gd name="T73" fmla="*/ 4 h 31"/>
                    <a:gd name="T74" fmla="*/ 14 w 15"/>
                    <a:gd name="T75" fmla="*/ 0 h 31"/>
                    <a:gd name="T76" fmla="*/ 12 w 15"/>
                    <a:gd name="T77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5" h="31">
                      <a:moveTo>
                        <a:pt x="12" y="0"/>
                      </a:moveTo>
                      <a:lnTo>
                        <a:pt x="12" y="2"/>
                      </a:lnTo>
                      <a:lnTo>
                        <a:pt x="12" y="4"/>
                      </a:lnTo>
                      <a:lnTo>
                        <a:pt x="10" y="5"/>
                      </a:lnTo>
                      <a:lnTo>
                        <a:pt x="9" y="5"/>
                      </a:lnTo>
                      <a:lnTo>
                        <a:pt x="7" y="7"/>
                      </a:lnTo>
                      <a:lnTo>
                        <a:pt x="5" y="7"/>
                      </a:lnTo>
                      <a:lnTo>
                        <a:pt x="4" y="9"/>
                      </a:lnTo>
                      <a:lnTo>
                        <a:pt x="2" y="7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2" y="17"/>
                      </a:lnTo>
                      <a:lnTo>
                        <a:pt x="2" y="20"/>
                      </a:lnTo>
                      <a:lnTo>
                        <a:pt x="2" y="22"/>
                      </a:lnTo>
                      <a:lnTo>
                        <a:pt x="2" y="24"/>
                      </a:lnTo>
                      <a:lnTo>
                        <a:pt x="4" y="24"/>
                      </a:lnTo>
                      <a:lnTo>
                        <a:pt x="4" y="26"/>
                      </a:lnTo>
                      <a:lnTo>
                        <a:pt x="5" y="27"/>
                      </a:lnTo>
                      <a:lnTo>
                        <a:pt x="7" y="29"/>
                      </a:lnTo>
                      <a:lnTo>
                        <a:pt x="9" y="29"/>
                      </a:lnTo>
                      <a:lnTo>
                        <a:pt x="10" y="31"/>
                      </a:lnTo>
                      <a:lnTo>
                        <a:pt x="10" y="29"/>
                      </a:lnTo>
                      <a:lnTo>
                        <a:pt x="10" y="27"/>
                      </a:lnTo>
                      <a:lnTo>
                        <a:pt x="12" y="27"/>
                      </a:lnTo>
                      <a:lnTo>
                        <a:pt x="12" y="26"/>
                      </a:lnTo>
                      <a:lnTo>
                        <a:pt x="12" y="24"/>
                      </a:lnTo>
                      <a:lnTo>
                        <a:pt x="14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5" y="15"/>
                      </a:lnTo>
                      <a:lnTo>
                        <a:pt x="14" y="10"/>
                      </a:lnTo>
                      <a:lnTo>
                        <a:pt x="14" y="9"/>
                      </a:lnTo>
                      <a:lnTo>
                        <a:pt x="14" y="5"/>
                      </a:lnTo>
                      <a:lnTo>
                        <a:pt x="14" y="4"/>
                      </a:lnTo>
                      <a:lnTo>
                        <a:pt x="14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45" name="Freeform 319">
                  <a:extLst>
                    <a:ext uri="{FF2B5EF4-FFF2-40B4-BE49-F238E27FC236}">
                      <a16:creationId xmlns:a16="http://schemas.microsoft.com/office/drawing/2014/main" id="{BD561158-1BED-EC47-A65B-1928F2E54B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" y="640"/>
                  <a:ext cx="15" cy="31"/>
                </a:xfrm>
                <a:custGeom>
                  <a:avLst/>
                  <a:gdLst>
                    <a:gd name="T0" fmla="*/ 12 w 15"/>
                    <a:gd name="T1" fmla="*/ 0 h 31"/>
                    <a:gd name="T2" fmla="*/ 12 w 15"/>
                    <a:gd name="T3" fmla="*/ 2 h 31"/>
                    <a:gd name="T4" fmla="*/ 12 w 15"/>
                    <a:gd name="T5" fmla="*/ 4 h 31"/>
                    <a:gd name="T6" fmla="*/ 10 w 15"/>
                    <a:gd name="T7" fmla="*/ 5 h 31"/>
                    <a:gd name="T8" fmla="*/ 9 w 15"/>
                    <a:gd name="T9" fmla="*/ 5 h 31"/>
                    <a:gd name="T10" fmla="*/ 7 w 15"/>
                    <a:gd name="T11" fmla="*/ 7 h 31"/>
                    <a:gd name="T12" fmla="*/ 5 w 15"/>
                    <a:gd name="T13" fmla="*/ 7 h 31"/>
                    <a:gd name="T14" fmla="*/ 4 w 15"/>
                    <a:gd name="T15" fmla="*/ 9 h 31"/>
                    <a:gd name="T16" fmla="*/ 2 w 15"/>
                    <a:gd name="T17" fmla="*/ 7 h 31"/>
                    <a:gd name="T18" fmla="*/ 2 w 15"/>
                    <a:gd name="T19" fmla="*/ 9 h 31"/>
                    <a:gd name="T20" fmla="*/ 0 w 15"/>
                    <a:gd name="T21" fmla="*/ 10 h 31"/>
                    <a:gd name="T22" fmla="*/ 0 w 15"/>
                    <a:gd name="T23" fmla="*/ 12 h 31"/>
                    <a:gd name="T24" fmla="*/ 0 w 15"/>
                    <a:gd name="T25" fmla="*/ 14 h 31"/>
                    <a:gd name="T26" fmla="*/ 0 w 15"/>
                    <a:gd name="T27" fmla="*/ 15 h 31"/>
                    <a:gd name="T28" fmla="*/ 2 w 15"/>
                    <a:gd name="T29" fmla="*/ 17 h 31"/>
                    <a:gd name="T30" fmla="*/ 2 w 15"/>
                    <a:gd name="T31" fmla="*/ 20 h 31"/>
                    <a:gd name="T32" fmla="*/ 2 w 15"/>
                    <a:gd name="T33" fmla="*/ 22 h 31"/>
                    <a:gd name="T34" fmla="*/ 2 w 15"/>
                    <a:gd name="T35" fmla="*/ 24 h 31"/>
                    <a:gd name="T36" fmla="*/ 4 w 15"/>
                    <a:gd name="T37" fmla="*/ 24 h 31"/>
                    <a:gd name="T38" fmla="*/ 4 w 15"/>
                    <a:gd name="T39" fmla="*/ 26 h 31"/>
                    <a:gd name="T40" fmla="*/ 5 w 15"/>
                    <a:gd name="T41" fmla="*/ 27 h 31"/>
                    <a:gd name="T42" fmla="*/ 7 w 15"/>
                    <a:gd name="T43" fmla="*/ 29 h 31"/>
                    <a:gd name="T44" fmla="*/ 9 w 15"/>
                    <a:gd name="T45" fmla="*/ 29 h 31"/>
                    <a:gd name="T46" fmla="*/ 10 w 15"/>
                    <a:gd name="T47" fmla="*/ 31 h 31"/>
                    <a:gd name="T48" fmla="*/ 10 w 15"/>
                    <a:gd name="T49" fmla="*/ 29 h 31"/>
                    <a:gd name="T50" fmla="*/ 10 w 15"/>
                    <a:gd name="T51" fmla="*/ 27 h 31"/>
                    <a:gd name="T52" fmla="*/ 12 w 15"/>
                    <a:gd name="T53" fmla="*/ 27 h 31"/>
                    <a:gd name="T54" fmla="*/ 12 w 15"/>
                    <a:gd name="T55" fmla="*/ 26 h 31"/>
                    <a:gd name="T56" fmla="*/ 12 w 15"/>
                    <a:gd name="T57" fmla="*/ 24 h 31"/>
                    <a:gd name="T58" fmla="*/ 14 w 15"/>
                    <a:gd name="T59" fmla="*/ 22 h 31"/>
                    <a:gd name="T60" fmla="*/ 14 w 15"/>
                    <a:gd name="T61" fmla="*/ 20 h 31"/>
                    <a:gd name="T62" fmla="*/ 14 w 15"/>
                    <a:gd name="T63" fmla="*/ 17 h 31"/>
                    <a:gd name="T64" fmla="*/ 15 w 15"/>
                    <a:gd name="T65" fmla="*/ 15 h 31"/>
                    <a:gd name="T66" fmla="*/ 14 w 15"/>
                    <a:gd name="T67" fmla="*/ 10 h 31"/>
                    <a:gd name="T68" fmla="*/ 14 w 15"/>
                    <a:gd name="T69" fmla="*/ 9 h 31"/>
                    <a:gd name="T70" fmla="*/ 14 w 15"/>
                    <a:gd name="T71" fmla="*/ 5 h 31"/>
                    <a:gd name="T72" fmla="*/ 14 w 15"/>
                    <a:gd name="T73" fmla="*/ 4 h 31"/>
                    <a:gd name="T74" fmla="*/ 14 w 15"/>
                    <a:gd name="T75" fmla="*/ 0 h 31"/>
                    <a:gd name="T76" fmla="*/ 12 w 15"/>
                    <a:gd name="T77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5" h="31">
                      <a:moveTo>
                        <a:pt x="12" y="0"/>
                      </a:moveTo>
                      <a:lnTo>
                        <a:pt x="12" y="2"/>
                      </a:lnTo>
                      <a:lnTo>
                        <a:pt x="12" y="4"/>
                      </a:lnTo>
                      <a:lnTo>
                        <a:pt x="10" y="5"/>
                      </a:lnTo>
                      <a:lnTo>
                        <a:pt x="9" y="5"/>
                      </a:lnTo>
                      <a:lnTo>
                        <a:pt x="7" y="7"/>
                      </a:lnTo>
                      <a:lnTo>
                        <a:pt x="5" y="7"/>
                      </a:lnTo>
                      <a:lnTo>
                        <a:pt x="4" y="9"/>
                      </a:lnTo>
                      <a:lnTo>
                        <a:pt x="2" y="7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2" y="17"/>
                      </a:lnTo>
                      <a:lnTo>
                        <a:pt x="2" y="20"/>
                      </a:lnTo>
                      <a:lnTo>
                        <a:pt x="2" y="22"/>
                      </a:lnTo>
                      <a:lnTo>
                        <a:pt x="2" y="24"/>
                      </a:lnTo>
                      <a:lnTo>
                        <a:pt x="4" y="24"/>
                      </a:lnTo>
                      <a:lnTo>
                        <a:pt x="4" y="26"/>
                      </a:lnTo>
                      <a:lnTo>
                        <a:pt x="5" y="27"/>
                      </a:lnTo>
                      <a:lnTo>
                        <a:pt x="7" y="29"/>
                      </a:lnTo>
                      <a:lnTo>
                        <a:pt x="9" y="29"/>
                      </a:lnTo>
                      <a:lnTo>
                        <a:pt x="10" y="31"/>
                      </a:lnTo>
                      <a:lnTo>
                        <a:pt x="10" y="29"/>
                      </a:lnTo>
                      <a:lnTo>
                        <a:pt x="10" y="27"/>
                      </a:lnTo>
                      <a:lnTo>
                        <a:pt x="12" y="27"/>
                      </a:lnTo>
                      <a:lnTo>
                        <a:pt x="12" y="26"/>
                      </a:lnTo>
                      <a:lnTo>
                        <a:pt x="12" y="24"/>
                      </a:lnTo>
                      <a:lnTo>
                        <a:pt x="14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5" y="15"/>
                      </a:lnTo>
                      <a:lnTo>
                        <a:pt x="14" y="10"/>
                      </a:lnTo>
                      <a:lnTo>
                        <a:pt x="14" y="9"/>
                      </a:lnTo>
                      <a:lnTo>
                        <a:pt x="14" y="5"/>
                      </a:lnTo>
                      <a:lnTo>
                        <a:pt x="14" y="4"/>
                      </a:lnTo>
                      <a:lnTo>
                        <a:pt x="14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649" name="Group 1648">
              <a:extLst>
                <a:ext uri="{FF2B5EF4-FFF2-40B4-BE49-F238E27FC236}">
                  <a16:creationId xmlns:a16="http://schemas.microsoft.com/office/drawing/2014/main" id="{FCAD7BEA-A528-1847-B98A-EEE061DB64F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53" y="399"/>
              <a:ext cx="140" cy="157"/>
              <a:chOff x="253" y="399"/>
              <a:chExt cx="140" cy="157"/>
            </a:xfrm>
          </p:grpSpPr>
          <p:grpSp>
            <p:nvGrpSpPr>
              <p:cNvPr id="1936" name="Group 1935">
                <a:extLst>
                  <a:ext uri="{FF2B5EF4-FFF2-40B4-BE49-F238E27FC236}">
                    <a16:creationId xmlns:a16="http://schemas.microsoft.com/office/drawing/2014/main" id="{CB3EA2AA-78B5-5741-B0C0-5645786C86A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53" y="399"/>
                <a:ext cx="140" cy="157"/>
                <a:chOff x="253" y="399"/>
                <a:chExt cx="140" cy="157"/>
              </a:xfrm>
            </p:grpSpPr>
            <p:sp>
              <p:nvSpPr>
                <p:cNvPr id="1940" name="Freeform 314">
                  <a:extLst>
                    <a:ext uri="{FF2B5EF4-FFF2-40B4-BE49-F238E27FC236}">
                      <a16:creationId xmlns:a16="http://schemas.microsoft.com/office/drawing/2014/main" id="{82F324FB-3E10-BF41-A0B7-B4C10099A2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3" y="399"/>
                  <a:ext cx="140" cy="157"/>
                </a:xfrm>
                <a:custGeom>
                  <a:avLst/>
                  <a:gdLst>
                    <a:gd name="T0" fmla="*/ 2 w 140"/>
                    <a:gd name="T1" fmla="*/ 79 h 157"/>
                    <a:gd name="T2" fmla="*/ 2 w 140"/>
                    <a:gd name="T3" fmla="*/ 66 h 157"/>
                    <a:gd name="T4" fmla="*/ 12 w 140"/>
                    <a:gd name="T5" fmla="*/ 63 h 157"/>
                    <a:gd name="T6" fmla="*/ 15 w 140"/>
                    <a:gd name="T7" fmla="*/ 52 h 157"/>
                    <a:gd name="T8" fmla="*/ 17 w 140"/>
                    <a:gd name="T9" fmla="*/ 42 h 157"/>
                    <a:gd name="T10" fmla="*/ 25 w 140"/>
                    <a:gd name="T11" fmla="*/ 37 h 157"/>
                    <a:gd name="T12" fmla="*/ 19 w 140"/>
                    <a:gd name="T13" fmla="*/ 32 h 157"/>
                    <a:gd name="T14" fmla="*/ 29 w 140"/>
                    <a:gd name="T15" fmla="*/ 27 h 157"/>
                    <a:gd name="T16" fmla="*/ 37 w 140"/>
                    <a:gd name="T17" fmla="*/ 31 h 157"/>
                    <a:gd name="T18" fmla="*/ 41 w 140"/>
                    <a:gd name="T19" fmla="*/ 31 h 157"/>
                    <a:gd name="T20" fmla="*/ 44 w 140"/>
                    <a:gd name="T21" fmla="*/ 24 h 157"/>
                    <a:gd name="T22" fmla="*/ 46 w 140"/>
                    <a:gd name="T23" fmla="*/ 19 h 157"/>
                    <a:gd name="T24" fmla="*/ 44 w 140"/>
                    <a:gd name="T25" fmla="*/ 14 h 157"/>
                    <a:gd name="T26" fmla="*/ 47 w 140"/>
                    <a:gd name="T27" fmla="*/ 9 h 157"/>
                    <a:gd name="T28" fmla="*/ 44 w 140"/>
                    <a:gd name="T29" fmla="*/ 0 h 157"/>
                    <a:gd name="T30" fmla="*/ 54 w 140"/>
                    <a:gd name="T31" fmla="*/ 2 h 157"/>
                    <a:gd name="T32" fmla="*/ 61 w 140"/>
                    <a:gd name="T33" fmla="*/ 4 h 157"/>
                    <a:gd name="T34" fmla="*/ 64 w 140"/>
                    <a:gd name="T35" fmla="*/ 10 h 157"/>
                    <a:gd name="T36" fmla="*/ 71 w 140"/>
                    <a:gd name="T37" fmla="*/ 14 h 157"/>
                    <a:gd name="T38" fmla="*/ 79 w 140"/>
                    <a:gd name="T39" fmla="*/ 15 h 157"/>
                    <a:gd name="T40" fmla="*/ 78 w 140"/>
                    <a:gd name="T41" fmla="*/ 22 h 157"/>
                    <a:gd name="T42" fmla="*/ 84 w 140"/>
                    <a:gd name="T43" fmla="*/ 20 h 157"/>
                    <a:gd name="T44" fmla="*/ 94 w 140"/>
                    <a:gd name="T45" fmla="*/ 15 h 157"/>
                    <a:gd name="T46" fmla="*/ 101 w 140"/>
                    <a:gd name="T47" fmla="*/ 10 h 157"/>
                    <a:gd name="T48" fmla="*/ 100 w 140"/>
                    <a:gd name="T49" fmla="*/ 15 h 157"/>
                    <a:gd name="T50" fmla="*/ 110 w 140"/>
                    <a:gd name="T51" fmla="*/ 14 h 157"/>
                    <a:gd name="T52" fmla="*/ 118 w 140"/>
                    <a:gd name="T53" fmla="*/ 17 h 157"/>
                    <a:gd name="T54" fmla="*/ 123 w 140"/>
                    <a:gd name="T55" fmla="*/ 24 h 157"/>
                    <a:gd name="T56" fmla="*/ 132 w 140"/>
                    <a:gd name="T57" fmla="*/ 32 h 157"/>
                    <a:gd name="T58" fmla="*/ 128 w 140"/>
                    <a:gd name="T59" fmla="*/ 44 h 157"/>
                    <a:gd name="T60" fmla="*/ 133 w 140"/>
                    <a:gd name="T61" fmla="*/ 52 h 157"/>
                    <a:gd name="T62" fmla="*/ 135 w 140"/>
                    <a:gd name="T63" fmla="*/ 66 h 157"/>
                    <a:gd name="T64" fmla="*/ 140 w 140"/>
                    <a:gd name="T65" fmla="*/ 76 h 157"/>
                    <a:gd name="T66" fmla="*/ 137 w 140"/>
                    <a:gd name="T67" fmla="*/ 86 h 157"/>
                    <a:gd name="T68" fmla="*/ 128 w 140"/>
                    <a:gd name="T69" fmla="*/ 83 h 157"/>
                    <a:gd name="T70" fmla="*/ 115 w 140"/>
                    <a:gd name="T71" fmla="*/ 93 h 157"/>
                    <a:gd name="T72" fmla="*/ 103 w 140"/>
                    <a:gd name="T73" fmla="*/ 96 h 157"/>
                    <a:gd name="T74" fmla="*/ 98 w 140"/>
                    <a:gd name="T75" fmla="*/ 101 h 157"/>
                    <a:gd name="T76" fmla="*/ 100 w 140"/>
                    <a:gd name="T77" fmla="*/ 105 h 157"/>
                    <a:gd name="T78" fmla="*/ 111 w 140"/>
                    <a:gd name="T79" fmla="*/ 120 h 157"/>
                    <a:gd name="T80" fmla="*/ 121 w 140"/>
                    <a:gd name="T81" fmla="*/ 132 h 157"/>
                    <a:gd name="T82" fmla="*/ 113 w 140"/>
                    <a:gd name="T83" fmla="*/ 138 h 157"/>
                    <a:gd name="T84" fmla="*/ 110 w 140"/>
                    <a:gd name="T85" fmla="*/ 152 h 157"/>
                    <a:gd name="T86" fmla="*/ 100 w 140"/>
                    <a:gd name="T87" fmla="*/ 150 h 157"/>
                    <a:gd name="T88" fmla="*/ 86 w 140"/>
                    <a:gd name="T89" fmla="*/ 154 h 157"/>
                    <a:gd name="T90" fmla="*/ 71 w 140"/>
                    <a:gd name="T91" fmla="*/ 155 h 157"/>
                    <a:gd name="T92" fmla="*/ 61 w 140"/>
                    <a:gd name="T93" fmla="*/ 154 h 157"/>
                    <a:gd name="T94" fmla="*/ 47 w 140"/>
                    <a:gd name="T95" fmla="*/ 152 h 157"/>
                    <a:gd name="T96" fmla="*/ 30 w 140"/>
                    <a:gd name="T97" fmla="*/ 154 h 157"/>
                    <a:gd name="T98" fmla="*/ 25 w 140"/>
                    <a:gd name="T99" fmla="*/ 142 h 157"/>
                    <a:gd name="T100" fmla="*/ 32 w 140"/>
                    <a:gd name="T101" fmla="*/ 128 h 157"/>
                    <a:gd name="T102" fmla="*/ 19 w 140"/>
                    <a:gd name="T103" fmla="*/ 120 h 157"/>
                    <a:gd name="T104" fmla="*/ 7 w 140"/>
                    <a:gd name="T105" fmla="*/ 115 h 157"/>
                    <a:gd name="T106" fmla="*/ 3 w 140"/>
                    <a:gd name="T107" fmla="*/ 105 h 157"/>
                    <a:gd name="T108" fmla="*/ 5 w 140"/>
                    <a:gd name="T109" fmla="*/ 96 h 157"/>
                    <a:gd name="T110" fmla="*/ 2 w 140"/>
                    <a:gd name="T111" fmla="*/ 9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40" h="157">
                      <a:moveTo>
                        <a:pt x="2" y="88"/>
                      </a:moveTo>
                      <a:lnTo>
                        <a:pt x="2" y="86"/>
                      </a:lnTo>
                      <a:lnTo>
                        <a:pt x="0" y="83"/>
                      </a:lnTo>
                      <a:lnTo>
                        <a:pt x="0" y="81"/>
                      </a:lnTo>
                      <a:lnTo>
                        <a:pt x="2" y="79"/>
                      </a:lnTo>
                      <a:lnTo>
                        <a:pt x="2" y="78"/>
                      </a:lnTo>
                      <a:lnTo>
                        <a:pt x="2" y="76"/>
                      </a:lnTo>
                      <a:lnTo>
                        <a:pt x="2" y="73"/>
                      </a:lnTo>
                      <a:lnTo>
                        <a:pt x="2" y="71"/>
                      </a:lnTo>
                      <a:lnTo>
                        <a:pt x="2" y="66"/>
                      </a:lnTo>
                      <a:lnTo>
                        <a:pt x="2" y="64"/>
                      </a:lnTo>
                      <a:lnTo>
                        <a:pt x="3" y="64"/>
                      </a:lnTo>
                      <a:lnTo>
                        <a:pt x="8" y="66"/>
                      </a:lnTo>
                      <a:lnTo>
                        <a:pt x="10" y="66"/>
                      </a:lnTo>
                      <a:lnTo>
                        <a:pt x="12" y="63"/>
                      </a:lnTo>
                      <a:lnTo>
                        <a:pt x="12" y="61"/>
                      </a:lnTo>
                      <a:lnTo>
                        <a:pt x="15" y="59"/>
                      </a:lnTo>
                      <a:lnTo>
                        <a:pt x="17" y="56"/>
                      </a:lnTo>
                      <a:lnTo>
                        <a:pt x="17" y="54"/>
                      </a:lnTo>
                      <a:lnTo>
                        <a:pt x="15" y="52"/>
                      </a:lnTo>
                      <a:lnTo>
                        <a:pt x="12" y="52"/>
                      </a:lnTo>
                      <a:lnTo>
                        <a:pt x="12" y="49"/>
                      </a:lnTo>
                      <a:lnTo>
                        <a:pt x="15" y="47"/>
                      </a:lnTo>
                      <a:lnTo>
                        <a:pt x="17" y="44"/>
                      </a:lnTo>
                      <a:lnTo>
                        <a:pt x="17" y="42"/>
                      </a:lnTo>
                      <a:lnTo>
                        <a:pt x="17" y="39"/>
                      </a:lnTo>
                      <a:lnTo>
                        <a:pt x="19" y="37"/>
                      </a:lnTo>
                      <a:lnTo>
                        <a:pt x="22" y="36"/>
                      </a:lnTo>
                      <a:lnTo>
                        <a:pt x="24" y="37"/>
                      </a:lnTo>
                      <a:lnTo>
                        <a:pt x="25" y="37"/>
                      </a:lnTo>
                      <a:lnTo>
                        <a:pt x="24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19" y="34"/>
                      </a:lnTo>
                      <a:lnTo>
                        <a:pt x="19" y="32"/>
                      </a:lnTo>
                      <a:lnTo>
                        <a:pt x="19" y="31"/>
                      </a:lnTo>
                      <a:lnTo>
                        <a:pt x="20" y="31"/>
                      </a:lnTo>
                      <a:lnTo>
                        <a:pt x="20" y="29"/>
                      </a:lnTo>
                      <a:lnTo>
                        <a:pt x="24" y="27"/>
                      </a:lnTo>
                      <a:lnTo>
                        <a:pt x="29" y="27"/>
                      </a:lnTo>
                      <a:lnTo>
                        <a:pt x="34" y="27"/>
                      </a:lnTo>
                      <a:lnTo>
                        <a:pt x="35" y="31"/>
                      </a:lnTo>
                      <a:lnTo>
                        <a:pt x="35" y="32"/>
                      </a:lnTo>
                      <a:lnTo>
                        <a:pt x="37" y="32"/>
                      </a:lnTo>
                      <a:lnTo>
                        <a:pt x="37" y="31"/>
                      </a:lnTo>
                      <a:lnTo>
                        <a:pt x="39" y="31"/>
                      </a:lnTo>
                      <a:lnTo>
                        <a:pt x="41" y="34"/>
                      </a:lnTo>
                      <a:lnTo>
                        <a:pt x="42" y="36"/>
                      </a:lnTo>
                      <a:lnTo>
                        <a:pt x="42" y="34"/>
                      </a:lnTo>
                      <a:lnTo>
                        <a:pt x="41" y="31"/>
                      </a:lnTo>
                      <a:lnTo>
                        <a:pt x="41" y="29"/>
                      </a:lnTo>
                      <a:lnTo>
                        <a:pt x="41" y="27"/>
                      </a:lnTo>
                      <a:lnTo>
                        <a:pt x="42" y="25"/>
                      </a:lnTo>
                      <a:lnTo>
                        <a:pt x="42" y="24"/>
                      </a:lnTo>
                      <a:lnTo>
                        <a:pt x="44" y="24"/>
                      </a:lnTo>
                      <a:lnTo>
                        <a:pt x="47" y="24"/>
                      </a:lnTo>
                      <a:lnTo>
                        <a:pt x="49" y="24"/>
                      </a:lnTo>
                      <a:lnTo>
                        <a:pt x="47" y="22"/>
                      </a:lnTo>
                      <a:lnTo>
                        <a:pt x="46" y="20"/>
                      </a:lnTo>
                      <a:lnTo>
                        <a:pt x="46" y="19"/>
                      </a:lnTo>
                      <a:lnTo>
                        <a:pt x="47" y="19"/>
                      </a:lnTo>
                      <a:lnTo>
                        <a:pt x="46" y="17"/>
                      </a:lnTo>
                      <a:lnTo>
                        <a:pt x="46" y="15"/>
                      </a:lnTo>
                      <a:lnTo>
                        <a:pt x="46" y="14"/>
                      </a:lnTo>
                      <a:lnTo>
                        <a:pt x="44" y="14"/>
                      </a:lnTo>
                      <a:lnTo>
                        <a:pt x="42" y="14"/>
                      </a:lnTo>
                      <a:lnTo>
                        <a:pt x="44" y="12"/>
                      </a:lnTo>
                      <a:lnTo>
                        <a:pt x="46" y="10"/>
                      </a:lnTo>
                      <a:lnTo>
                        <a:pt x="47" y="10"/>
                      </a:lnTo>
                      <a:lnTo>
                        <a:pt x="47" y="9"/>
                      </a:lnTo>
                      <a:lnTo>
                        <a:pt x="46" y="7"/>
                      </a:lnTo>
                      <a:lnTo>
                        <a:pt x="44" y="5"/>
                      </a:lnTo>
                      <a:lnTo>
                        <a:pt x="42" y="4"/>
                      </a:lnTo>
                      <a:lnTo>
                        <a:pt x="44" y="2"/>
                      </a:lnTo>
                      <a:lnTo>
                        <a:pt x="44" y="0"/>
                      </a:lnTo>
                      <a:lnTo>
                        <a:pt x="44" y="2"/>
                      </a:lnTo>
                      <a:lnTo>
                        <a:pt x="46" y="2"/>
                      </a:lnTo>
                      <a:lnTo>
                        <a:pt x="49" y="2"/>
                      </a:lnTo>
                      <a:lnTo>
                        <a:pt x="52" y="2"/>
                      </a:lnTo>
                      <a:lnTo>
                        <a:pt x="54" y="2"/>
                      </a:lnTo>
                      <a:lnTo>
                        <a:pt x="56" y="2"/>
                      </a:lnTo>
                      <a:lnTo>
                        <a:pt x="54" y="2"/>
                      </a:lnTo>
                      <a:lnTo>
                        <a:pt x="56" y="2"/>
                      </a:lnTo>
                      <a:lnTo>
                        <a:pt x="59" y="4"/>
                      </a:lnTo>
                      <a:lnTo>
                        <a:pt x="61" y="4"/>
                      </a:lnTo>
                      <a:lnTo>
                        <a:pt x="62" y="5"/>
                      </a:lnTo>
                      <a:lnTo>
                        <a:pt x="62" y="7"/>
                      </a:lnTo>
                      <a:lnTo>
                        <a:pt x="62" y="9"/>
                      </a:lnTo>
                      <a:lnTo>
                        <a:pt x="61" y="10"/>
                      </a:lnTo>
                      <a:lnTo>
                        <a:pt x="64" y="10"/>
                      </a:lnTo>
                      <a:lnTo>
                        <a:pt x="64" y="12"/>
                      </a:lnTo>
                      <a:lnTo>
                        <a:pt x="66" y="12"/>
                      </a:lnTo>
                      <a:lnTo>
                        <a:pt x="67" y="10"/>
                      </a:lnTo>
                      <a:lnTo>
                        <a:pt x="71" y="12"/>
                      </a:lnTo>
                      <a:lnTo>
                        <a:pt x="71" y="14"/>
                      </a:lnTo>
                      <a:lnTo>
                        <a:pt x="73" y="14"/>
                      </a:lnTo>
                      <a:lnTo>
                        <a:pt x="76" y="14"/>
                      </a:lnTo>
                      <a:lnTo>
                        <a:pt x="78" y="12"/>
                      </a:lnTo>
                      <a:lnTo>
                        <a:pt x="79" y="14"/>
                      </a:lnTo>
                      <a:lnTo>
                        <a:pt x="79" y="15"/>
                      </a:lnTo>
                      <a:lnTo>
                        <a:pt x="78" y="17"/>
                      </a:lnTo>
                      <a:lnTo>
                        <a:pt x="76" y="19"/>
                      </a:lnTo>
                      <a:lnTo>
                        <a:pt x="74" y="20"/>
                      </a:lnTo>
                      <a:lnTo>
                        <a:pt x="76" y="22"/>
                      </a:lnTo>
                      <a:lnTo>
                        <a:pt x="78" y="22"/>
                      </a:lnTo>
                      <a:lnTo>
                        <a:pt x="79" y="20"/>
                      </a:lnTo>
                      <a:lnTo>
                        <a:pt x="81" y="20"/>
                      </a:lnTo>
                      <a:lnTo>
                        <a:pt x="83" y="22"/>
                      </a:lnTo>
                      <a:lnTo>
                        <a:pt x="86" y="22"/>
                      </a:lnTo>
                      <a:lnTo>
                        <a:pt x="84" y="20"/>
                      </a:lnTo>
                      <a:lnTo>
                        <a:pt x="86" y="20"/>
                      </a:lnTo>
                      <a:lnTo>
                        <a:pt x="86" y="19"/>
                      </a:lnTo>
                      <a:lnTo>
                        <a:pt x="89" y="17"/>
                      </a:lnTo>
                      <a:lnTo>
                        <a:pt x="93" y="17"/>
                      </a:lnTo>
                      <a:lnTo>
                        <a:pt x="94" y="15"/>
                      </a:lnTo>
                      <a:lnTo>
                        <a:pt x="94" y="17"/>
                      </a:lnTo>
                      <a:lnTo>
                        <a:pt x="96" y="17"/>
                      </a:lnTo>
                      <a:lnTo>
                        <a:pt x="96" y="15"/>
                      </a:lnTo>
                      <a:lnTo>
                        <a:pt x="100" y="14"/>
                      </a:lnTo>
                      <a:lnTo>
                        <a:pt x="101" y="10"/>
                      </a:lnTo>
                      <a:lnTo>
                        <a:pt x="103" y="10"/>
                      </a:lnTo>
                      <a:lnTo>
                        <a:pt x="105" y="10"/>
                      </a:lnTo>
                      <a:lnTo>
                        <a:pt x="103" y="12"/>
                      </a:lnTo>
                      <a:lnTo>
                        <a:pt x="101" y="14"/>
                      </a:lnTo>
                      <a:lnTo>
                        <a:pt x="100" y="15"/>
                      </a:lnTo>
                      <a:lnTo>
                        <a:pt x="103" y="14"/>
                      </a:lnTo>
                      <a:lnTo>
                        <a:pt x="105" y="14"/>
                      </a:lnTo>
                      <a:lnTo>
                        <a:pt x="106" y="12"/>
                      </a:lnTo>
                      <a:lnTo>
                        <a:pt x="110" y="12"/>
                      </a:lnTo>
                      <a:lnTo>
                        <a:pt x="110" y="14"/>
                      </a:lnTo>
                      <a:lnTo>
                        <a:pt x="113" y="15"/>
                      </a:lnTo>
                      <a:lnTo>
                        <a:pt x="113" y="17"/>
                      </a:lnTo>
                      <a:lnTo>
                        <a:pt x="115" y="17"/>
                      </a:lnTo>
                      <a:lnTo>
                        <a:pt x="116" y="19"/>
                      </a:lnTo>
                      <a:lnTo>
                        <a:pt x="118" y="17"/>
                      </a:lnTo>
                      <a:lnTo>
                        <a:pt x="120" y="19"/>
                      </a:lnTo>
                      <a:lnTo>
                        <a:pt x="121" y="20"/>
                      </a:lnTo>
                      <a:lnTo>
                        <a:pt x="121" y="22"/>
                      </a:lnTo>
                      <a:lnTo>
                        <a:pt x="121" y="24"/>
                      </a:lnTo>
                      <a:lnTo>
                        <a:pt x="123" y="24"/>
                      </a:lnTo>
                      <a:lnTo>
                        <a:pt x="126" y="25"/>
                      </a:lnTo>
                      <a:lnTo>
                        <a:pt x="128" y="25"/>
                      </a:lnTo>
                      <a:lnTo>
                        <a:pt x="128" y="27"/>
                      </a:lnTo>
                      <a:lnTo>
                        <a:pt x="130" y="31"/>
                      </a:lnTo>
                      <a:lnTo>
                        <a:pt x="132" y="32"/>
                      </a:lnTo>
                      <a:lnTo>
                        <a:pt x="132" y="34"/>
                      </a:lnTo>
                      <a:lnTo>
                        <a:pt x="132" y="36"/>
                      </a:lnTo>
                      <a:lnTo>
                        <a:pt x="130" y="39"/>
                      </a:lnTo>
                      <a:lnTo>
                        <a:pt x="128" y="41"/>
                      </a:lnTo>
                      <a:lnTo>
                        <a:pt x="128" y="44"/>
                      </a:lnTo>
                      <a:lnTo>
                        <a:pt x="128" y="46"/>
                      </a:lnTo>
                      <a:lnTo>
                        <a:pt x="130" y="47"/>
                      </a:lnTo>
                      <a:lnTo>
                        <a:pt x="132" y="47"/>
                      </a:lnTo>
                      <a:lnTo>
                        <a:pt x="133" y="51"/>
                      </a:lnTo>
                      <a:lnTo>
                        <a:pt x="133" y="52"/>
                      </a:lnTo>
                      <a:lnTo>
                        <a:pt x="133" y="56"/>
                      </a:lnTo>
                      <a:lnTo>
                        <a:pt x="133" y="57"/>
                      </a:lnTo>
                      <a:lnTo>
                        <a:pt x="135" y="63"/>
                      </a:lnTo>
                      <a:lnTo>
                        <a:pt x="135" y="64"/>
                      </a:lnTo>
                      <a:lnTo>
                        <a:pt x="135" y="66"/>
                      </a:lnTo>
                      <a:lnTo>
                        <a:pt x="135" y="69"/>
                      </a:lnTo>
                      <a:lnTo>
                        <a:pt x="137" y="73"/>
                      </a:lnTo>
                      <a:lnTo>
                        <a:pt x="138" y="74"/>
                      </a:lnTo>
                      <a:lnTo>
                        <a:pt x="140" y="74"/>
                      </a:lnTo>
                      <a:lnTo>
                        <a:pt x="140" y="76"/>
                      </a:lnTo>
                      <a:lnTo>
                        <a:pt x="140" y="78"/>
                      </a:lnTo>
                      <a:lnTo>
                        <a:pt x="140" y="81"/>
                      </a:lnTo>
                      <a:lnTo>
                        <a:pt x="138" y="84"/>
                      </a:lnTo>
                      <a:lnTo>
                        <a:pt x="138" y="86"/>
                      </a:lnTo>
                      <a:lnTo>
                        <a:pt x="137" y="86"/>
                      </a:lnTo>
                      <a:lnTo>
                        <a:pt x="135" y="86"/>
                      </a:lnTo>
                      <a:lnTo>
                        <a:pt x="133" y="84"/>
                      </a:lnTo>
                      <a:lnTo>
                        <a:pt x="132" y="81"/>
                      </a:lnTo>
                      <a:lnTo>
                        <a:pt x="128" y="81"/>
                      </a:lnTo>
                      <a:lnTo>
                        <a:pt x="128" y="83"/>
                      </a:lnTo>
                      <a:lnTo>
                        <a:pt x="128" y="86"/>
                      </a:lnTo>
                      <a:lnTo>
                        <a:pt x="125" y="88"/>
                      </a:lnTo>
                      <a:lnTo>
                        <a:pt x="120" y="88"/>
                      </a:lnTo>
                      <a:lnTo>
                        <a:pt x="116" y="90"/>
                      </a:lnTo>
                      <a:lnTo>
                        <a:pt x="115" y="93"/>
                      </a:lnTo>
                      <a:lnTo>
                        <a:pt x="113" y="93"/>
                      </a:lnTo>
                      <a:lnTo>
                        <a:pt x="110" y="95"/>
                      </a:lnTo>
                      <a:lnTo>
                        <a:pt x="108" y="95"/>
                      </a:lnTo>
                      <a:lnTo>
                        <a:pt x="105" y="96"/>
                      </a:lnTo>
                      <a:lnTo>
                        <a:pt x="103" y="96"/>
                      </a:lnTo>
                      <a:lnTo>
                        <a:pt x="101" y="96"/>
                      </a:lnTo>
                      <a:lnTo>
                        <a:pt x="101" y="98"/>
                      </a:lnTo>
                      <a:lnTo>
                        <a:pt x="100" y="98"/>
                      </a:lnTo>
                      <a:lnTo>
                        <a:pt x="100" y="100"/>
                      </a:lnTo>
                      <a:lnTo>
                        <a:pt x="98" y="101"/>
                      </a:lnTo>
                      <a:lnTo>
                        <a:pt x="98" y="100"/>
                      </a:lnTo>
                      <a:lnTo>
                        <a:pt x="94" y="98"/>
                      </a:lnTo>
                      <a:lnTo>
                        <a:pt x="94" y="100"/>
                      </a:lnTo>
                      <a:lnTo>
                        <a:pt x="96" y="103"/>
                      </a:lnTo>
                      <a:lnTo>
                        <a:pt x="100" y="105"/>
                      </a:lnTo>
                      <a:lnTo>
                        <a:pt x="101" y="106"/>
                      </a:lnTo>
                      <a:lnTo>
                        <a:pt x="101" y="111"/>
                      </a:lnTo>
                      <a:lnTo>
                        <a:pt x="103" y="115"/>
                      </a:lnTo>
                      <a:lnTo>
                        <a:pt x="106" y="116"/>
                      </a:lnTo>
                      <a:lnTo>
                        <a:pt x="111" y="120"/>
                      </a:lnTo>
                      <a:lnTo>
                        <a:pt x="115" y="123"/>
                      </a:lnTo>
                      <a:lnTo>
                        <a:pt x="116" y="125"/>
                      </a:lnTo>
                      <a:lnTo>
                        <a:pt x="121" y="128"/>
                      </a:lnTo>
                      <a:lnTo>
                        <a:pt x="123" y="130"/>
                      </a:lnTo>
                      <a:lnTo>
                        <a:pt x="121" y="132"/>
                      </a:lnTo>
                      <a:lnTo>
                        <a:pt x="120" y="132"/>
                      </a:lnTo>
                      <a:lnTo>
                        <a:pt x="118" y="133"/>
                      </a:lnTo>
                      <a:lnTo>
                        <a:pt x="116" y="135"/>
                      </a:lnTo>
                      <a:lnTo>
                        <a:pt x="115" y="137"/>
                      </a:lnTo>
                      <a:lnTo>
                        <a:pt x="113" y="138"/>
                      </a:lnTo>
                      <a:lnTo>
                        <a:pt x="110" y="140"/>
                      </a:lnTo>
                      <a:lnTo>
                        <a:pt x="108" y="142"/>
                      </a:lnTo>
                      <a:lnTo>
                        <a:pt x="108" y="147"/>
                      </a:lnTo>
                      <a:lnTo>
                        <a:pt x="110" y="150"/>
                      </a:lnTo>
                      <a:lnTo>
                        <a:pt x="110" y="152"/>
                      </a:lnTo>
                      <a:lnTo>
                        <a:pt x="108" y="154"/>
                      </a:lnTo>
                      <a:lnTo>
                        <a:pt x="106" y="150"/>
                      </a:lnTo>
                      <a:lnTo>
                        <a:pt x="105" y="150"/>
                      </a:lnTo>
                      <a:lnTo>
                        <a:pt x="103" y="150"/>
                      </a:lnTo>
                      <a:lnTo>
                        <a:pt x="100" y="150"/>
                      </a:lnTo>
                      <a:lnTo>
                        <a:pt x="98" y="152"/>
                      </a:lnTo>
                      <a:lnTo>
                        <a:pt x="94" y="152"/>
                      </a:lnTo>
                      <a:lnTo>
                        <a:pt x="91" y="152"/>
                      </a:lnTo>
                      <a:lnTo>
                        <a:pt x="88" y="152"/>
                      </a:lnTo>
                      <a:lnTo>
                        <a:pt x="86" y="154"/>
                      </a:lnTo>
                      <a:lnTo>
                        <a:pt x="83" y="155"/>
                      </a:lnTo>
                      <a:lnTo>
                        <a:pt x="79" y="155"/>
                      </a:lnTo>
                      <a:lnTo>
                        <a:pt x="76" y="154"/>
                      </a:lnTo>
                      <a:lnTo>
                        <a:pt x="73" y="154"/>
                      </a:lnTo>
                      <a:lnTo>
                        <a:pt x="71" y="155"/>
                      </a:lnTo>
                      <a:lnTo>
                        <a:pt x="69" y="157"/>
                      </a:lnTo>
                      <a:lnTo>
                        <a:pt x="67" y="157"/>
                      </a:lnTo>
                      <a:lnTo>
                        <a:pt x="64" y="155"/>
                      </a:lnTo>
                      <a:lnTo>
                        <a:pt x="64" y="154"/>
                      </a:lnTo>
                      <a:lnTo>
                        <a:pt x="61" y="154"/>
                      </a:lnTo>
                      <a:lnTo>
                        <a:pt x="59" y="154"/>
                      </a:lnTo>
                      <a:lnTo>
                        <a:pt x="56" y="155"/>
                      </a:lnTo>
                      <a:lnTo>
                        <a:pt x="54" y="154"/>
                      </a:lnTo>
                      <a:lnTo>
                        <a:pt x="51" y="152"/>
                      </a:lnTo>
                      <a:lnTo>
                        <a:pt x="47" y="152"/>
                      </a:lnTo>
                      <a:lnTo>
                        <a:pt x="44" y="152"/>
                      </a:lnTo>
                      <a:lnTo>
                        <a:pt x="42" y="152"/>
                      </a:lnTo>
                      <a:lnTo>
                        <a:pt x="37" y="152"/>
                      </a:lnTo>
                      <a:lnTo>
                        <a:pt x="34" y="152"/>
                      </a:lnTo>
                      <a:lnTo>
                        <a:pt x="30" y="154"/>
                      </a:lnTo>
                      <a:lnTo>
                        <a:pt x="27" y="154"/>
                      </a:lnTo>
                      <a:lnTo>
                        <a:pt x="25" y="152"/>
                      </a:lnTo>
                      <a:lnTo>
                        <a:pt x="24" y="149"/>
                      </a:lnTo>
                      <a:lnTo>
                        <a:pt x="24" y="145"/>
                      </a:lnTo>
                      <a:lnTo>
                        <a:pt x="25" y="142"/>
                      </a:lnTo>
                      <a:lnTo>
                        <a:pt x="25" y="140"/>
                      </a:lnTo>
                      <a:lnTo>
                        <a:pt x="27" y="137"/>
                      </a:lnTo>
                      <a:lnTo>
                        <a:pt x="27" y="133"/>
                      </a:lnTo>
                      <a:lnTo>
                        <a:pt x="30" y="130"/>
                      </a:lnTo>
                      <a:lnTo>
                        <a:pt x="32" y="128"/>
                      </a:lnTo>
                      <a:lnTo>
                        <a:pt x="34" y="125"/>
                      </a:lnTo>
                      <a:lnTo>
                        <a:pt x="29" y="123"/>
                      </a:lnTo>
                      <a:lnTo>
                        <a:pt x="25" y="122"/>
                      </a:lnTo>
                      <a:lnTo>
                        <a:pt x="22" y="122"/>
                      </a:lnTo>
                      <a:lnTo>
                        <a:pt x="19" y="120"/>
                      </a:lnTo>
                      <a:lnTo>
                        <a:pt x="15" y="120"/>
                      </a:lnTo>
                      <a:lnTo>
                        <a:pt x="12" y="120"/>
                      </a:lnTo>
                      <a:lnTo>
                        <a:pt x="10" y="118"/>
                      </a:lnTo>
                      <a:lnTo>
                        <a:pt x="8" y="116"/>
                      </a:lnTo>
                      <a:lnTo>
                        <a:pt x="7" y="115"/>
                      </a:lnTo>
                      <a:lnTo>
                        <a:pt x="5" y="113"/>
                      </a:lnTo>
                      <a:lnTo>
                        <a:pt x="7" y="111"/>
                      </a:lnTo>
                      <a:lnTo>
                        <a:pt x="7" y="108"/>
                      </a:lnTo>
                      <a:lnTo>
                        <a:pt x="5" y="106"/>
                      </a:lnTo>
                      <a:lnTo>
                        <a:pt x="3" y="105"/>
                      </a:lnTo>
                      <a:lnTo>
                        <a:pt x="3" y="103"/>
                      </a:lnTo>
                      <a:lnTo>
                        <a:pt x="5" y="101"/>
                      </a:lnTo>
                      <a:lnTo>
                        <a:pt x="2" y="100"/>
                      </a:lnTo>
                      <a:lnTo>
                        <a:pt x="2" y="101"/>
                      </a:lnTo>
                      <a:lnTo>
                        <a:pt x="5" y="96"/>
                      </a:lnTo>
                      <a:lnTo>
                        <a:pt x="5" y="95"/>
                      </a:lnTo>
                      <a:lnTo>
                        <a:pt x="3" y="93"/>
                      </a:lnTo>
                      <a:lnTo>
                        <a:pt x="3" y="91"/>
                      </a:lnTo>
                      <a:lnTo>
                        <a:pt x="3" y="90"/>
                      </a:lnTo>
                      <a:lnTo>
                        <a:pt x="2" y="90"/>
                      </a:lnTo>
                      <a:lnTo>
                        <a:pt x="2" y="88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41" name="Freeform 315">
                  <a:extLst>
                    <a:ext uri="{FF2B5EF4-FFF2-40B4-BE49-F238E27FC236}">
                      <a16:creationId xmlns:a16="http://schemas.microsoft.com/office/drawing/2014/main" id="{0625C3B7-F4E1-8D42-9632-B0A4F604D5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3" y="399"/>
                  <a:ext cx="140" cy="157"/>
                </a:xfrm>
                <a:custGeom>
                  <a:avLst/>
                  <a:gdLst>
                    <a:gd name="T0" fmla="*/ 2 w 140"/>
                    <a:gd name="T1" fmla="*/ 79 h 157"/>
                    <a:gd name="T2" fmla="*/ 2 w 140"/>
                    <a:gd name="T3" fmla="*/ 66 h 157"/>
                    <a:gd name="T4" fmla="*/ 12 w 140"/>
                    <a:gd name="T5" fmla="*/ 63 h 157"/>
                    <a:gd name="T6" fmla="*/ 15 w 140"/>
                    <a:gd name="T7" fmla="*/ 52 h 157"/>
                    <a:gd name="T8" fmla="*/ 17 w 140"/>
                    <a:gd name="T9" fmla="*/ 42 h 157"/>
                    <a:gd name="T10" fmla="*/ 25 w 140"/>
                    <a:gd name="T11" fmla="*/ 37 h 157"/>
                    <a:gd name="T12" fmla="*/ 19 w 140"/>
                    <a:gd name="T13" fmla="*/ 32 h 157"/>
                    <a:gd name="T14" fmla="*/ 29 w 140"/>
                    <a:gd name="T15" fmla="*/ 27 h 157"/>
                    <a:gd name="T16" fmla="*/ 37 w 140"/>
                    <a:gd name="T17" fmla="*/ 31 h 157"/>
                    <a:gd name="T18" fmla="*/ 41 w 140"/>
                    <a:gd name="T19" fmla="*/ 31 h 157"/>
                    <a:gd name="T20" fmla="*/ 44 w 140"/>
                    <a:gd name="T21" fmla="*/ 24 h 157"/>
                    <a:gd name="T22" fmla="*/ 46 w 140"/>
                    <a:gd name="T23" fmla="*/ 19 h 157"/>
                    <a:gd name="T24" fmla="*/ 44 w 140"/>
                    <a:gd name="T25" fmla="*/ 14 h 157"/>
                    <a:gd name="T26" fmla="*/ 47 w 140"/>
                    <a:gd name="T27" fmla="*/ 9 h 157"/>
                    <a:gd name="T28" fmla="*/ 44 w 140"/>
                    <a:gd name="T29" fmla="*/ 0 h 157"/>
                    <a:gd name="T30" fmla="*/ 54 w 140"/>
                    <a:gd name="T31" fmla="*/ 2 h 157"/>
                    <a:gd name="T32" fmla="*/ 61 w 140"/>
                    <a:gd name="T33" fmla="*/ 4 h 157"/>
                    <a:gd name="T34" fmla="*/ 64 w 140"/>
                    <a:gd name="T35" fmla="*/ 10 h 157"/>
                    <a:gd name="T36" fmla="*/ 71 w 140"/>
                    <a:gd name="T37" fmla="*/ 14 h 157"/>
                    <a:gd name="T38" fmla="*/ 79 w 140"/>
                    <a:gd name="T39" fmla="*/ 15 h 157"/>
                    <a:gd name="T40" fmla="*/ 78 w 140"/>
                    <a:gd name="T41" fmla="*/ 22 h 157"/>
                    <a:gd name="T42" fmla="*/ 84 w 140"/>
                    <a:gd name="T43" fmla="*/ 20 h 157"/>
                    <a:gd name="T44" fmla="*/ 94 w 140"/>
                    <a:gd name="T45" fmla="*/ 15 h 157"/>
                    <a:gd name="T46" fmla="*/ 101 w 140"/>
                    <a:gd name="T47" fmla="*/ 10 h 157"/>
                    <a:gd name="T48" fmla="*/ 100 w 140"/>
                    <a:gd name="T49" fmla="*/ 15 h 157"/>
                    <a:gd name="T50" fmla="*/ 110 w 140"/>
                    <a:gd name="T51" fmla="*/ 14 h 157"/>
                    <a:gd name="T52" fmla="*/ 118 w 140"/>
                    <a:gd name="T53" fmla="*/ 17 h 157"/>
                    <a:gd name="T54" fmla="*/ 123 w 140"/>
                    <a:gd name="T55" fmla="*/ 24 h 157"/>
                    <a:gd name="T56" fmla="*/ 132 w 140"/>
                    <a:gd name="T57" fmla="*/ 32 h 157"/>
                    <a:gd name="T58" fmla="*/ 128 w 140"/>
                    <a:gd name="T59" fmla="*/ 44 h 157"/>
                    <a:gd name="T60" fmla="*/ 133 w 140"/>
                    <a:gd name="T61" fmla="*/ 52 h 157"/>
                    <a:gd name="T62" fmla="*/ 135 w 140"/>
                    <a:gd name="T63" fmla="*/ 66 h 157"/>
                    <a:gd name="T64" fmla="*/ 140 w 140"/>
                    <a:gd name="T65" fmla="*/ 76 h 157"/>
                    <a:gd name="T66" fmla="*/ 137 w 140"/>
                    <a:gd name="T67" fmla="*/ 86 h 157"/>
                    <a:gd name="T68" fmla="*/ 128 w 140"/>
                    <a:gd name="T69" fmla="*/ 83 h 157"/>
                    <a:gd name="T70" fmla="*/ 115 w 140"/>
                    <a:gd name="T71" fmla="*/ 93 h 157"/>
                    <a:gd name="T72" fmla="*/ 103 w 140"/>
                    <a:gd name="T73" fmla="*/ 96 h 157"/>
                    <a:gd name="T74" fmla="*/ 98 w 140"/>
                    <a:gd name="T75" fmla="*/ 101 h 157"/>
                    <a:gd name="T76" fmla="*/ 100 w 140"/>
                    <a:gd name="T77" fmla="*/ 105 h 157"/>
                    <a:gd name="T78" fmla="*/ 111 w 140"/>
                    <a:gd name="T79" fmla="*/ 120 h 157"/>
                    <a:gd name="T80" fmla="*/ 121 w 140"/>
                    <a:gd name="T81" fmla="*/ 132 h 157"/>
                    <a:gd name="T82" fmla="*/ 113 w 140"/>
                    <a:gd name="T83" fmla="*/ 138 h 157"/>
                    <a:gd name="T84" fmla="*/ 110 w 140"/>
                    <a:gd name="T85" fmla="*/ 152 h 157"/>
                    <a:gd name="T86" fmla="*/ 100 w 140"/>
                    <a:gd name="T87" fmla="*/ 150 h 157"/>
                    <a:gd name="T88" fmla="*/ 86 w 140"/>
                    <a:gd name="T89" fmla="*/ 154 h 157"/>
                    <a:gd name="T90" fmla="*/ 71 w 140"/>
                    <a:gd name="T91" fmla="*/ 155 h 157"/>
                    <a:gd name="T92" fmla="*/ 61 w 140"/>
                    <a:gd name="T93" fmla="*/ 154 h 157"/>
                    <a:gd name="T94" fmla="*/ 47 w 140"/>
                    <a:gd name="T95" fmla="*/ 152 h 157"/>
                    <a:gd name="T96" fmla="*/ 30 w 140"/>
                    <a:gd name="T97" fmla="*/ 154 h 157"/>
                    <a:gd name="T98" fmla="*/ 25 w 140"/>
                    <a:gd name="T99" fmla="*/ 142 h 157"/>
                    <a:gd name="T100" fmla="*/ 32 w 140"/>
                    <a:gd name="T101" fmla="*/ 128 h 157"/>
                    <a:gd name="T102" fmla="*/ 19 w 140"/>
                    <a:gd name="T103" fmla="*/ 120 h 157"/>
                    <a:gd name="T104" fmla="*/ 7 w 140"/>
                    <a:gd name="T105" fmla="*/ 115 h 157"/>
                    <a:gd name="T106" fmla="*/ 3 w 140"/>
                    <a:gd name="T107" fmla="*/ 105 h 157"/>
                    <a:gd name="T108" fmla="*/ 5 w 140"/>
                    <a:gd name="T109" fmla="*/ 96 h 157"/>
                    <a:gd name="T110" fmla="*/ 2 w 140"/>
                    <a:gd name="T111" fmla="*/ 9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40" h="157">
                      <a:moveTo>
                        <a:pt x="2" y="88"/>
                      </a:moveTo>
                      <a:lnTo>
                        <a:pt x="2" y="86"/>
                      </a:lnTo>
                      <a:lnTo>
                        <a:pt x="0" y="83"/>
                      </a:lnTo>
                      <a:lnTo>
                        <a:pt x="0" y="81"/>
                      </a:lnTo>
                      <a:lnTo>
                        <a:pt x="2" y="79"/>
                      </a:lnTo>
                      <a:lnTo>
                        <a:pt x="2" y="78"/>
                      </a:lnTo>
                      <a:lnTo>
                        <a:pt x="2" y="76"/>
                      </a:lnTo>
                      <a:lnTo>
                        <a:pt x="2" y="73"/>
                      </a:lnTo>
                      <a:lnTo>
                        <a:pt x="2" y="71"/>
                      </a:lnTo>
                      <a:lnTo>
                        <a:pt x="2" y="66"/>
                      </a:lnTo>
                      <a:lnTo>
                        <a:pt x="2" y="64"/>
                      </a:lnTo>
                      <a:lnTo>
                        <a:pt x="3" y="64"/>
                      </a:lnTo>
                      <a:lnTo>
                        <a:pt x="8" y="66"/>
                      </a:lnTo>
                      <a:lnTo>
                        <a:pt x="10" y="66"/>
                      </a:lnTo>
                      <a:lnTo>
                        <a:pt x="12" y="63"/>
                      </a:lnTo>
                      <a:lnTo>
                        <a:pt x="12" y="61"/>
                      </a:lnTo>
                      <a:lnTo>
                        <a:pt x="15" y="59"/>
                      </a:lnTo>
                      <a:lnTo>
                        <a:pt x="17" y="56"/>
                      </a:lnTo>
                      <a:lnTo>
                        <a:pt x="17" y="54"/>
                      </a:lnTo>
                      <a:lnTo>
                        <a:pt x="15" y="52"/>
                      </a:lnTo>
                      <a:lnTo>
                        <a:pt x="12" y="52"/>
                      </a:lnTo>
                      <a:lnTo>
                        <a:pt x="12" y="49"/>
                      </a:lnTo>
                      <a:lnTo>
                        <a:pt x="15" y="47"/>
                      </a:lnTo>
                      <a:lnTo>
                        <a:pt x="17" y="44"/>
                      </a:lnTo>
                      <a:lnTo>
                        <a:pt x="17" y="42"/>
                      </a:lnTo>
                      <a:lnTo>
                        <a:pt x="17" y="39"/>
                      </a:lnTo>
                      <a:lnTo>
                        <a:pt x="19" y="37"/>
                      </a:lnTo>
                      <a:lnTo>
                        <a:pt x="22" y="36"/>
                      </a:lnTo>
                      <a:lnTo>
                        <a:pt x="24" y="37"/>
                      </a:lnTo>
                      <a:lnTo>
                        <a:pt x="25" y="37"/>
                      </a:lnTo>
                      <a:lnTo>
                        <a:pt x="24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19" y="34"/>
                      </a:lnTo>
                      <a:lnTo>
                        <a:pt x="19" y="32"/>
                      </a:lnTo>
                      <a:lnTo>
                        <a:pt x="19" y="31"/>
                      </a:lnTo>
                      <a:lnTo>
                        <a:pt x="20" y="31"/>
                      </a:lnTo>
                      <a:lnTo>
                        <a:pt x="20" y="29"/>
                      </a:lnTo>
                      <a:lnTo>
                        <a:pt x="24" y="27"/>
                      </a:lnTo>
                      <a:lnTo>
                        <a:pt x="29" y="27"/>
                      </a:lnTo>
                      <a:lnTo>
                        <a:pt x="34" y="27"/>
                      </a:lnTo>
                      <a:lnTo>
                        <a:pt x="35" y="31"/>
                      </a:lnTo>
                      <a:lnTo>
                        <a:pt x="35" y="32"/>
                      </a:lnTo>
                      <a:lnTo>
                        <a:pt x="37" y="32"/>
                      </a:lnTo>
                      <a:lnTo>
                        <a:pt x="37" y="31"/>
                      </a:lnTo>
                      <a:lnTo>
                        <a:pt x="39" y="31"/>
                      </a:lnTo>
                      <a:lnTo>
                        <a:pt x="41" y="34"/>
                      </a:lnTo>
                      <a:lnTo>
                        <a:pt x="42" y="36"/>
                      </a:lnTo>
                      <a:lnTo>
                        <a:pt x="42" y="34"/>
                      </a:lnTo>
                      <a:lnTo>
                        <a:pt x="41" y="31"/>
                      </a:lnTo>
                      <a:lnTo>
                        <a:pt x="41" y="29"/>
                      </a:lnTo>
                      <a:lnTo>
                        <a:pt x="41" y="27"/>
                      </a:lnTo>
                      <a:lnTo>
                        <a:pt x="42" y="25"/>
                      </a:lnTo>
                      <a:lnTo>
                        <a:pt x="42" y="24"/>
                      </a:lnTo>
                      <a:lnTo>
                        <a:pt x="44" y="24"/>
                      </a:lnTo>
                      <a:lnTo>
                        <a:pt x="47" y="24"/>
                      </a:lnTo>
                      <a:lnTo>
                        <a:pt x="49" y="24"/>
                      </a:lnTo>
                      <a:lnTo>
                        <a:pt x="47" y="22"/>
                      </a:lnTo>
                      <a:lnTo>
                        <a:pt x="46" y="20"/>
                      </a:lnTo>
                      <a:lnTo>
                        <a:pt x="46" y="19"/>
                      </a:lnTo>
                      <a:lnTo>
                        <a:pt x="47" y="19"/>
                      </a:lnTo>
                      <a:lnTo>
                        <a:pt x="46" y="17"/>
                      </a:lnTo>
                      <a:lnTo>
                        <a:pt x="46" y="15"/>
                      </a:lnTo>
                      <a:lnTo>
                        <a:pt x="46" y="14"/>
                      </a:lnTo>
                      <a:lnTo>
                        <a:pt x="44" y="14"/>
                      </a:lnTo>
                      <a:lnTo>
                        <a:pt x="42" y="14"/>
                      </a:lnTo>
                      <a:lnTo>
                        <a:pt x="44" y="12"/>
                      </a:lnTo>
                      <a:lnTo>
                        <a:pt x="46" y="10"/>
                      </a:lnTo>
                      <a:lnTo>
                        <a:pt x="47" y="10"/>
                      </a:lnTo>
                      <a:lnTo>
                        <a:pt x="47" y="9"/>
                      </a:lnTo>
                      <a:lnTo>
                        <a:pt x="46" y="7"/>
                      </a:lnTo>
                      <a:lnTo>
                        <a:pt x="44" y="5"/>
                      </a:lnTo>
                      <a:lnTo>
                        <a:pt x="42" y="4"/>
                      </a:lnTo>
                      <a:lnTo>
                        <a:pt x="44" y="2"/>
                      </a:lnTo>
                      <a:lnTo>
                        <a:pt x="44" y="0"/>
                      </a:lnTo>
                      <a:lnTo>
                        <a:pt x="44" y="2"/>
                      </a:lnTo>
                      <a:lnTo>
                        <a:pt x="46" y="2"/>
                      </a:lnTo>
                      <a:lnTo>
                        <a:pt x="49" y="2"/>
                      </a:lnTo>
                      <a:lnTo>
                        <a:pt x="52" y="2"/>
                      </a:lnTo>
                      <a:lnTo>
                        <a:pt x="54" y="2"/>
                      </a:lnTo>
                      <a:lnTo>
                        <a:pt x="56" y="2"/>
                      </a:lnTo>
                      <a:lnTo>
                        <a:pt x="54" y="2"/>
                      </a:lnTo>
                      <a:lnTo>
                        <a:pt x="56" y="2"/>
                      </a:lnTo>
                      <a:lnTo>
                        <a:pt x="59" y="4"/>
                      </a:lnTo>
                      <a:lnTo>
                        <a:pt x="61" y="4"/>
                      </a:lnTo>
                      <a:lnTo>
                        <a:pt x="62" y="5"/>
                      </a:lnTo>
                      <a:lnTo>
                        <a:pt x="62" y="7"/>
                      </a:lnTo>
                      <a:lnTo>
                        <a:pt x="62" y="9"/>
                      </a:lnTo>
                      <a:lnTo>
                        <a:pt x="61" y="10"/>
                      </a:lnTo>
                      <a:lnTo>
                        <a:pt x="64" y="10"/>
                      </a:lnTo>
                      <a:lnTo>
                        <a:pt x="64" y="12"/>
                      </a:lnTo>
                      <a:lnTo>
                        <a:pt x="66" y="12"/>
                      </a:lnTo>
                      <a:lnTo>
                        <a:pt x="67" y="10"/>
                      </a:lnTo>
                      <a:lnTo>
                        <a:pt x="71" y="12"/>
                      </a:lnTo>
                      <a:lnTo>
                        <a:pt x="71" y="14"/>
                      </a:lnTo>
                      <a:lnTo>
                        <a:pt x="73" y="14"/>
                      </a:lnTo>
                      <a:lnTo>
                        <a:pt x="76" y="14"/>
                      </a:lnTo>
                      <a:lnTo>
                        <a:pt x="78" y="12"/>
                      </a:lnTo>
                      <a:lnTo>
                        <a:pt x="79" y="14"/>
                      </a:lnTo>
                      <a:lnTo>
                        <a:pt x="79" y="15"/>
                      </a:lnTo>
                      <a:lnTo>
                        <a:pt x="78" y="17"/>
                      </a:lnTo>
                      <a:lnTo>
                        <a:pt x="76" y="19"/>
                      </a:lnTo>
                      <a:lnTo>
                        <a:pt x="74" y="20"/>
                      </a:lnTo>
                      <a:lnTo>
                        <a:pt x="76" y="22"/>
                      </a:lnTo>
                      <a:lnTo>
                        <a:pt x="78" y="22"/>
                      </a:lnTo>
                      <a:lnTo>
                        <a:pt x="79" y="20"/>
                      </a:lnTo>
                      <a:lnTo>
                        <a:pt x="81" y="20"/>
                      </a:lnTo>
                      <a:lnTo>
                        <a:pt x="83" y="22"/>
                      </a:lnTo>
                      <a:lnTo>
                        <a:pt x="86" y="22"/>
                      </a:lnTo>
                      <a:lnTo>
                        <a:pt x="84" y="20"/>
                      </a:lnTo>
                      <a:lnTo>
                        <a:pt x="86" y="20"/>
                      </a:lnTo>
                      <a:lnTo>
                        <a:pt x="86" y="19"/>
                      </a:lnTo>
                      <a:lnTo>
                        <a:pt x="89" y="17"/>
                      </a:lnTo>
                      <a:lnTo>
                        <a:pt x="93" y="17"/>
                      </a:lnTo>
                      <a:lnTo>
                        <a:pt x="94" y="15"/>
                      </a:lnTo>
                      <a:lnTo>
                        <a:pt x="94" y="17"/>
                      </a:lnTo>
                      <a:lnTo>
                        <a:pt x="96" y="17"/>
                      </a:lnTo>
                      <a:lnTo>
                        <a:pt x="96" y="15"/>
                      </a:lnTo>
                      <a:lnTo>
                        <a:pt x="100" y="14"/>
                      </a:lnTo>
                      <a:lnTo>
                        <a:pt x="101" y="10"/>
                      </a:lnTo>
                      <a:lnTo>
                        <a:pt x="103" y="10"/>
                      </a:lnTo>
                      <a:lnTo>
                        <a:pt x="105" y="10"/>
                      </a:lnTo>
                      <a:lnTo>
                        <a:pt x="103" y="12"/>
                      </a:lnTo>
                      <a:lnTo>
                        <a:pt x="101" y="14"/>
                      </a:lnTo>
                      <a:lnTo>
                        <a:pt x="100" y="15"/>
                      </a:lnTo>
                      <a:lnTo>
                        <a:pt x="103" y="14"/>
                      </a:lnTo>
                      <a:lnTo>
                        <a:pt x="105" y="14"/>
                      </a:lnTo>
                      <a:lnTo>
                        <a:pt x="106" y="12"/>
                      </a:lnTo>
                      <a:lnTo>
                        <a:pt x="110" y="12"/>
                      </a:lnTo>
                      <a:lnTo>
                        <a:pt x="110" y="14"/>
                      </a:lnTo>
                      <a:lnTo>
                        <a:pt x="113" y="15"/>
                      </a:lnTo>
                      <a:lnTo>
                        <a:pt x="113" y="17"/>
                      </a:lnTo>
                      <a:lnTo>
                        <a:pt x="115" y="17"/>
                      </a:lnTo>
                      <a:lnTo>
                        <a:pt x="116" y="19"/>
                      </a:lnTo>
                      <a:lnTo>
                        <a:pt x="118" y="17"/>
                      </a:lnTo>
                      <a:lnTo>
                        <a:pt x="120" y="19"/>
                      </a:lnTo>
                      <a:lnTo>
                        <a:pt x="121" y="20"/>
                      </a:lnTo>
                      <a:lnTo>
                        <a:pt x="121" y="22"/>
                      </a:lnTo>
                      <a:lnTo>
                        <a:pt x="121" y="24"/>
                      </a:lnTo>
                      <a:lnTo>
                        <a:pt x="123" y="24"/>
                      </a:lnTo>
                      <a:lnTo>
                        <a:pt x="126" y="25"/>
                      </a:lnTo>
                      <a:lnTo>
                        <a:pt x="128" y="25"/>
                      </a:lnTo>
                      <a:lnTo>
                        <a:pt x="128" y="27"/>
                      </a:lnTo>
                      <a:lnTo>
                        <a:pt x="130" y="31"/>
                      </a:lnTo>
                      <a:lnTo>
                        <a:pt x="132" y="32"/>
                      </a:lnTo>
                      <a:lnTo>
                        <a:pt x="132" y="34"/>
                      </a:lnTo>
                      <a:lnTo>
                        <a:pt x="132" y="36"/>
                      </a:lnTo>
                      <a:lnTo>
                        <a:pt x="130" y="39"/>
                      </a:lnTo>
                      <a:lnTo>
                        <a:pt x="128" y="41"/>
                      </a:lnTo>
                      <a:lnTo>
                        <a:pt x="128" y="44"/>
                      </a:lnTo>
                      <a:lnTo>
                        <a:pt x="128" y="46"/>
                      </a:lnTo>
                      <a:lnTo>
                        <a:pt x="130" y="47"/>
                      </a:lnTo>
                      <a:lnTo>
                        <a:pt x="132" y="47"/>
                      </a:lnTo>
                      <a:lnTo>
                        <a:pt x="133" y="51"/>
                      </a:lnTo>
                      <a:lnTo>
                        <a:pt x="133" y="52"/>
                      </a:lnTo>
                      <a:lnTo>
                        <a:pt x="133" y="56"/>
                      </a:lnTo>
                      <a:lnTo>
                        <a:pt x="133" y="57"/>
                      </a:lnTo>
                      <a:lnTo>
                        <a:pt x="135" y="63"/>
                      </a:lnTo>
                      <a:lnTo>
                        <a:pt x="135" y="64"/>
                      </a:lnTo>
                      <a:lnTo>
                        <a:pt x="135" y="66"/>
                      </a:lnTo>
                      <a:lnTo>
                        <a:pt x="135" y="69"/>
                      </a:lnTo>
                      <a:lnTo>
                        <a:pt x="137" y="73"/>
                      </a:lnTo>
                      <a:lnTo>
                        <a:pt x="138" y="74"/>
                      </a:lnTo>
                      <a:lnTo>
                        <a:pt x="140" y="74"/>
                      </a:lnTo>
                      <a:lnTo>
                        <a:pt x="140" y="76"/>
                      </a:lnTo>
                      <a:lnTo>
                        <a:pt x="140" y="78"/>
                      </a:lnTo>
                      <a:lnTo>
                        <a:pt x="140" y="81"/>
                      </a:lnTo>
                      <a:lnTo>
                        <a:pt x="138" y="84"/>
                      </a:lnTo>
                      <a:lnTo>
                        <a:pt x="138" y="86"/>
                      </a:lnTo>
                      <a:lnTo>
                        <a:pt x="137" y="86"/>
                      </a:lnTo>
                      <a:lnTo>
                        <a:pt x="135" y="86"/>
                      </a:lnTo>
                      <a:lnTo>
                        <a:pt x="133" y="84"/>
                      </a:lnTo>
                      <a:lnTo>
                        <a:pt x="132" y="81"/>
                      </a:lnTo>
                      <a:lnTo>
                        <a:pt x="128" y="81"/>
                      </a:lnTo>
                      <a:lnTo>
                        <a:pt x="128" y="83"/>
                      </a:lnTo>
                      <a:lnTo>
                        <a:pt x="128" y="86"/>
                      </a:lnTo>
                      <a:lnTo>
                        <a:pt x="125" y="88"/>
                      </a:lnTo>
                      <a:lnTo>
                        <a:pt x="120" y="88"/>
                      </a:lnTo>
                      <a:lnTo>
                        <a:pt x="116" y="90"/>
                      </a:lnTo>
                      <a:lnTo>
                        <a:pt x="115" y="93"/>
                      </a:lnTo>
                      <a:lnTo>
                        <a:pt x="113" y="93"/>
                      </a:lnTo>
                      <a:lnTo>
                        <a:pt x="110" y="95"/>
                      </a:lnTo>
                      <a:lnTo>
                        <a:pt x="108" y="95"/>
                      </a:lnTo>
                      <a:lnTo>
                        <a:pt x="105" y="96"/>
                      </a:lnTo>
                      <a:lnTo>
                        <a:pt x="103" y="96"/>
                      </a:lnTo>
                      <a:lnTo>
                        <a:pt x="101" y="96"/>
                      </a:lnTo>
                      <a:lnTo>
                        <a:pt x="101" y="98"/>
                      </a:lnTo>
                      <a:lnTo>
                        <a:pt x="100" y="98"/>
                      </a:lnTo>
                      <a:lnTo>
                        <a:pt x="100" y="100"/>
                      </a:lnTo>
                      <a:lnTo>
                        <a:pt x="98" y="101"/>
                      </a:lnTo>
                      <a:lnTo>
                        <a:pt x="98" y="100"/>
                      </a:lnTo>
                      <a:lnTo>
                        <a:pt x="94" y="98"/>
                      </a:lnTo>
                      <a:lnTo>
                        <a:pt x="94" y="100"/>
                      </a:lnTo>
                      <a:lnTo>
                        <a:pt x="96" y="103"/>
                      </a:lnTo>
                      <a:lnTo>
                        <a:pt x="100" y="105"/>
                      </a:lnTo>
                      <a:lnTo>
                        <a:pt x="101" y="106"/>
                      </a:lnTo>
                      <a:lnTo>
                        <a:pt x="101" y="111"/>
                      </a:lnTo>
                      <a:lnTo>
                        <a:pt x="103" y="115"/>
                      </a:lnTo>
                      <a:lnTo>
                        <a:pt x="106" y="116"/>
                      </a:lnTo>
                      <a:lnTo>
                        <a:pt x="111" y="120"/>
                      </a:lnTo>
                      <a:lnTo>
                        <a:pt x="115" y="123"/>
                      </a:lnTo>
                      <a:lnTo>
                        <a:pt x="116" y="125"/>
                      </a:lnTo>
                      <a:lnTo>
                        <a:pt x="121" y="128"/>
                      </a:lnTo>
                      <a:lnTo>
                        <a:pt x="123" y="130"/>
                      </a:lnTo>
                      <a:lnTo>
                        <a:pt x="121" y="132"/>
                      </a:lnTo>
                      <a:lnTo>
                        <a:pt x="120" y="132"/>
                      </a:lnTo>
                      <a:lnTo>
                        <a:pt x="118" y="133"/>
                      </a:lnTo>
                      <a:lnTo>
                        <a:pt x="116" y="135"/>
                      </a:lnTo>
                      <a:lnTo>
                        <a:pt x="115" y="137"/>
                      </a:lnTo>
                      <a:lnTo>
                        <a:pt x="113" y="138"/>
                      </a:lnTo>
                      <a:lnTo>
                        <a:pt x="110" y="140"/>
                      </a:lnTo>
                      <a:lnTo>
                        <a:pt x="108" y="142"/>
                      </a:lnTo>
                      <a:lnTo>
                        <a:pt x="108" y="147"/>
                      </a:lnTo>
                      <a:lnTo>
                        <a:pt x="110" y="150"/>
                      </a:lnTo>
                      <a:lnTo>
                        <a:pt x="110" y="152"/>
                      </a:lnTo>
                      <a:lnTo>
                        <a:pt x="108" y="154"/>
                      </a:lnTo>
                      <a:lnTo>
                        <a:pt x="106" y="150"/>
                      </a:lnTo>
                      <a:lnTo>
                        <a:pt x="105" y="150"/>
                      </a:lnTo>
                      <a:lnTo>
                        <a:pt x="103" y="150"/>
                      </a:lnTo>
                      <a:lnTo>
                        <a:pt x="100" y="150"/>
                      </a:lnTo>
                      <a:lnTo>
                        <a:pt x="98" y="152"/>
                      </a:lnTo>
                      <a:lnTo>
                        <a:pt x="94" y="152"/>
                      </a:lnTo>
                      <a:lnTo>
                        <a:pt x="91" y="152"/>
                      </a:lnTo>
                      <a:lnTo>
                        <a:pt x="88" y="152"/>
                      </a:lnTo>
                      <a:lnTo>
                        <a:pt x="86" y="154"/>
                      </a:lnTo>
                      <a:lnTo>
                        <a:pt x="83" y="155"/>
                      </a:lnTo>
                      <a:lnTo>
                        <a:pt x="79" y="155"/>
                      </a:lnTo>
                      <a:lnTo>
                        <a:pt x="76" y="154"/>
                      </a:lnTo>
                      <a:lnTo>
                        <a:pt x="73" y="154"/>
                      </a:lnTo>
                      <a:lnTo>
                        <a:pt x="71" y="155"/>
                      </a:lnTo>
                      <a:lnTo>
                        <a:pt x="69" y="157"/>
                      </a:lnTo>
                      <a:lnTo>
                        <a:pt x="67" y="157"/>
                      </a:lnTo>
                      <a:lnTo>
                        <a:pt x="64" y="155"/>
                      </a:lnTo>
                      <a:lnTo>
                        <a:pt x="64" y="154"/>
                      </a:lnTo>
                      <a:lnTo>
                        <a:pt x="61" y="154"/>
                      </a:lnTo>
                      <a:lnTo>
                        <a:pt x="59" y="154"/>
                      </a:lnTo>
                      <a:lnTo>
                        <a:pt x="56" y="155"/>
                      </a:lnTo>
                      <a:lnTo>
                        <a:pt x="54" y="154"/>
                      </a:lnTo>
                      <a:lnTo>
                        <a:pt x="51" y="152"/>
                      </a:lnTo>
                      <a:lnTo>
                        <a:pt x="47" y="152"/>
                      </a:lnTo>
                      <a:lnTo>
                        <a:pt x="44" y="152"/>
                      </a:lnTo>
                      <a:lnTo>
                        <a:pt x="42" y="152"/>
                      </a:lnTo>
                      <a:lnTo>
                        <a:pt x="37" y="152"/>
                      </a:lnTo>
                      <a:lnTo>
                        <a:pt x="34" y="152"/>
                      </a:lnTo>
                      <a:lnTo>
                        <a:pt x="30" y="154"/>
                      </a:lnTo>
                      <a:lnTo>
                        <a:pt x="27" y="154"/>
                      </a:lnTo>
                      <a:lnTo>
                        <a:pt x="25" y="152"/>
                      </a:lnTo>
                      <a:lnTo>
                        <a:pt x="24" y="149"/>
                      </a:lnTo>
                      <a:lnTo>
                        <a:pt x="24" y="145"/>
                      </a:lnTo>
                      <a:lnTo>
                        <a:pt x="25" y="142"/>
                      </a:lnTo>
                      <a:lnTo>
                        <a:pt x="25" y="140"/>
                      </a:lnTo>
                      <a:lnTo>
                        <a:pt x="27" y="137"/>
                      </a:lnTo>
                      <a:lnTo>
                        <a:pt x="27" y="133"/>
                      </a:lnTo>
                      <a:lnTo>
                        <a:pt x="30" y="130"/>
                      </a:lnTo>
                      <a:lnTo>
                        <a:pt x="32" y="128"/>
                      </a:lnTo>
                      <a:lnTo>
                        <a:pt x="34" y="125"/>
                      </a:lnTo>
                      <a:lnTo>
                        <a:pt x="29" y="123"/>
                      </a:lnTo>
                      <a:lnTo>
                        <a:pt x="25" y="122"/>
                      </a:lnTo>
                      <a:lnTo>
                        <a:pt x="22" y="122"/>
                      </a:lnTo>
                      <a:lnTo>
                        <a:pt x="19" y="120"/>
                      </a:lnTo>
                      <a:lnTo>
                        <a:pt x="15" y="120"/>
                      </a:lnTo>
                      <a:lnTo>
                        <a:pt x="12" y="120"/>
                      </a:lnTo>
                      <a:lnTo>
                        <a:pt x="10" y="118"/>
                      </a:lnTo>
                      <a:lnTo>
                        <a:pt x="8" y="116"/>
                      </a:lnTo>
                      <a:lnTo>
                        <a:pt x="7" y="115"/>
                      </a:lnTo>
                      <a:lnTo>
                        <a:pt x="5" y="113"/>
                      </a:lnTo>
                      <a:lnTo>
                        <a:pt x="7" y="111"/>
                      </a:lnTo>
                      <a:lnTo>
                        <a:pt x="7" y="108"/>
                      </a:lnTo>
                      <a:lnTo>
                        <a:pt x="5" y="106"/>
                      </a:lnTo>
                      <a:lnTo>
                        <a:pt x="3" y="105"/>
                      </a:lnTo>
                      <a:lnTo>
                        <a:pt x="3" y="103"/>
                      </a:lnTo>
                      <a:lnTo>
                        <a:pt x="5" y="101"/>
                      </a:lnTo>
                      <a:lnTo>
                        <a:pt x="2" y="100"/>
                      </a:lnTo>
                      <a:lnTo>
                        <a:pt x="2" y="101"/>
                      </a:lnTo>
                      <a:lnTo>
                        <a:pt x="5" y="96"/>
                      </a:lnTo>
                      <a:lnTo>
                        <a:pt x="5" y="95"/>
                      </a:lnTo>
                      <a:lnTo>
                        <a:pt x="3" y="93"/>
                      </a:lnTo>
                      <a:lnTo>
                        <a:pt x="3" y="91"/>
                      </a:lnTo>
                      <a:lnTo>
                        <a:pt x="3" y="90"/>
                      </a:lnTo>
                      <a:lnTo>
                        <a:pt x="2" y="90"/>
                      </a:lnTo>
                      <a:lnTo>
                        <a:pt x="2" y="88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37" name="Group 1936">
                <a:extLst>
                  <a:ext uri="{FF2B5EF4-FFF2-40B4-BE49-F238E27FC236}">
                    <a16:creationId xmlns:a16="http://schemas.microsoft.com/office/drawing/2014/main" id="{A79FA8B6-5786-8746-B1BF-5063F6AF29E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64" y="406"/>
                <a:ext cx="9" cy="8"/>
                <a:chOff x="364" y="406"/>
                <a:chExt cx="9" cy="8"/>
              </a:xfrm>
            </p:grpSpPr>
            <p:sp>
              <p:nvSpPr>
                <p:cNvPr id="1938" name="Freeform 312">
                  <a:extLst>
                    <a:ext uri="{FF2B5EF4-FFF2-40B4-BE49-F238E27FC236}">
                      <a16:creationId xmlns:a16="http://schemas.microsoft.com/office/drawing/2014/main" id="{F0390B40-040C-B540-983A-FBC71303E5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4" y="406"/>
                  <a:ext cx="9" cy="8"/>
                </a:xfrm>
                <a:custGeom>
                  <a:avLst/>
                  <a:gdLst>
                    <a:gd name="T0" fmla="*/ 9 w 9"/>
                    <a:gd name="T1" fmla="*/ 3 h 8"/>
                    <a:gd name="T2" fmla="*/ 9 w 9"/>
                    <a:gd name="T3" fmla="*/ 2 h 8"/>
                    <a:gd name="T4" fmla="*/ 7 w 9"/>
                    <a:gd name="T5" fmla="*/ 0 h 8"/>
                    <a:gd name="T6" fmla="*/ 5 w 9"/>
                    <a:gd name="T7" fmla="*/ 0 h 8"/>
                    <a:gd name="T8" fmla="*/ 4 w 9"/>
                    <a:gd name="T9" fmla="*/ 0 h 8"/>
                    <a:gd name="T10" fmla="*/ 2 w 9"/>
                    <a:gd name="T11" fmla="*/ 0 h 8"/>
                    <a:gd name="T12" fmla="*/ 4 w 9"/>
                    <a:gd name="T13" fmla="*/ 2 h 8"/>
                    <a:gd name="T14" fmla="*/ 5 w 9"/>
                    <a:gd name="T15" fmla="*/ 2 h 8"/>
                    <a:gd name="T16" fmla="*/ 5 w 9"/>
                    <a:gd name="T17" fmla="*/ 3 h 8"/>
                    <a:gd name="T18" fmla="*/ 4 w 9"/>
                    <a:gd name="T19" fmla="*/ 3 h 8"/>
                    <a:gd name="T20" fmla="*/ 2 w 9"/>
                    <a:gd name="T21" fmla="*/ 2 h 8"/>
                    <a:gd name="T22" fmla="*/ 0 w 9"/>
                    <a:gd name="T23" fmla="*/ 2 h 8"/>
                    <a:gd name="T24" fmla="*/ 2 w 9"/>
                    <a:gd name="T25" fmla="*/ 3 h 8"/>
                    <a:gd name="T26" fmla="*/ 2 w 9"/>
                    <a:gd name="T27" fmla="*/ 5 h 8"/>
                    <a:gd name="T28" fmla="*/ 0 w 9"/>
                    <a:gd name="T29" fmla="*/ 7 h 8"/>
                    <a:gd name="T30" fmla="*/ 2 w 9"/>
                    <a:gd name="T31" fmla="*/ 7 h 8"/>
                    <a:gd name="T32" fmla="*/ 5 w 9"/>
                    <a:gd name="T33" fmla="*/ 8 h 8"/>
                    <a:gd name="T34" fmla="*/ 5 w 9"/>
                    <a:gd name="T35" fmla="*/ 7 h 8"/>
                    <a:gd name="T36" fmla="*/ 7 w 9"/>
                    <a:gd name="T37" fmla="*/ 7 h 8"/>
                    <a:gd name="T38" fmla="*/ 9 w 9"/>
                    <a:gd name="T39" fmla="*/ 7 h 8"/>
                    <a:gd name="T40" fmla="*/ 9 w 9"/>
                    <a:gd name="T41" fmla="*/ 5 h 8"/>
                    <a:gd name="T42" fmla="*/ 7 w 9"/>
                    <a:gd name="T43" fmla="*/ 3 h 8"/>
                    <a:gd name="T44" fmla="*/ 9 w 9"/>
                    <a:gd name="T45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9" h="8">
                      <a:moveTo>
                        <a:pt x="9" y="3"/>
                      </a:moveTo>
                      <a:lnTo>
                        <a:pt x="9" y="2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0" y="7"/>
                      </a:lnTo>
                      <a:lnTo>
                        <a:pt x="2" y="7"/>
                      </a:lnTo>
                      <a:lnTo>
                        <a:pt x="5" y="8"/>
                      </a:lnTo>
                      <a:lnTo>
                        <a:pt x="5" y="7"/>
                      </a:lnTo>
                      <a:lnTo>
                        <a:pt x="7" y="7"/>
                      </a:lnTo>
                      <a:lnTo>
                        <a:pt x="9" y="7"/>
                      </a:lnTo>
                      <a:lnTo>
                        <a:pt x="9" y="5"/>
                      </a:lnTo>
                      <a:lnTo>
                        <a:pt x="7" y="3"/>
                      </a:lnTo>
                      <a:lnTo>
                        <a:pt x="9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9" name="Freeform 313">
                  <a:extLst>
                    <a:ext uri="{FF2B5EF4-FFF2-40B4-BE49-F238E27FC236}">
                      <a16:creationId xmlns:a16="http://schemas.microsoft.com/office/drawing/2014/main" id="{B0B355F8-6A03-2C4B-A6D7-333D3E45E2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4" y="406"/>
                  <a:ext cx="9" cy="8"/>
                </a:xfrm>
                <a:custGeom>
                  <a:avLst/>
                  <a:gdLst>
                    <a:gd name="T0" fmla="*/ 9 w 9"/>
                    <a:gd name="T1" fmla="*/ 3 h 8"/>
                    <a:gd name="T2" fmla="*/ 9 w 9"/>
                    <a:gd name="T3" fmla="*/ 2 h 8"/>
                    <a:gd name="T4" fmla="*/ 7 w 9"/>
                    <a:gd name="T5" fmla="*/ 0 h 8"/>
                    <a:gd name="T6" fmla="*/ 5 w 9"/>
                    <a:gd name="T7" fmla="*/ 0 h 8"/>
                    <a:gd name="T8" fmla="*/ 4 w 9"/>
                    <a:gd name="T9" fmla="*/ 0 h 8"/>
                    <a:gd name="T10" fmla="*/ 2 w 9"/>
                    <a:gd name="T11" fmla="*/ 0 h 8"/>
                    <a:gd name="T12" fmla="*/ 4 w 9"/>
                    <a:gd name="T13" fmla="*/ 2 h 8"/>
                    <a:gd name="T14" fmla="*/ 5 w 9"/>
                    <a:gd name="T15" fmla="*/ 2 h 8"/>
                    <a:gd name="T16" fmla="*/ 5 w 9"/>
                    <a:gd name="T17" fmla="*/ 3 h 8"/>
                    <a:gd name="T18" fmla="*/ 4 w 9"/>
                    <a:gd name="T19" fmla="*/ 3 h 8"/>
                    <a:gd name="T20" fmla="*/ 2 w 9"/>
                    <a:gd name="T21" fmla="*/ 2 h 8"/>
                    <a:gd name="T22" fmla="*/ 0 w 9"/>
                    <a:gd name="T23" fmla="*/ 2 h 8"/>
                    <a:gd name="T24" fmla="*/ 2 w 9"/>
                    <a:gd name="T25" fmla="*/ 3 h 8"/>
                    <a:gd name="T26" fmla="*/ 2 w 9"/>
                    <a:gd name="T27" fmla="*/ 5 h 8"/>
                    <a:gd name="T28" fmla="*/ 0 w 9"/>
                    <a:gd name="T29" fmla="*/ 7 h 8"/>
                    <a:gd name="T30" fmla="*/ 2 w 9"/>
                    <a:gd name="T31" fmla="*/ 7 h 8"/>
                    <a:gd name="T32" fmla="*/ 5 w 9"/>
                    <a:gd name="T33" fmla="*/ 8 h 8"/>
                    <a:gd name="T34" fmla="*/ 5 w 9"/>
                    <a:gd name="T35" fmla="*/ 7 h 8"/>
                    <a:gd name="T36" fmla="*/ 7 w 9"/>
                    <a:gd name="T37" fmla="*/ 7 h 8"/>
                    <a:gd name="T38" fmla="*/ 9 w 9"/>
                    <a:gd name="T39" fmla="*/ 7 h 8"/>
                    <a:gd name="T40" fmla="*/ 9 w 9"/>
                    <a:gd name="T41" fmla="*/ 5 h 8"/>
                    <a:gd name="T42" fmla="*/ 7 w 9"/>
                    <a:gd name="T43" fmla="*/ 3 h 8"/>
                    <a:gd name="T44" fmla="*/ 9 w 9"/>
                    <a:gd name="T45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9" h="8">
                      <a:moveTo>
                        <a:pt x="9" y="3"/>
                      </a:moveTo>
                      <a:lnTo>
                        <a:pt x="9" y="2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0" y="7"/>
                      </a:lnTo>
                      <a:lnTo>
                        <a:pt x="2" y="7"/>
                      </a:lnTo>
                      <a:lnTo>
                        <a:pt x="5" y="8"/>
                      </a:lnTo>
                      <a:lnTo>
                        <a:pt x="5" y="7"/>
                      </a:lnTo>
                      <a:lnTo>
                        <a:pt x="7" y="7"/>
                      </a:lnTo>
                      <a:lnTo>
                        <a:pt x="9" y="7"/>
                      </a:lnTo>
                      <a:lnTo>
                        <a:pt x="9" y="5"/>
                      </a:lnTo>
                      <a:lnTo>
                        <a:pt x="7" y="3"/>
                      </a:lnTo>
                      <a:lnTo>
                        <a:pt x="9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650" name="Group 1649">
              <a:extLst>
                <a:ext uri="{FF2B5EF4-FFF2-40B4-BE49-F238E27FC236}">
                  <a16:creationId xmlns:a16="http://schemas.microsoft.com/office/drawing/2014/main" id="{00E80DE0-CF95-DB46-B9CA-F6AE97697AD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67" y="662"/>
              <a:ext cx="137" cy="127"/>
              <a:chOff x="467" y="662"/>
              <a:chExt cx="137" cy="127"/>
            </a:xfrm>
          </p:grpSpPr>
          <p:grpSp>
            <p:nvGrpSpPr>
              <p:cNvPr id="1897" name="Group 1896">
                <a:extLst>
                  <a:ext uri="{FF2B5EF4-FFF2-40B4-BE49-F238E27FC236}">
                    <a16:creationId xmlns:a16="http://schemas.microsoft.com/office/drawing/2014/main" id="{2CC06392-C998-EC4E-9107-389A2E438F2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6" y="662"/>
                <a:ext cx="99" cy="76"/>
                <a:chOff x="476" y="662"/>
                <a:chExt cx="99" cy="76"/>
              </a:xfrm>
            </p:grpSpPr>
            <p:sp>
              <p:nvSpPr>
                <p:cNvPr id="1934" name="Freeform 308">
                  <a:extLst>
                    <a:ext uri="{FF2B5EF4-FFF2-40B4-BE49-F238E27FC236}">
                      <a16:creationId xmlns:a16="http://schemas.microsoft.com/office/drawing/2014/main" id="{9F7BAB81-67B7-9047-9737-2DAF5C9708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662"/>
                  <a:ext cx="99" cy="76"/>
                </a:xfrm>
                <a:custGeom>
                  <a:avLst/>
                  <a:gdLst>
                    <a:gd name="T0" fmla="*/ 3 w 99"/>
                    <a:gd name="T1" fmla="*/ 37 h 76"/>
                    <a:gd name="T2" fmla="*/ 10 w 99"/>
                    <a:gd name="T3" fmla="*/ 27 h 76"/>
                    <a:gd name="T4" fmla="*/ 13 w 99"/>
                    <a:gd name="T5" fmla="*/ 19 h 76"/>
                    <a:gd name="T6" fmla="*/ 23 w 99"/>
                    <a:gd name="T7" fmla="*/ 17 h 76"/>
                    <a:gd name="T8" fmla="*/ 37 w 99"/>
                    <a:gd name="T9" fmla="*/ 12 h 76"/>
                    <a:gd name="T10" fmla="*/ 47 w 99"/>
                    <a:gd name="T11" fmla="*/ 9 h 76"/>
                    <a:gd name="T12" fmla="*/ 64 w 99"/>
                    <a:gd name="T13" fmla="*/ 5 h 76"/>
                    <a:gd name="T14" fmla="*/ 72 w 99"/>
                    <a:gd name="T15" fmla="*/ 7 h 76"/>
                    <a:gd name="T16" fmla="*/ 89 w 99"/>
                    <a:gd name="T17" fmla="*/ 9 h 76"/>
                    <a:gd name="T18" fmla="*/ 96 w 99"/>
                    <a:gd name="T19" fmla="*/ 0 h 76"/>
                    <a:gd name="T20" fmla="*/ 99 w 99"/>
                    <a:gd name="T21" fmla="*/ 7 h 76"/>
                    <a:gd name="T22" fmla="*/ 94 w 99"/>
                    <a:gd name="T23" fmla="*/ 17 h 76"/>
                    <a:gd name="T24" fmla="*/ 84 w 99"/>
                    <a:gd name="T25" fmla="*/ 19 h 76"/>
                    <a:gd name="T26" fmla="*/ 75 w 99"/>
                    <a:gd name="T27" fmla="*/ 15 h 76"/>
                    <a:gd name="T28" fmla="*/ 69 w 99"/>
                    <a:gd name="T29" fmla="*/ 19 h 76"/>
                    <a:gd name="T30" fmla="*/ 59 w 99"/>
                    <a:gd name="T31" fmla="*/ 20 h 76"/>
                    <a:gd name="T32" fmla="*/ 59 w 99"/>
                    <a:gd name="T33" fmla="*/ 25 h 76"/>
                    <a:gd name="T34" fmla="*/ 64 w 99"/>
                    <a:gd name="T35" fmla="*/ 29 h 76"/>
                    <a:gd name="T36" fmla="*/ 59 w 99"/>
                    <a:gd name="T37" fmla="*/ 27 h 76"/>
                    <a:gd name="T38" fmla="*/ 59 w 99"/>
                    <a:gd name="T39" fmla="*/ 32 h 76"/>
                    <a:gd name="T40" fmla="*/ 55 w 99"/>
                    <a:gd name="T41" fmla="*/ 31 h 76"/>
                    <a:gd name="T42" fmla="*/ 52 w 99"/>
                    <a:gd name="T43" fmla="*/ 32 h 76"/>
                    <a:gd name="T44" fmla="*/ 50 w 99"/>
                    <a:gd name="T45" fmla="*/ 32 h 76"/>
                    <a:gd name="T46" fmla="*/ 42 w 99"/>
                    <a:gd name="T47" fmla="*/ 25 h 76"/>
                    <a:gd name="T48" fmla="*/ 38 w 99"/>
                    <a:gd name="T49" fmla="*/ 29 h 76"/>
                    <a:gd name="T50" fmla="*/ 40 w 99"/>
                    <a:gd name="T51" fmla="*/ 37 h 76"/>
                    <a:gd name="T52" fmla="*/ 47 w 99"/>
                    <a:gd name="T53" fmla="*/ 46 h 76"/>
                    <a:gd name="T54" fmla="*/ 47 w 99"/>
                    <a:gd name="T55" fmla="*/ 51 h 76"/>
                    <a:gd name="T56" fmla="*/ 45 w 99"/>
                    <a:gd name="T57" fmla="*/ 47 h 76"/>
                    <a:gd name="T58" fmla="*/ 43 w 99"/>
                    <a:gd name="T59" fmla="*/ 52 h 76"/>
                    <a:gd name="T60" fmla="*/ 40 w 99"/>
                    <a:gd name="T61" fmla="*/ 54 h 76"/>
                    <a:gd name="T62" fmla="*/ 42 w 99"/>
                    <a:gd name="T63" fmla="*/ 57 h 76"/>
                    <a:gd name="T64" fmla="*/ 48 w 99"/>
                    <a:gd name="T65" fmla="*/ 59 h 76"/>
                    <a:gd name="T66" fmla="*/ 54 w 99"/>
                    <a:gd name="T67" fmla="*/ 64 h 76"/>
                    <a:gd name="T68" fmla="*/ 60 w 99"/>
                    <a:gd name="T69" fmla="*/ 68 h 76"/>
                    <a:gd name="T70" fmla="*/ 60 w 99"/>
                    <a:gd name="T71" fmla="*/ 74 h 76"/>
                    <a:gd name="T72" fmla="*/ 54 w 99"/>
                    <a:gd name="T73" fmla="*/ 71 h 76"/>
                    <a:gd name="T74" fmla="*/ 43 w 99"/>
                    <a:gd name="T75" fmla="*/ 71 h 76"/>
                    <a:gd name="T76" fmla="*/ 43 w 99"/>
                    <a:gd name="T77" fmla="*/ 68 h 76"/>
                    <a:gd name="T78" fmla="*/ 37 w 99"/>
                    <a:gd name="T79" fmla="*/ 66 h 76"/>
                    <a:gd name="T80" fmla="*/ 28 w 99"/>
                    <a:gd name="T81" fmla="*/ 64 h 76"/>
                    <a:gd name="T82" fmla="*/ 16 w 99"/>
                    <a:gd name="T83" fmla="*/ 64 h 76"/>
                    <a:gd name="T84" fmla="*/ 13 w 99"/>
                    <a:gd name="T85" fmla="*/ 59 h 76"/>
                    <a:gd name="T86" fmla="*/ 11 w 99"/>
                    <a:gd name="T87" fmla="*/ 56 h 76"/>
                    <a:gd name="T88" fmla="*/ 10 w 99"/>
                    <a:gd name="T89" fmla="*/ 51 h 76"/>
                    <a:gd name="T90" fmla="*/ 5 w 99"/>
                    <a:gd name="T91" fmla="*/ 47 h 76"/>
                    <a:gd name="T92" fmla="*/ 1 w 99"/>
                    <a:gd name="T93" fmla="*/ 41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99" h="76">
                      <a:moveTo>
                        <a:pt x="0" y="41"/>
                      </a:moveTo>
                      <a:lnTo>
                        <a:pt x="3" y="39"/>
                      </a:lnTo>
                      <a:lnTo>
                        <a:pt x="3" y="37"/>
                      </a:lnTo>
                      <a:lnTo>
                        <a:pt x="5" y="34"/>
                      </a:lnTo>
                      <a:lnTo>
                        <a:pt x="6" y="32"/>
                      </a:lnTo>
                      <a:lnTo>
                        <a:pt x="10" y="27"/>
                      </a:lnTo>
                      <a:lnTo>
                        <a:pt x="13" y="24"/>
                      </a:lnTo>
                      <a:lnTo>
                        <a:pt x="13" y="20"/>
                      </a:lnTo>
                      <a:lnTo>
                        <a:pt x="13" y="19"/>
                      </a:lnTo>
                      <a:lnTo>
                        <a:pt x="15" y="19"/>
                      </a:lnTo>
                      <a:lnTo>
                        <a:pt x="18" y="17"/>
                      </a:lnTo>
                      <a:lnTo>
                        <a:pt x="23" y="17"/>
                      </a:lnTo>
                      <a:lnTo>
                        <a:pt x="27" y="14"/>
                      </a:lnTo>
                      <a:lnTo>
                        <a:pt x="32" y="12"/>
                      </a:lnTo>
                      <a:lnTo>
                        <a:pt x="37" y="12"/>
                      </a:lnTo>
                      <a:lnTo>
                        <a:pt x="42" y="9"/>
                      </a:lnTo>
                      <a:lnTo>
                        <a:pt x="43" y="9"/>
                      </a:lnTo>
                      <a:lnTo>
                        <a:pt x="47" y="9"/>
                      </a:lnTo>
                      <a:lnTo>
                        <a:pt x="52" y="7"/>
                      </a:lnTo>
                      <a:lnTo>
                        <a:pt x="59" y="7"/>
                      </a:lnTo>
                      <a:lnTo>
                        <a:pt x="64" y="5"/>
                      </a:lnTo>
                      <a:lnTo>
                        <a:pt x="67" y="5"/>
                      </a:lnTo>
                      <a:lnTo>
                        <a:pt x="70" y="5"/>
                      </a:lnTo>
                      <a:lnTo>
                        <a:pt x="72" y="7"/>
                      </a:lnTo>
                      <a:lnTo>
                        <a:pt x="77" y="9"/>
                      </a:lnTo>
                      <a:lnTo>
                        <a:pt x="82" y="10"/>
                      </a:lnTo>
                      <a:lnTo>
                        <a:pt x="89" y="9"/>
                      </a:lnTo>
                      <a:lnTo>
                        <a:pt x="92" y="7"/>
                      </a:lnTo>
                      <a:lnTo>
                        <a:pt x="92" y="2"/>
                      </a:lnTo>
                      <a:lnTo>
                        <a:pt x="96" y="0"/>
                      </a:lnTo>
                      <a:lnTo>
                        <a:pt x="97" y="2"/>
                      </a:lnTo>
                      <a:lnTo>
                        <a:pt x="99" y="5"/>
                      </a:lnTo>
                      <a:lnTo>
                        <a:pt x="99" y="7"/>
                      </a:lnTo>
                      <a:lnTo>
                        <a:pt x="96" y="10"/>
                      </a:lnTo>
                      <a:lnTo>
                        <a:pt x="96" y="14"/>
                      </a:lnTo>
                      <a:lnTo>
                        <a:pt x="94" y="17"/>
                      </a:lnTo>
                      <a:lnTo>
                        <a:pt x="92" y="20"/>
                      </a:lnTo>
                      <a:lnTo>
                        <a:pt x="89" y="19"/>
                      </a:lnTo>
                      <a:lnTo>
                        <a:pt x="84" y="19"/>
                      </a:lnTo>
                      <a:lnTo>
                        <a:pt x="81" y="17"/>
                      </a:lnTo>
                      <a:lnTo>
                        <a:pt x="79" y="17"/>
                      </a:lnTo>
                      <a:lnTo>
                        <a:pt x="75" y="15"/>
                      </a:lnTo>
                      <a:lnTo>
                        <a:pt x="72" y="17"/>
                      </a:lnTo>
                      <a:lnTo>
                        <a:pt x="72" y="19"/>
                      </a:lnTo>
                      <a:lnTo>
                        <a:pt x="69" y="19"/>
                      </a:lnTo>
                      <a:lnTo>
                        <a:pt x="67" y="17"/>
                      </a:lnTo>
                      <a:lnTo>
                        <a:pt x="64" y="20"/>
                      </a:lnTo>
                      <a:lnTo>
                        <a:pt x="59" y="20"/>
                      </a:lnTo>
                      <a:lnTo>
                        <a:pt x="54" y="24"/>
                      </a:lnTo>
                      <a:lnTo>
                        <a:pt x="57" y="25"/>
                      </a:lnTo>
                      <a:lnTo>
                        <a:pt x="59" y="25"/>
                      </a:lnTo>
                      <a:lnTo>
                        <a:pt x="60" y="27"/>
                      </a:lnTo>
                      <a:lnTo>
                        <a:pt x="62" y="29"/>
                      </a:lnTo>
                      <a:lnTo>
                        <a:pt x="64" y="29"/>
                      </a:lnTo>
                      <a:lnTo>
                        <a:pt x="64" y="31"/>
                      </a:lnTo>
                      <a:lnTo>
                        <a:pt x="62" y="29"/>
                      </a:lnTo>
                      <a:lnTo>
                        <a:pt x="59" y="27"/>
                      </a:lnTo>
                      <a:lnTo>
                        <a:pt x="57" y="27"/>
                      </a:lnTo>
                      <a:lnTo>
                        <a:pt x="55" y="31"/>
                      </a:lnTo>
                      <a:lnTo>
                        <a:pt x="59" y="32"/>
                      </a:lnTo>
                      <a:lnTo>
                        <a:pt x="59" y="36"/>
                      </a:lnTo>
                      <a:lnTo>
                        <a:pt x="57" y="32"/>
                      </a:lnTo>
                      <a:lnTo>
                        <a:pt x="55" y="31"/>
                      </a:lnTo>
                      <a:lnTo>
                        <a:pt x="52" y="29"/>
                      </a:lnTo>
                      <a:lnTo>
                        <a:pt x="52" y="31"/>
                      </a:lnTo>
                      <a:lnTo>
                        <a:pt x="52" y="32"/>
                      </a:lnTo>
                      <a:lnTo>
                        <a:pt x="54" y="34"/>
                      </a:lnTo>
                      <a:lnTo>
                        <a:pt x="54" y="36"/>
                      </a:lnTo>
                      <a:lnTo>
                        <a:pt x="50" y="32"/>
                      </a:lnTo>
                      <a:lnTo>
                        <a:pt x="48" y="31"/>
                      </a:lnTo>
                      <a:lnTo>
                        <a:pt x="45" y="27"/>
                      </a:lnTo>
                      <a:lnTo>
                        <a:pt x="42" y="25"/>
                      </a:lnTo>
                      <a:lnTo>
                        <a:pt x="42" y="24"/>
                      </a:lnTo>
                      <a:lnTo>
                        <a:pt x="38" y="24"/>
                      </a:lnTo>
                      <a:lnTo>
                        <a:pt x="38" y="29"/>
                      </a:lnTo>
                      <a:lnTo>
                        <a:pt x="38" y="32"/>
                      </a:lnTo>
                      <a:lnTo>
                        <a:pt x="38" y="36"/>
                      </a:lnTo>
                      <a:lnTo>
                        <a:pt x="40" y="37"/>
                      </a:lnTo>
                      <a:lnTo>
                        <a:pt x="42" y="41"/>
                      </a:lnTo>
                      <a:lnTo>
                        <a:pt x="45" y="42"/>
                      </a:lnTo>
                      <a:lnTo>
                        <a:pt x="47" y="46"/>
                      </a:lnTo>
                      <a:lnTo>
                        <a:pt x="48" y="47"/>
                      </a:lnTo>
                      <a:lnTo>
                        <a:pt x="48" y="49"/>
                      </a:lnTo>
                      <a:lnTo>
                        <a:pt x="47" y="51"/>
                      </a:lnTo>
                      <a:lnTo>
                        <a:pt x="45" y="51"/>
                      </a:lnTo>
                      <a:lnTo>
                        <a:pt x="47" y="49"/>
                      </a:lnTo>
                      <a:lnTo>
                        <a:pt x="45" y="47"/>
                      </a:lnTo>
                      <a:lnTo>
                        <a:pt x="43" y="47"/>
                      </a:lnTo>
                      <a:lnTo>
                        <a:pt x="42" y="49"/>
                      </a:lnTo>
                      <a:lnTo>
                        <a:pt x="43" y="52"/>
                      </a:lnTo>
                      <a:lnTo>
                        <a:pt x="43" y="54"/>
                      </a:lnTo>
                      <a:lnTo>
                        <a:pt x="42" y="54"/>
                      </a:lnTo>
                      <a:lnTo>
                        <a:pt x="40" y="54"/>
                      </a:lnTo>
                      <a:lnTo>
                        <a:pt x="37" y="54"/>
                      </a:lnTo>
                      <a:lnTo>
                        <a:pt x="38" y="56"/>
                      </a:lnTo>
                      <a:lnTo>
                        <a:pt x="42" y="57"/>
                      </a:lnTo>
                      <a:lnTo>
                        <a:pt x="43" y="57"/>
                      </a:lnTo>
                      <a:lnTo>
                        <a:pt x="45" y="59"/>
                      </a:lnTo>
                      <a:lnTo>
                        <a:pt x="48" y="59"/>
                      </a:lnTo>
                      <a:lnTo>
                        <a:pt x="50" y="63"/>
                      </a:lnTo>
                      <a:lnTo>
                        <a:pt x="52" y="63"/>
                      </a:lnTo>
                      <a:lnTo>
                        <a:pt x="54" y="64"/>
                      </a:lnTo>
                      <a:lnTo>
                        <a:pt x="55" y="66"/>
                      </a:lnTo>
                      <a:lnTo>
                        <a:pt x="57" y="66"/>
                      </a:lnTo>
                      <a:lnTo>
                        <a:pt x="60" y="68"/>
                      </a:lnTo>
                      <a:lnTo>
                        <a:pt x="60" y="69"/>
                      </a:lnTo>
                      <a:lnTo>
                        <a:pt x="60" y="73"/>
                      </a:lnTo>
                      <a:lnTo>
                        <a:pt x="60" y="74"/>
                      </a:lnTo>
                      <a:lnTo>
                        <a:pt x="60" y="76"/>
                      </a:lnTo>
                      <a:lnTo>
                        <a:pt x="57" y="74"/>
                      </a:lnTo>
                      <a:lnTo>
                        <a:pt x="54" y="71"/>
                      </a:lnTo>
                      <a:lnTo>
                        <a:pt x="50" y="73"/>
                      </a:lnTo>
                      <a:lnTo>
                        <a:pt x="45" y="73"/>
                      </a:lnTo>
                      <a:lnTo>
                        <a:pt x="43" y="71"/>
                      </a:lnTo>
                      <a:lnTo>
                        <a:pt x="45" y="69"/>
                      </a:lnTo>
                      <a:lnTo>
                        <a:pt x="47" y="68"/>
                      </a:lnTo>
                      <a:lnTo>
                        <a:pt x="43" y="68"/>
                      </a:lnTo>
                      <a:lnTo>
                        <a:pt x="40" y="66"/>
                      </a:lnTo>
                      <a:lnTo>
                        <a:pt x="38" y="64"/>
                      </a:lnTo>
                      <a:lnTo>
                        <a:pt x="37" y="66"/>
                      </a:lnTo>
                      <a:lnTo>
                        <a:pt x="35" y="64"/>
                      </a:lnTo>
                      <a:lnTo>
                        <a:pt x="32" y="64"/>
                      </a:lnTo>
                      <a:lnTo>
                        <a:pt x="28" y="64"/>
                      </a:lnTo>
                      <a:lnTo>
                        <a:pt x="23" y="64"/>
                      </a:lnTo>
                      <a:lnTo>
                        <a:pt x="18" y="63"/>
                      </a:lnTo>
                      <a:lnTo>
                        <a:pt x="16" y="64"/>
                      </a:lnTo>
                      <a:lnTo>
                        <a:pt x="15" y="64"/>
                      </a:lnTo>
                      <a:lnTo>
                        <a:pt x="15" y="63"/>
                      </a:lnTo>
                      <a:lnTo>
                        <a:pt x="13" y="59"/>
                      </a:lnTo>
                      <a:lnTo>
                        <a:pt x="11" y="57"/>
                      </a:lnTo>
                      <a:lnTo>
                        <a:pt x="10" y="54"/>
                      </a:lnTo>
                      <a:lnTo>
                        <a:pt x="11" y="56"/>
                      </a:lnTo>
                      <a:lnTo>
                        <a:pt x="15" y="54"/>
                      </a:lnTo>
                      <a:lnTo>
                        <a:pt x="13" y="52"/>
                      </a:lnTo>
                      <a:lnTo>
                        <a:pt x="10" y="51"/>
                      </a:lnTo>
                      <a:lnTo>
                        <a:pt x="8" y="54"/>
                      </a:lnTo>
                      <a:lnTo>
                        <a:pt x="6" y="51"/>
                      </a:lnTo>
                      <a:lnTo>
                        <a:pt x="5" y="47"/>
                      </a:lnTo>
                      <a:lnTo>
                        <a:pt x="1" y="46"/>
                      </a:lnTo>
                      <a:lnTo>
                        <a:pt x="1" y="42"/>
                      </a:lnTo>
                      <a:lnTo>
                        <a:pt x="1" y="41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5" name="Freeform 309">
                  <a:extLst>
                    <a:ext uri="{FF2B5EF4-FFF2-40B4-BE49-F238E27FC236}">
                      <a16:creationId xmlns:a16="http://schemas.microsoft.com/office/drawing/2014/main" id="{CC79FA5C-9F81-AD4D-B0FF-BEE886AF34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662"/>
                  <a:ext cx="99" cy="76"/>
                </a:xfrm>
                <a:custGeom>
                  <a:avLst/>
                  <a:gdLst>
                    <a:gd name="T0" fmla="*/ 3 w 99"/>
                    <a:gd name="T1" fmla="*/ 37 h 76"/>
                    <a:gd name="T2" fmla="*/ 10 w 99"/>
                    <a:gd name="T3" fmla="*/ 27 h 76"/>
                    <a:gd name="T4" fmla="*/ 13 w 99"/>
                    <a:gd name="T5" fmla="*/ 19 h 76"/>
                    <a:gd name="T6" fmla="*/ 23 w 99"/>
                    <a:gd name="T7" fmla="*/ 17 h 76"/>
                    <a:gd name="T8" fmla="*/ 37 w 99"/>
                    <a:gd name="T9" fmla="*/ 12 h 76"/>
                    <a:gd name="T10" fmla="*/ 47 w 99"/>
                    <a:gd name="T11" fmla="*/ 9 h 76"/>
                    <a:gd name="T12" fmla="*/ 64 w 99"/>
                    <a:gd name="T13" fmla="*/ 5 h 76"/>
                    <a:gd name="T14" fmla="*/ 72 w 99"/>
                    <a:gd name="T15" fmla="*/ 7 h 76"/>
                    <a:gd name="T16" fmla="*/ 89 w 99"/>
                    <a:gd name="T17" fmla="*/ 9 h 76"/>
                    <a:gd name="T18" fmla="*/ 96 w 99"/>
                    <a:gd name="T19" fmla="*/ 0 h 76"/>
                    <a:gd name="T20" fmla="*/ 99 w 99"/>
                    <a:gd name="T21" fmla="*/ 7 h 76"/>
                    <a:gd name="T22" fmla="*/ 94 w 99"/>
                    <a:gd name="T23" fmla="*/ 17 h 76"/>
                    <a:gd name="T24" fmla="*/ 84 w 99"/>
                    <a:gd name="T25" fmla="*/ 19 h 76"/>
                    <a:gd name="T26" fmla="*/ 75 w 99"/>
                    <a:gd name="T27" fmla="*/ 15 h 76"/>
                    <a:gd name="T28" fmla="*/ 69 w 99"/>
                    <a:gd name="T29" fmla="*/ 19 h 76"/>
                    <a:gd name="T30" fmla="*/ 59 w 99"/>
                    <a:gd name="T31" fmla="*/ 20 h 76"/>
                    <a:gd name="T32" fmla="*/ 59 w 99"/>
                    <a:gd name="T33" fmla="*/ 25 h 76"/>
                    <a:gd name="T34" fmla="*/ 64 w 99"/>
                    <a:gd name="T35" fmla="*/ 29 h 76"/>
                    <a:gd name="T36" fmla="*/ 59 w 99"/>
                    <a:gd name="T37" fmla="*/ 27 h 76"/>
                    <a:gd name="T38" fmla="*/ 59 w 99"/>
                    <a:gd name="T39" fmla="*/ 32 h 76"/>
                    <a:gd name="T40" fmla="*/ 55 w 99"/>
                    <a:gd name="T41" fmla="*/ 31 h 76"/>
                    <a:gd name="T42" fmla="*/ 52 w 99"/>
                    <a:gd name="T43" fmla="*/ 32 h 76"/>
                    <a:gd name="T44" fmla="*/ 50 w 99"/>
                    <a:gd name="T45" fmla="*/ 32 h 76"/>
                    <a:gd name="T46" fmla="*/ 42 w 99"/>
                    <a:gd name="T47" fmla="*/ 25 h 76"/>
                    <a:gd name="T48" fmla="*/ 38 w 99"/>
                    <a:gd name="T49" fmla="*/ 29 h 76"/>
                    <a:gd name="T50" fmla="*/ 40 w 99"/>
                    <a:gd name="T51" fmla="*/ 37 h 76"/>
                    <a:gd name="T52" fmla="*/ 47 w 99"/>
                    <a:gd name="T53" fmla="*/ 46 h 76"/>
                    <a:gd name="T54" fmla="*/ 47 w 99"/>
                    <a:gd name="T55" fmla="*/ 51 h 76"/>
                    <a:gd name="T56" fmla="*/ 45 w 99"/>
                    <a:gd name="T57" fmla="*/ 47 h 76"/>
                    <a:gd name="T58" fmla="*/ 43 w 99"/>
                    <a:gd name="T59" fmla="*/ 52 h 76"/>
                    <a:gd name="T60" fmla="*/ 40 w 99"/>
                    <a:gd name="T61" fmla="*/ 54 h 76"/>
                    <a:gd name="T62" fmla="*/ 42 w 99"/>
                    <a:gd name="T63" fmla="*/ 57 h 76"/>
                    <a:gd name="T64" fmla="*/ 48 w 99"/>
                    <a:gd name="T65" fmla="*/ 59 h 76"/>
                    <a:gd name="T66" fmla="*/ 54 w 99"/>
                    <a:gd name="T67" fmla="*/ 64 h 76"/>
                    <a:gd name="T68" fmla="*/ 60 w 99"/>
                    <a:gd name="T69" fmla="*/ 68 h 76"/>
                    <a:gd name="T70" fmla="*/ 60 w 99"/>
                    <a:gd name="T71" fmla="*/ 74 h 76"/>
                    <a:gd name="T72" fmla="*/ 54 w 99"/>
                    <a:gd name="T73" fmla="*/ 71 h 76"/>
                    <a:gd name="T74" fmla="*/ 43 w 99"/>
                    <a:gd name="T75" fmla="*/ 71 h 76"/>
                    <a:gd name="T76" fmla="*/ 43 w 99"/>
                    <a:gd name="T77" fmla="*/ 68 h 76"/>
                    <a:gd name="T78" fmla="*/ 37 w 99"/>
                    <a:gd name="T79" fmla="*/ 66 h 76"/>
                    <a:gd name="T80" fmla="*/ 28 w 99"/>
                    <a:gd name="T81" fmla="*/ 64 h 76"/>
                    <a:gd name="T82" fmla="*/ 16 w 99"/>
                    <a:gd name="T83" fmla="*/ 64 h 76"/>
                    <a:gd name="T84" fmla="*/ 13 w 99"/>
                    <a:gd name="T85" fmla="*/ 59 h 76"/>
                    <a:gd name="T86" fmla="*/ 11 w 99"/>
                    <a:gd name="T87" fmla="*/ 56 h 76"/>
                    <a:gd name="T88" fmla="*/ 10 w 99"/>
                    <a:gd name="T89" fmla="*/ 51 h 76"/>
                    <a:gd name="T90" fmla="*/ 5 w 99"/>
                    <a:gd name="T91" fmla="*/ 47 h 76"/>
                    <a:gd name="T92" fmla="*/ 1 w 99"/>
                    <a:gd name="T93" fmla="*/ 41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99" h="76">
                      <a:moveTo>
                        <a:pt x="0" y="41"/>
                      </a:moveTo>
                      <a:lnTo>
                        <a:pt x="3" y="39"/>
                      </a:lnTo>
                      <a:lnTo>
                        <a:pt x="3" y="37"/>
                      </a:lnTo>
                      <a:lnTo>
                        <a:pt x="5" y="34"/>
                      </a:lnTo>
                      <a:lnTo>
                        <a:pt x="6" y="32"/>
                      </a:lnTo>
                      <a:lnTo>
                        <a:pt x="10" y="27"/>
                      </a:lnTo>
                      <a:lnTo>
                        <a:pt x="13" y="24"/>
                      </a:lnTo>
                      <a:lnTo>
                        <a:pt x="13" y="20"/>
                      </a:lnTo>
                      <a:lnTo>
                        <a:pt x="13" y="19"/>
                      </a:lnTo>
                      <a:lnTo>
                        <a:pt x="15" y="19"/>
                      </a:lnTo>
                      <a:lnTo>
                        <a:pt x="18" y="17"/>
                      </a:lnTo>
                      <a:lnTo>
                        <a:pt x="23" y="17"/>
                      </a:lnTo>
                      <a:lnTo>
                        <a:pt x="27" y="14"/>
                      </a:lnTo>
                      <a:lnTo>
                        <a:pt x="32" y="12"/>
                      </a:lnTo>
                      <a:lnTo>
                        <a:pt x="37" y="12"/>
                      </a:lnTo>
                      <a:lnTo>
                        <a:pt x="42" y="9"/>
                      </a:lnTo>
                      <a:lnTo>
                        <a:pt x="43" y="9"/>
                      </a:lnTo>
                      <a:lnTo>
                        <a:pt x="47" y="9"/>
                      </a:lnTo>
                      <a:lnTo>
                        <a:pt x="52" y="7"/>
                      </a:lnTo>
                      <a:lnTo>
                        <a:pt x="59" y="7"/>
                      </a:lnTo>
                      <a:lnTo>
                        <a:pt x="64" y="5"/>
                      </a:lnTo>
                      <a:lnTo>
                        <a:pt x="67" y="5"/>
                      </a:lnTo>
                      <a:lnTo>
                        <a:pt x="70" y="5"/>
                      </a:lnTo>
                      <a:lnTo>
                        <a:pt x="72" y="7"/>
                      </a:lnTo>
                      <a:lnTo>
                        <a:pt x="77" y="9"/>
                      </a:lnTo>
                      <a:lnTo>
                        <a:pt x="82" y="10"/>
                      </a:lnTo>
                      <a:lnTo>
                        <a:pt x="89" y="9"/>
                      </a:lnTo>
                      <a:lnTo>
                        <a:pt x="92" y="7"/>
                      </a:lnTo>
                      <a:lnTo>
                        <a:pt x="92" y="2"/>
                      </a:lnTo>
                      <a:lnTo>
                        <a:pt x="96" y="0"/>
                      </a:lnTo>
                      <a:lnTo>
                        <a:pt x="97" y="2"/>
                      </a:lnTo>
                      <a:lnTo>
                        <a:pt x="99" y="5"/>
                      </a:lnTo>
                      <a:lnTo>
                        <a:pt x="99" y="7"/>
                      </a:lnTo>
                      <a:lnTo>
                        <a:pt x="96" y="10"/>
                      </a:lnTo>
                      <a:lnTo>
                        <a:pt x="96" y="14"/>
                      </a:lnTo>
                      <a:lnTo>
                        <a:pt x="94" y="17"/>
                      </a:lnTo>
                      <a:lnTo>
                        <a:pt x="92" y="20"/>
                      </a:lnTo>
                      <a:lnTo>
                        <a:pt x="89" y="19"/>
                      </a:lnTo>
                      <a:lnTo>
                        <a:pt x="84" y="19"/>
                      </a:lnTo>
                      <a:lnTo>
                        <a:pt x="81" y="17"/>
                      </a:lnTo>
                      <a:lnTo>
                        <a:pt x="79" y="17"/>
                      </a:lnTo>
                      <a:lnTo>
                        <a:pt x="75" y="15"/>
                      </a:lnTo>
                      <a:lnTo>
                        <a:pt x="72" y="17"/>
                      </a:lnTo>
                      <a:lnTo>
                        <a:pt x="72" y="19"/>
                      </a:lnTo>
                      <a:lnTo>
                        <a:pt x="69" y="19"/>
                      </a:lnTo>
                      <a:lnTo>
                        <a:pt x="67" y="17"/>
                      </a:lnTo>
                      <a:lnTo>
                        <a:pt x="64" y="20"/>
                      </a:lnTo>
                      <a:lnTo>
                        <a:pt x="59" y="20"/>
                      </a:lnTo>
                      <a:lnTo>
                        <a:pt x="54" y="24"/>
                      </a:lnTo>
                      <a:lnTo>
                        <a:pt x="57" y="25"/>
                      </a:lnTo>
                      <a:lnTo>
                        <a:pt x="59" y="25"/>
                      </a:lnTo>
                      <a:lnTo>
                        <a:pt x="60" y="27"/>
                      </a:lnTo>
                      <a:lnTo>
                        <a:pt x="62" y="29"/>
                      </a:lnTo>
                      <a:lnTo>
                        <a:pt x="64" y="29"/>
                      </a:lnTo>
                      <a:lnTo>
                        <a:pt x="64" y="31"/>
                      </a:lnTo>
                      <a:lnTo>
                        <a:pt x="62" y="29"/>
                      </a:lnTo>
                      <a:lnTo>
                        <a:pt x="59" y="27"/>
                      </a:lnTo>
                      <a:lnTo>
                        <a:pt x="57" y="27"/>
                      </a:lnTo>
                      <a:lnTo>
                        <a:pt x="55" y="31"/>
                      </a:lnTo>
                      <a:lnTo>
                        <a:pt x="59" y="32"/>
                      </a:lnTo>
                      <a:lnTo>
                        <a:pt x="59" y="36"/>
                      </a:lnTo>
                      <a:lnTo>
                        <a:pt x="57" y="32"/>
                      </a:lnTo>
                      <a:lnTo>
                        <a:pt x="55" y="31"/>
                      </a:lnTo>
                      <a:lnTo>
                        <a:pt x="52" y="29"/>
                      </a:lnTo>
                      <a:lnTo>
                        <a:pt x="52" y="31"/>
                      </a:lnTo>
                      <a:lnTo>
                        <a:pt x="52" y="32"/>
                      </a:lnTo>
                      <a:lnTo>
                        <a:pt x="54" y="34"/>
                      </a:lnTo>
                      <a:lnTo>
                        <a:pt x="54" y="36"/>
                      </a:lnTo>
                      <a:lnTo>
                        <a:pt x="50" y="32"/>
                      </a:lnTo>
                      <a:lnTo>
                        <a:pt x="48" y="31"/>
                      </a:lnTo>
                      <a:lnTo>
                        <a:pt x="45" y="27"/>
                      </a:lnTo>
                      <a:lnTo>
                        <a:pt x="42" y="25"/>
                      </a:lnTo>
                      <a:lnTo>
                        <a:pt x="42" y="24"/>
                      </a:lnTo>
                      <a:lnTo>
                        <a:pt x="38" y="24"/>
                      </a:lnTo>
                      <a:lnTo>
                        <a:pt x="38" y="29"/>
                      </a:lnTo>
                      <a:lnTo>
                        <a:pt x="38" y="32"/>
                      </a:lnTo>
                      <a:lnTo>
                        <a:pt x="38" y="36"/>
                      </a:lnTo>
                      <a:lnTo>
                        <a:pt x="40" y="37"/>
                      </a:lnTo>
                      <a:lnTo>
                        <a:pt x="42" y="41"/>
                      </a:lnTo>
                      <a:lnTo>
                        <a:pt x="45" y="42"/>
                      </a:lnTo>
                      <a:lnTo>
                        <a:pt x="47" y="46"/>
                      </a:lnTo>
                      <a:lnTo>
                        <a:pt x="48" y="47"/>
                      </a:lnTo>
                      <a:lnTo>
                        <a:pt x="48" y="49"/>
                      </a:lnTo>
                      <a:lnTo>
                        <a:pt x="47" y="51"/>
                      </a:lnTo>
                      <a:lnTo>
                        <a:pt x="45" y="51"/>
                      </a:lnTo>
                      <a:lnTo>
                        <a:pt x="47" y="49"/>
                      </a:lnTo>
                      <a:lnTo>
                        <a:pt x="45" y="47"/>
                      </a:lnTo>
                      <a:lnTo>
                        <a:pt x="43" y="47"/>
                      </a:lnTo>
                      <a:lnTo>
                        <a:pt x="42" y="49"/>
                      </a:lnTo>
                      <a:lnTo>
                        <a:pt x="43" y="52"/>
                      </a:lnTo>
                      <a:lnTo>
                        <a:pt x="43" y="54"/>
                      </a:lnTo>
                      <a:lnTo>
                        <a:pt x="42" y="54"/>
                      </a:lnTo>
                      <a:lnTo>
                        <a:pt x="40" y="54"/>
                      </a:lnTo>
                      <a:lnTo>
                        <a:pt x="37" y="54"/>
                      </a:lnTo>
                      <a:lnTo>
                        <a:pt x="38" y="56"/>
                      </a:lnTo>
                      <a:lnTo>
                        <a:pt x="42" y="57"/>
                      </a:lnTo>
                      <a:lnTo>
                        <a:pt x="43" y="57"/>
                      </a:lnTo>
                      <a:lnTo>
                        <a:pt x="45" y="59"/>
                      </a:lnTo>
                      <a:lnTo>
                        <a:pt x="48" y="59"/>
                      </a:lnTo>
                      <a:lnTo>
                        <a:pt x="50" y="63"/>
                      </a:lnTo>
                      <a:lnTo>
                        <a:pt x="52" y="63"/>
                      </a:lnTo>
                      <a:lnTo>
                        <a:pt x="54" y="64"/>
                      </a:lnTo>
                      <a:lnTo>
                        <a:pt x="55" y="66"/>
                      </a:lnTo>
                      <a:lnTo>
                        <a:pt x="57" y="66"/>
                      </a:lnTo>
                      <a:lnTo>
                        <a:pt x="60" y="68"/>
                      </a:lnTo>
                      <a:lnTo>
                        <a:pt x="60" y="69"/>
                      </a:lnTo>
                      <a:lnTo>
                        <a:pt x="60" y="73"/>
                      </a:lnTo>
                      <a:lnTo>
                        <a:pt x="60" y="74"/>
                      </a:lnTo>
                      <a:lnTo>
                        <a:pt x="60" y="76"/>
                      </a:lnTo>
                      <a:lnTo>
                        <a:pt x="57" y="74"/>
                      </a:lnTo>
                      <a:lnTo>
                        <a:pt x="54" y="71"/>
                      </a:lnTo>
                      <a:lnTo>
                        <a:pt x="50" y="73"/>
                      </a:lnTo>
                      <a:lnTo>
                        <a:pt x="45" y="73"/>
                      </a:lnTo>
                      <a:lnTo>
                        <a:pt x="43" y="71"/>
                      </a:lnTo>
                      <a:lnTo>
                        <a:pt x="45" y="69"/>
                      </a:lnTo>
                      <a:lnTo>
                        <a:pt x="47" y="68"/>
                      </a:lnTo>
                      <a:lnTo>
                        <a:pt x="43" y="68"/>
                      </a:lnTo>
                      <a:lnTo>
                        <a:pt x="40" y="66"/>
                      </a:lnTo>
                      <a:lnTo>
                        <a:pt x="38" y="64"/>
                      </a:lnTo>
                      <a:lnTo>
                        <a:pt x="37" y="66"/>
                      </a:lnTo>
                      <a:lnTo>
                        <a:pt x="35" y="64"/>
                      </a:lnTo>
                      <a:lnTo>
                        <a:pt x="32" y="64"/>
                      </a:lnTo>
                      <a:lnTo>
                        <a:pt x="28" y="64"/>
                      </a:lnTo>
                      <a:lnTo>
                        <a:pt x="23" y="64"/>
                      </a:lnTo>
                      <a:lnTo>
                        <a:pt x="18" y="63"/>
                      </a:lnTo>
                      <a:lnTo>
                        <a:pt x="16" y="64"/>
                      </a:lnTo>
                      <a:lnTo>
                        <a:pt x="15" y="64"/>
                      </a:lnTo>
                      <a:lnTo>
                        <a:pt x="15" y="63"/>
                      </a:lnTo>
                      <a:lnTo>
                        <a:pt x="13" y="59"/>
                      </a:lnTo>
                      <a:lnTo>
                        <a:pt x="11" y="57"/>
                      </a:lnTo>
                      <a:lnTo>
                        <a:pt x="10" y="54"/>
                      </a:lnTo>
                      <a:lnTo>
                        <a:pt x="11" y="56"/>
                      </a:lnTo>
                      <a:lnTo>
                        <a:pt x="15" y="54"/>
                      </a:lnTo>
                      <a:lnTo>
                        <a:pt x="13" y="52"/>
                      </a:lnTo>
                      <a:lnTo>
                        <a:pt x="10" y="51"/>
                      </a:lnTo>
                      <a:lnTo>
                        <a:pt x="8" y="54"/>
                      </a:lnTo>
                      <a:lnTo>
                        <a:pt x="6" y="51"/>
                      </a:lnTo>
                      <a:lnTo>
                        <a:pt x="5" y="47"/>
                      </a:lnTo>
                      <a:lnTo>
                        <a:pt x="1" y="46"/>
                      </a:lnTo>
                      <a:lnTo>
                        <a:pt x="1" y="42"/>
                      </a:lnTo>
                      <a:lnTo>
                        <a:pt x="1" y="41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98" name="Group 1897">
                <a:extLst>
                  <a:ext uri="{FF2B5EF4-FFF2-40B4-BE49-F238E27FC236}">
                    <a16:creationId xmlns:a16="http://schemas.microsoft.com/office/drawing/2014/main" id="{044DB5DF-2BC6-4840-B6E6-403230E866D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43" y="682"/>
                <a:ext cx="5" cy="4"/>
                <a:chOff x="543" y="682"/>
                <a:chExt cx="5" cy="4"/>
              </a:xfrm>
            </p:grpSpPr>
            <p:sp>
              <p:nvSpPr>
                <p:cNvPr id="1932" name="Freeform 306">
                  <a:extLst>
                    <a:ext uri="{FF2B5EF4-FFF2-40B4-BE49-F238E27FC236}">
                      <a16:creationId xmlns:a16="http://schemas.microsoft.com/office/drawing/2014/main" id="{6A1EBF49-F7ED-1249-BD01-FDF0E5D0F7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" y="682"/>
                  <a:ext cx="5" cy="4"/>
                </a:xfrm>
                <a:custGeom>
                  <a:avLst/>
                  <a:gdLst>
                    <a:gd name="T0" fmla="*/ 2 w 5"/>
                    <a:gd name="T1" fmla="*/ 4 h 4"/>
                    <a:gd name="T2" fmla="*/ 0 w 5"/>
                    <a:gd name="T3" fmla="*/ 2 h 4"/>
                    <a:gd name="T4" fmla="*/ 3 w 5"/>
                    <a:gd name="T5" fmla="*/ 0 h 4"/>
                    <a:gd name="T6" fmla="*/ 5 w 5"/>
                    <a:gd name="T7" fmla="*/ 0 h 4"/>
                    <a:gd name="T8" fmla="*/ 5 w 5"/>
                    <a:gd name="T9" fmla="*/ 2 h 4"/>
                    <a:gd name="T10" fmla="*/ 3 w 5"/>
                    <a:gd name="T11" fmla="*/ 4 h 4"/>
                    <a:gd name="T12" fmla="*/ 2 w 5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2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3" y="4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3" name="Freeform 307">
                  <a:extLst>
                    <a:ext uri="{FF2B5EF4-FFF2-40B4-BE49-F238E27FC236}">
                      <a16:creationId xmlns:a16="http://schemas.microsoft.com/office/drawing/2014/main" id="{FCA32924-090A-7744-965C-B5410FAAE5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" y="682"/>
                  <a:ext cx="5" cy="4"/>
                </a:xfrm>
                <a:custGeom>
                  <a:avLst/>
                  <a:gdLst>
                    <a:gd name="T0" fmla="*/ 2 w 5"/>
                    <a:gd name="T1" fmla="*/ 4 h 4"/>
                    <a:gd name="T2" fmla="*/ 0 w 5"/>
                    <a:gd name="T3" fmla="*/ 2 h 4"/>
                    <a:gd name="T4" fmla="*/ 3 w 5"/>
                    <a:gd name="T5" fmla="*/ 0 h 4"/>
                    <a:gd name="T6" fmla="*/ 5 w 5"/>
                    <a:gd name="T7" fmla="*/ 0 h 4"/>
                    <a:gd name="T8" fmla="*/ 5 w 5"/>
                    <a:gd name="T9" fmla="*/ 2 h 4"/>
                    <a:gd name="T10" fmla="*/ 3 w 5"/>
                    <a:gd name="T11" fmla="*/ 4 h 4"/>
                    <a:gd name="T12" fmla="*/ 2 w 5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2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3" y="4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99" name="Group 1898">
                <a:extLst>
                  <a:ext uri="{FF2B5EF4-FFF2-40B4-BE49-F238E27FC236}">
                    <a16:creationId xmlns:a16="http://schemas.microsoft.com/office/drawing/2014/main" id="{80954547-DE44-DD40-93B5-4BF86F2EB3E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51" y="696"/>
                <a:ext cx="6" cy="5"/>
                <a:chOff x="551" y="696"/>
                <a:chExt cx="6" cy="5"/>
              </a:xfrm>
            </p:grpSpPr>
            <p:sp>
              <p:nvSpPr>
                <p:cNvPr id="1930" name="Freeform 304">
                  <a:extLst>
                    <a:ext uri="{FF2B5EF4-FFF2-40B4-BE49-F238E27FC236}">
                      <a16:creationId xmlns:a16="http://schemas.microsoft.com/office/drawing/2014/main" id="{03F02EB6-C25F-2441-89CF-98EEF79DB1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" y="696"/>
                  <a:ext cx="6" cy="5"/>
                </a:xfrm>
                <a:custGeom>
                  <a:avLst/>
                  <a:gdLst>
                    <a:gd name="T0" fmla="*/ 6 w 6"/>
                    <a:gd name="T1" fmla="*/ 3 h 5"/>
                    <a:gd name="T2" fmla="*/ 4 w 6"/>
                    <a:gd name="T3" fmla="*/ 5 h 5"/>
                    <a:gd name="T4" fmla="*/ 4 w 6"/>
                    <a:gd name="T5" fmla="*/ 3 h 5"/>
                    <a:gd name="T6" fmla="*/ 2 w 6"/>
                    <a:gd name="T7" fmla="*/ 3 h 5"/>
                    <a:gd name="T8" fmla="*/ 2 w 6"/>
                    <a:gd name="T9" fmla="*/ 5 h 5"/>
                    <a:gd name="T10" fmla="*/ 0 w 6"/>
                    <a:gd name="T11" fmla="*/ 3 h 5"/>
                    <a:gd name="T12" fmla="*/ 0 w 6"/>
                    <a:gd name="T13" fmla="*/ 2 h 5"/>
                    <a:gd name="T14" fmla="*/ 4 w 6"/>
                    <a:gd name="T15" fmla="*/ 0 h 5"/>
                    <a:gd name="T16" fmla="*/ 6 w 6"/>
                    <a:gd name="T17" fmla="*/ 2 h 5"/>
                    <a:gd name="T18" fmla="*/ 6 w 6"/>
                    <a:gd name="T19" fmla="*/ 5 h 5"/>
                    <a:gd name="T20" fmla="*/ 6 w 6"/>
                    <a:gd name="T21" fmla="*/ 2 h 5"/>
                    <a:gd name="T22" fmla="*/ 6 w 6"/>
                    <a:gd name="T2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" h="5">
                      <a:moveTo>
                        <a:pt x="6" y="3"/>
                      </a:moveTo>
                      <a:lnTo>
                        <a:pt x="4" y="5"/>
                      </a:ln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6" y="5"/>
                      </a:lnTo>
                      <a:lnTo>
                        <a:pt x="6" y="2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1" name="Freeform 305">
                  <a:extLst>
                    <a:ext uri="{FF2B5EF4-FFF2-40B4-BE49-F238E27FC236}">
                      <a16:creationId xmlns:a16="http://schemas.microsoft.com/office/drawing/2014/main" id="{4ED500E1-2F51-144D-A5B5-7577C75C63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" y="696"/>
                  <a:ext cx="6" cy="5"/>
                </a:xfrm>
                <a:custGeom>
                  <a:avLst/>
                  <a:gdLst>
                    <a:gd name="T0" fmla="*/ 6 w 6"/>
                    <a:gd name="T1" fmla="*/ 3 h 5"/>
                    <a:gd name="T2" fmla="*/ 4 w 6"/>
                    <a:gd name="T3" fmla="*/ 5 h 5"/>
                    <a:gd name="T4" fmla="*/ 4 w 6"/>
                    <a:gd name="T5" fmla="*/ 3 h 5"/>
                    <a:gd name="T6" fmla="*/ 2 w 6"/>
                    <a:gd name="T7" fmla="*/ 3 h 5"/>
                    <a:gd name="T8" fmla="*/ 2 w 6"/>
                    <a:gd name="T9" fmla="*/ 5 h 5"/>
                    <a:gd name="T10" fmla="*/ 0 w 6"/>
                    <a:gd name="T11" fmla="*/ 3 h 5"/>
                    <a:gd name="T12" fmla="*/ 0 w 6"/>
                    <a:gd name="T13" fmla="*/ 2 h 5"/>
                    <a:gd name="T14" fmla="*/ 4 w 6"/>
                    <a:gd name="T15" fmla="*/ 0 h 5"/>
                    <a:gd name="T16" fmla="*/ 6 w 6"/>
                    <a:gd name="T17" fmla="*/ 2 h 5"/>
                    <a:gd name="T18" fmla="*/ 6 w 6"/>
                    <a:gd name="T19" fmla="*/ 5 h 5"/>
                    <a:gd name="T20" fmla="*/ 6 w 6"/>
                    <a:gd name="T21" fmla="*/ 2 h 5"/>
                    <a:gd name="T22" fmla="*/ 6 w 6"/>
                    <a:gd name="T2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" h="5">
                      <a:moveTo>
                        <a:pt x="6" y="3"/>
                      </a:moveTo>
                      <a:lnTo>
                        <a:pt x="4" y="5"/>
                      </a:ln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6" y="5"/>
                      </a:lnTo>
                      <a:lnTo>
                        <a:pt x="6" y="2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00" name="Group 1899">
                <a:extLst>
                  <a:ext uri="{FF2B5EF4-FFF2-40B4-BE49-F238E27FC236}">
                    <a16:creationId xmlns:a16="http://schemas.microsoft.com/office/drawing/2014/main" id="{DB4EACA3-9549-A24A-B010-86EF7915EAF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65" y="706"/>
                <a:ext cx="12" cy="8"/>
                <a:chOff x="565" y="706"/>
                <a:chExt cx="12" cy="8"/>
              </a:xfrm>
            </p:grpSpPr>
            <p:sp>
              <p:nvSpPr>
                <p:cNvPr id="1928" name="Freeform 302">
                  <a:extLst>
                    <a:ext uri="{FF2B5EF4-FFF2-40B4-BE49-F238E27FC236}">
                      <a16:creationId xmlns:a16="http://schemas.microsoft.com/office/drawing/2014/main" id="{00CBDC97-43C2-4041-9E2B-498CB02E1E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5" y="706"/>
                  <a:ext cx="12" cy="8"/>
                </a:xfrm>
                <a:custGeom>
                  <a:avLst/>
                  <a:gdLst>
                    <a:gd name="T0" fmla="*/ 8 w 12"/>
                    <a:gd name="T1" fmla="*/ 7 h 8"/>
                    <a:gd name="T2" fmla="*/ 7 w 12"/>
                    <a:gd name="T3" fmla="*/ 8 h 8"/>
                    <a:gd name="T4" fmla="*/ 5 w 12"/>
                    <a:gd name="T5" fmla="*/ 8 h 8"/>
                    <a:gd name="T6" fmla="*/ 5 w 12"/>
                    <a:gd name="T7" fmla="*/ 5 h 8"/>
                    <a:gd name="T8" fmla="*/ 3 w 12"/>
                    <a:gd name="T9" fmla="*/ 5 h 8"/>
                    <a:gd name="T10" fmla="*/ 2 w 12"/>
                    <a:gd name="T11" fmla="*/ 7 h 8"/>
                    <a:gd name="T12" fmla="*/ 0 w 12"/>
                    <a:gd name="T13" fmla="*/ 5 h 8"/>
                    <a:gd name="T14" fmla="*/ 0 w 12"/>
                    <a:gd name="T15" fmla="*/ 3 h 8"/>
                    <a:gd name="T16" fmla="*/ 3 w 12"/>
                    <a:gd name="T17" fmla="*/ 2 h 8"/>
                    <a:gd name="T18" fmla="*/ 5 w 12"/>
                    <a:gd name="T19" fmla="*/ 2 h 8"/>
                    <a:gd name="T20" fmla="*/ 7 w 12"/>
                    <a:gd name="T21" fmla="*/ 0 h 8"/>
                    <a:gd name="T22" fmla="*/ 8 w 12"/>
                    <a:gd name="T23" fmla="*/ 2 h 8"/>
                    <a:gd name="T24" fmla="*/ 10 w 12"/>
                    <a:gd name="T25" fmla="*/ 5 h 8"/>
                    <a:gd name="T26" fmla="*/ 12 w 12"/>
                    <a:gd name="T27" fmla="*/ 8 h 8"/>
                    <a:gd name="T28" fmla="*/ 10 w 12"/>
                    <a:gd name="T29" fmla="*/ 7 h 8"/>
                    <a:gd name="T30" fmla="*/ 8 w 12"/>
                    <a:gd name="T31" fmla="*/ 7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2" h="8">
                      <a:moveTo>
                        <a:pt x="8" y="7"/>
                      </a:moveTo>
                      <a:lnTo>
                        <a:pt x="7" y="8"/>
                      </a:lnTo>
                      <a:lnTo>
                        <a:pt x="5" y="8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7" y="0"/>
                      </a:lnTo>
                      <a:lnTo>
                        <a:pt x="8" y="2"/>
                      </a:lnTo>
                      <a:lnTo>
                        <a:pt x="10" y="5"/>
                      </a:lnTo>
                      <a:lnTo>
                        <a:pt x="12" y="8"/>
                      </a:lnTo>
                      <a:lnTo>
                        <a:pt x="10" y="7"/>
                      </a:lnTo>
                      <a:lnTo>
                        <a:pt x="8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9" name="Freeform 303">
                  <a:extLst>
                    <a:ext uri="{FF2B5EF4-FFF2-40B4-BE49-F238E27FC236}">
                      <a16:creationId xmlns:a16="http://schemas.microsoft.com/office/drawing/2014/main" id="{AF0C9976-B76F-2340-AF34-1BB8954C6A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5" y="706"/>
                  <a:ext cx="12" cy="8"/>
                </a:xfrm>
                <a:custGeom>
                  <a:avLst/>
                  <a:gdLst>
                    <a:gd name="T0" fmla="*/ 8 w 12"/>
                    <a:gd name="T1" fmla="*/ 7 h 8"/>
                    <a:gd name="T2" fmla="*/ 7 w 12"/>
                    <a:gd name="T3" fmla="*/ 8 h 8"/>
                    <a:gd name="T4" fmla="*/ 5 w 12"/>
                    <a:gd name="T5" fmla="*/ 8 h 8"/>
                    <a:gd name="T6" fmla="*/ 5 w 12"/>
                    <a:gd name="T7" fmla="*/ 5 h 8"/>
                    <a:gd name="T8" fmla="*/ 3 w 12"/>
                    <a:gd name="T9" fmla="*/ 5 h 8"/>
                    <a:gd name="T10" fmla="*/ 2 w 12"/>
                    <a:gd name="T11" fmla="*/ 7 h 8"/>
                    <a:gd name="T12" fmla="*/ 0 w 12"/>
                    <a:gd name="T13" fmla="*/ 5 h 8"/>
                    <a:gd name="T14" fmla="*/ 0 w 12"/>
                    <a:gd name="T15" fmla="*/ 3 h 8"/>
                    <a:gd name="T16" fmla="*/ 3 w 12"/>
                    <a:gd name="T17" fmla="*/ 2 h 8"/>
                    <a:gd name="T18" fmla="*/ 5 w 12"/>
                    <a:gd name="T19" fmla="*/ 2 h 8"/>
                    <a:gd name="T20" fmla="*/ 7 w 12"/>
                    <a:gd name="T21" fmla="*/ 0 h 8"/>
                    <a:gd name="T22" fmla="*/ 8 w 12"/>
                    <a:gd name="T23" fmla="*/ 2 h 8"/>
                    <a:gd name="T24" fmla="*/ 10 w 12"/>
                    <a:gd name="T25" fmla="*/ 5 h 8"/>
                    <a:gd name="T26" fmla="*/ 12 w 12"/>
                    <a:gd name="T27" fmla="*/ 8 h 8"/>
                    <a:gd name="T28" fmla="*/ 10 w 12"/>
                    <a:gd name="T29" fmla="*/ 7 h 8"/>
                    <a:gd name="T30" fmla="*/ 8 w 12"/>
                    <a:gd name="T31" fmla="*/ 7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2" h="8">
                      <a:moveTo>
                        <a:pt x="8" y="7"/>
                      </a:moveTo>
                      <a:lnTo>
                        <a:pt x="7" y="8"/>
                      </a:lnTo>
                      <a:lnTo>
                        <a:pt x="5" y="8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7" y="0"/>
                      </a:lnTo>
                      <a:lnTo>
                        <a:pt x="8" y="2"/>
                      </a:lnTo>
                      <a:lnTo>
                        <a:pt x="10" y="5"/>
                      </a:lnTo>
                      <a:lnTo>
                        <a:pt x="12" y="8"/>
                      </a:lnTo>
                      <a:lnTo>
                        <a:pt x="10" y="7"/>
                      </a:lnTo>
                      <a:lnTo>
                        <a:pt x="8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01" name="Group 1900">
                <a:extLst>
                  <a:ext uri="{FF2B5EF4-FFF2-40B4-BE49-F238E27FC236}">
                    <a16:creationId xmlns:a16="http://schemas.microsoft.com/office/drawing/2014/main" id="{611B7238-0729-4C49-97DB-FC623541FA6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65" y="721"/>
                <a:ext cx="3" cy="7"/>
                <a:chOff x="565" y="721"/>
                <a:chExt cx="3" cy="7"/>
              </a:xfrm>
            </p:grpSpPr>
            <p:sp>
              <p:nvSpPr>
                <p:cNvPr id="1926" name="Freeform 300">
                  <a:extLst>
                    <a:ext uri="{FF2B5EF4-FFF2-40B4-BE49-F238E27FC236}">
                      <a16:creationId xmlns:a16="http://schemas.microsoft.com/office/drawing/2014/main" id="{C8269E0F-5818-8949-AEE1-9E5EBF0D0F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5" y="721"/>
                  <a:ext cx="3" cy="7"/>
                </a:xfrm>
                <a:custGeom>
                  <a:avLst/>
                  <a:gdLst>
                    <a:gd name="T0" fmla="*/ 0 w 3"/>
                    <a:gd name="T1" fmla="*/ 7 h 7"/>
                    <a:gd name="T2" fmla="*/ 2 w 3"/>
                    <a:gd name="T3" fmla="*/ 5 h 7"/>
                    <a:gd name="T4" fmla="*/ 0 w 3"/>
                    <a:gd name="T5" fmla="*/ 2 h 7"/>
                    <a:gd name="T6" fmla="*/ 0 w 3"/>
                    <a:gd name="T7" fmla="*/ 0 h 7"/>
                    <a:gd name="T8" fmla="*/ 3 w 3"/>
                    <a:gd name="T9" fmla="*/ 0 h 7"/>
                    <a:gd name="T10" fmla="*/ 3 w 3"/>
                    <a:gd name="T11" fmla="*/ 2 h 7"/>
                    <a:gd name="T12" fmla="*/ 3 w 3"/>
                    <a:gd name="T13" fmla="*/ 4 h 7"/>
                    <a:gd name="T14" fmla="*/ 3 w 3"/>
                    <a:gd name="T15" fmla="*/ 7 h 7"/>
                    <a:gd name="T16" fmla="*/ 2 w 3"/>
                    <a:gd name="T17" fmla="*/ 7 h 7"/>
                    <a:gd name="T18" fmla="*/ 0 w 3"/>
                    <a:gd name="T1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7">
                      <a:moveTo>
                        <a:pt x="0" y="7"/>
                      </a:moveTo>
                      <a:lnTo>
                        <a:pt x="2" y="5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3" y="7"/>
                      </a:lnTo>
                      <a:lnTo>
                        <a:pt x="2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7" name="Freeform 301">
                  <a:extLst>
                    <a:ext uri="{FF2B5EF4-FFF2-40B4-BE49-F238E27FC236}">
                      <a16:creationId xmlns:a16="http://schemas.microsoft.com/office/drawing/2014/main" id="{403EE189-DE9B-0E48-973B-A78BF4B478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5" y="721"/>
                  <a:ext cx="3" cy="7"/>
                </a:xfrm>
                <a:custGeom>
                  <a:avLst/>
                  <a:gdLst>
                    <a:gd name="T0" fmla="*/ 0 w 3"/>
                    <a:gd name="T1" fmla="*/ 7 h 7"/>
                    <a:gd name="T2" fmla="*/ 2 w 3"/>
                    <a:gd name="T3" fmla="*/ 5 h 7"/>
                    <a:gd name="T4" fmla="*/ 0 w 3"/>
                    <a:gd name="T5" fmla="*/ 2 h 7"/>
                    <a:gd name="T6" fmla="*/ 0 w 3"/>
                    <a:gd name="T7" fmla="*/ 0 h 7"/>
                    <a:gd name="T8" fmla="*/ 3 w 3"/>
                    <a:gd name="T9" fmla="*/ 0 h 7"/>
                    <a:gd name="T10" fmla="*/ 3 w 3"/>
                    <a:gd name="T11" fmla="*/ 2 h 7"/>
                    <a:gd name="T12" fmla="*/ 3 w 3"/>
                    <a:gd name="T13" fmla="*/ 4 h 7"/>
                    <a:gd name="T14" fmla="*/ 3 w 3"/>
                    <a:gd name="T15" fmla="*/ 7 h 7"/>
                    <a:gd name="T16" fmla="*/ 2 w 3"/>
                    <a:gd name="T17" fmla="*/ 7 h 7"/>
                    <a:gd name="T18" fmla="*/ 0 w 3"/>
                    <a:gd name="T1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7">
                      <a:moveTo>
                        <a:pt x="0" y="7"/>
                      </a:moveTo>
                      <a:lnTo>
                        <a:pt x="2" y="5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3" y="7"/>
                      </a:lnTo>
                      <a:lnTo>
                        <a:pt x="2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02" name="Group 1901">
                <a:extLst>
                  <a:ext uri="{FF2B5EF4-FFF2-40B4-BE49-F238E27FC236}">
                    <a16:creationId xmlns:a16="http://schemas.microsoft.com/office/drawing/2014/main" id="{2C322DA8-8C05-F142-A594-778BB04963F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94" y="762"/>
                <a:ext cx="10" cy="8"/>
                <a:chOff x="594" y="762"/>
                <a:chExt cx="10" cy="8"/>
              </a:xfrm>
            </p:grpSpPr>
            <p:sp>
              <p:nvSpPr>
                <p:cNvPr id="1924" name="Freeform 298">
                  <a:extLst>
                    <a:ext uri="{FF2B5EF4-FFF2-40B4-BE49-F238E27FC236}">
                      <a16:creationId xmlns:a16="http://schemas.microsoft.com/office/drawing/2014/main" id="{D85A742F-A72C-CD43-9389-3915915DF8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4" y="762"/>
                  <a:ext cx="10" cy="8"/>
                </a:xfrm>
                <a:custGeom>
                  <a:avLst/>
                  <a:gdLst>
                    <a:gd name="T0" fmla="*/ 3 w 10"/>
                    <a:gd name="T1" fmla="*/ 8 h 8"/>
                    <a:gd name="T2" fmla="*/ 1 w 10"/>
                    <a:gd name="T3" fmla="*/ 8 h 8"/>
                    <a:gd name="T4" fmla="*/ 0 w 10"/>
                    <a:gd name="T5" fmla="*/ 5 h 8"/>
                    <a:gd name="T6" fmla="*/ 1 w 10"/>
                    <a:gd name="T7" fmla="*/ 3 h 8"/>
                    <a:gd name="T8" fmla="*/ 5 w 10"/>
                    <a:gd name="T9" fmla="*/ 0 h 8"/>
                    <a:gd name="T10" fmla="*/ 8 w 10"/>
                    <a:gd name="T11" fmla="*/ 0 h 8"/>
                    <a:gd name="T12" fmla="*/ 10 w 10"/>
                    <a:gd name="T13" fmla="*/ 0 h 8"/>
                    <a:gd name="T14" fmla="*/ 8 w 10"/>
                    <a:gd name="T15" fmla="*/ 1 h 8"/>
                    <a:gd name="T16" fmla="*/ 6 w 10"/>
                    <a:gd name="T17" fmla="*/ 3 h 8"/>
                    <a:gd name="T18" fmla="*/ 6 w 10"/>
                    <a:gd name="T19" fmla="*/ 5 h 8"/>
                    <a:gd name="T20" fmla="*/ 6 w 10"/>
                    <a:gd name="T21" fmla="*/ 6 h 8"/>
                    <a:gd name="T22" fmla="*/ 3 w 10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" h="8">
                      <a:moveTo>
                        <a:pt x="3" y="8"/>
                      </a:moveTo>
                      <a:lnTo>
                        <a:pt x="1" y="8"/>
                      </a:ln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5" y="0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8" y="1"/>
                      </a:lnTo>
                      <a:lnTo>
                        <a:pt x="6" y="3"/>
                      </a:lnTo>
                      <a:lnTo>
                        <a:pt x="6" y="5"/>
                      </a:lnTo>
                      <a:lnTo>
                        <a:pt x="6" y="6"/>
                      </a:lnTo>
                      <a:lnTo>
                        <a:pt x="3" y="8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5" name="Freeform 299">
                  <a:extLst>
                    <a:ext uri="{FF2B5EF4-FFF2-40B4-BE49-F238E27FC236}">
                      <a16:creationId xmlns:a16="http://schemas.microsoft.com/office/drawing/2014/main" id="{950C54F1-ED46-814A-B377-617E6553B5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4" y="762"/>
                  <a:ext cx="10" cy="8"/>
                </a:xfrm>
                <a:custGeom>
                  <a:avLst/>
                  <a:gdLst>
                    <a:gd name="T0" fmla="*/ 3 w 10"/>
                    <a:gd name="T1" fmla="*/ 8 h 8"/>
                    <a:gd name="T2" fmla="*/ 1 w 10"/>
                    <a:gd name="T3" fmla="*/ 8 h 8"/>
                    <a:gd name="T4" fmla="*/ 0 w 10"/>
                    <a:gd name="T5" fmla="*/ 5 h 8"/>
                    <a:gd name="T6" fmla="*/ 1 w 10"/>
                    <a:gd name="T7" fmla="*/ 3 h 8"/>
                    <a:gd name="T8" fmla="*/ 5 w 10"/>
                    <a:gd name="T9" fmla="*/ 0 h 8"/>
                    <a:gd name="T10" fmla="*/ 8 w 10"/>
                    <a:gd name="T11" fmla="*/ 0 h 8"/>
                    <a:gd name="T12" fmla="*/ 10 w 10"/>
                    <a:gd name="T13" fmla="*/ 0 h 8"/>
                    <a:gd name="T14" fmla="*/ 8 w 10"/>
                    <a:gd name="T15" fmla="*/ 1 h 8"/>
                    <a:gd name="T16" fmla="*/ 6 w 10"/>
                    <a:gd name="T17" fmla="*/ 3 h 8"/>
                    <a:gd name="T18" fmla="*/ 6 w 10"/>
                    <a:gd name="T19" fmla="*/ 5 h 8"/>
                    <a:gd name="T20" fmla="*/ 6 w 10"/>
                    <a:gd name="T21" fmla="*/ 6 h 8"/>
                    <a:gd name="T22" fmla="*/ 3 w 10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" h="8">
                      <a:moveTo>
                        <a:pt x="3" y="8"/>
                      </a:moveTo>
                      <a:lnTo>
                        <a:pt x="1" y="8"/>
                      </a:ln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5" y="0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8" y="1"/>
                      </a:lnTo>
                      <a:lnTo>
                        <a:pt x="6" y="3"/>
                      </a:lnTo>
                      <a:lnTo>
                        <a:pt x="6" y="5"/>
                      </a:lnTo>
                      <a:lnTo>
                        <a:pt x="6" y="6"/>
                      </a:lnTo>
                      <a:lnTo>
                        <a:pt x="3" y="8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03" name="Group 1902">
                <a:extLst>
                  <a:ext uri="{FF2B5EF4-FFF2-40B4-BE49-F238E27FC236}">
                    <a16:creationId xmlns:a16="http://schemas.microsoft.com/office/drawing/2014/main" id="{4500FDEE-5E37-8B4E-98D6-DFBB3143BB3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28" y="775"/>
                <a:ext cx="44" cy="14"/>
                <a:chOff x="528" y="775"/>
                <a:chExt cx="44" cy="14"/>
              </a:xfrm>
            </p:grpSpPr>
            <p:sp>
              <p:nvSpPr>
                <p:cNvPr id="1922" name="Freeform 296">
                  <a:extLst>
                    <a:ext uri="{FF2B5EF4-FFF2-40B4-BE49-F238E27FC236}">
                      <a16:creationId xmlns:a16="http://schemas.microsoft.com/office/drawing/2014/main" id="{2E721EAD-8B41-6E4A-B8B2-ADF990247C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8" y="775"/>
                  <a:ext cx="44" cy="14"/>
                </a:xfrm>
                <a:custGeom>
                  <a:avLst/>
                  <a:gdLst>
                    <a:gd name="T0" fmla="*/ 23 w 44"/>
                    <a:gd name="T1" fmla="*/ 5 h 14"/>
                    <a:gd name="T2" fmla="*/ 27 w 44"/>
                    <a:gd name="T3" fmla="*/ 7 h 14"/>
                    <a:gd name="T4" fmla="*/ 29 w 44"/>
                    <a:gd name="T5" fmla="*/ 7 h 14"/>
                    <a:gd name="T6" fmla="*/ 30 w 44"/>
                    <a:gd name="T7" fmla="*/ 7 h 14"/>
                    <a:gd name="T8" fmla="*/ 34 w 44"/>
                    <a:gd name="T9" fmla="*/ 7 h 14"/>
                    <a:gd name="T10" fmla="*/ 35 w 44"/>
                    <a:gd name="T11" fmla="*/ 9 h 14"/>
                    <a:gd name="T12" fmla="*/ 37 w 44"/>
                    <a:gd name="T13" fmla="*/ 9 h 14"/>
                    <a:gd name="T14" fmla="*/ 40 w 44"/>
                    <a:gd name="T15" fmla="*/ 9 h 14"/>
                    <a:gd name="T16" fmla="*/ 42 w 44"/>
                    <a:gd name="T17" fmla="*/ 9 h 14"/>
                    <a:gd name="T18" fmla="*/ 44 w 44"/>
                    <a:gd name="T19" fmla="*/ 7 h 14"/>
                    <a:gd name="T20" fmla="*/ 44 w 44"/>
                    <a:gd name="T21" fmla="*/ 9 h 14"/>
                    <a:gd name="T22" fmla="*/ 42 w 44"/>
                    <a:gd name="T23" fmla="*/ 12 h 14"/>
                    <a:gd name="T24" fmla="*/ 39 w 44"/>
                    <a:gd name="T25" fmla="*/ 12 h 14"/>
                    <a:gd name="T26" fmla="*/ 35 w 44"/>
                    <a:gd name="T27" fmla="*/ 12 h 14"/>
                    <a:gd name="T28" fmla="*/ 32 w 44"/>
                    <a:gd name="T29" fmla="*/ 12 h 14"/>
                    <a:gd name="T30" fmla="*/ 30 w 44"/>
                    <a:gd name="T31" fmla="*/ 12 h 14"/>
                    <a:gd name="T32" fmla="*/ 29 w 44"/>
                    <a:gd name="T33" fmla="*/ 12 h 14"/>
                    <a:gd name="T34" fmla="*/ 25 w 44"/>
                    <a:gd name="T35" fmla="*/ 14 h 14"/>
                    <a:gd name="T36" fmla="*/ 20 w 44"/>
                    <a:gd name="T37" fmla="*/ 14 h 14"/>
                    <a:gd name="T38" fmla="*/ 18 w 44"/>
                    <a:gd name="T39" fmla="*/ 10 h 14"/>
                    <a:gd name="T40" fmla="*/ 17 w 44"/>
                    <a:gd name="T41" fmla="*/ 10 h 14"/>
                    <a:gd name="T42" fmla="*/ 15 w 44"/>
                    <a:gd name="T43" fmla="*/ 9 h 14"/>
                    <a:gd name="T44" fmla="*/ 13 w 44"/>
                    <a:gd name="T45" fmla="*/ 9 h 14"/>
                    <a:gd name="T46" fmla="*/ 10 w 44"/>
                    <a:gd name="T47" fmla="*/ 9 h 14"/>
                    <a:gd name="T48" fmla="*/ 7 w 44"/>
                    <a:gd name="T49" fmla="*/ 9 h 14"/>
                    <a:gd name="T50" fmla="*/ 5 w 44"/>
                    <a:gd name="T51" fmla="*/ 9 h 14"/>
                    <a:gd name="T52" fmla="*/ 2 w 44"/>
                    <a:gd name="T53" fmla="*/ 9 h 14"/>
                    <a:gd name="T54" fmla="*/ 0 w 44"/>
                    <a:gd name="T55" fmla="*/ 9 h 14"/>
                    <a:gd name="T56" fmla="*/ 2 w 44"/>
                    <a:gd name="T57" fmla="*/ 5 h 14"/>
                    <a:gd name="T58" fmla="*/ 2 w 44"/>
                    <a:gd name="T59" fmla="*/ 2 h 14"/>
                    <a:gd name="T60" fmla="*/ 3 w 44"/>
                    <a:gd name="T61" fmla="*/ 3 h 14"/>
                    <a:gd name="T62" fmla="*/ 3 w 44"/>
                    <a:gd name="T63" fmla="*/ 0 h 14"/>
                    <a:gd name="T64" fmla="*/ 5 w 44"/>
                    <a:gd name="T65" fmla="*/ 0 h 14"/>
                    <a:gd name="T66" fmla="*/ 8 w 44"/>
                    <a:gd name="T67" fmla="*/ 2 h 14"/>
                    <a:gd name="T68" fmla="*/ 10 w 44"/>
                    <a:gd name="T69" fmla="*/ 2 h 14"/>
                    <a:gd name="T70" fmla="*/ 10 w 44"/>
                    <a:gd name="T71" fmla="*/ 3 h 14"/>
                    <a:gd name="T72" fmla="*/ 12 w 44"/>
                    <a:gd name="T73" fmla="*/ 3 h 14"/>
                    <a:gd name="T74" fmla="*/ 13 w 44"/>
                    <a:gd name="T75" fmla="*/ 5 h 14"/>
                    <a:gd name="T76" fmla="*/ 17 w 44"/>
                    <a:gd name="T77" fmla="*/ 5 h 14"/>
                    <a:gd name="T78" fmla="*/ 18 w 44"/>
                    <a:gd name="T79" fmla="*/ 5 h 14"/>
                    <a:gd name="T80" fmla="*/ 22 w 44"/>
                    <a:gd name="T81" fmla="*/ 3 h 14"/>
                    <a:gd name="T82" fmla="*/ 23 w 44"/>
                    <a:gd name="T83" fmla="*/ 5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44" h="14">
                      <a:moveTo>
                        <a:pt x="23" y="5"/>
                      </a:moveTo>
                      <a:lnTo>
                        <a:pt x="27" y="7"/>
                      </a:lnTo>
                      <a:lnTo>
                        <a:pt x="29" y="7"/>
                      </a:lnTo>
                      <a:lnTo>
                        <a:pt x="30" y="7"/>
                      </a:lnTo>
                      <a:lnTo>
                        <a:pt x="34" y="7"/>
                      </a:lnTo>
                      <a:lnTo>
                        <a:pt x="35" y="9"/>
                      </a:lnTo>
                      <a:lnTo>
                        <a:pt x="37" y="9"/>
                      </a:lnTo>
                      <a:lnTo>
                        <a:pt x="40" y="9"/>
                      </a:lnTo>
                      <a:lnTo>
                        <a:pt x="42" y="9"/>
                      </a:lnTo>
                      <a:lnTo>
                        <a:pt x="44" y="7"/>
                      </a:lnTo>
                      <a:lnTo>
                        <a:pt x="44" y="9"/>
                      </a:lnTo>
                      <a:lnTo>
                        <a:pt x="42" y="12"/>
                      </a:lnTo>
                      <a:lnTo>
                        <a:pt x="39" y="12"/>
                      </a:lnTo>
                      <a:lnTo>
                        <a:pt x="35" y="12"/>
                      </a:lnTo>
                      <a:lnTo>
                        <a:pt x="32" y="12"/>
                      </a:lnTo>
                      <a:lnTo>
                        <a:pt x="30" y="12"/>
                      </a:lnTo>
                      <a:lnTo>
                        <a:pt x="29" y="12"/>
                      </a:lnTo>
                      <a:lnTo>
                        <a:pt x="25" y="14"/>
                      </a:lnTo>
                      <a:lnTo>
                        <a:pt x="20" y="14"/>
                      </a:lnTo>
                      <a:lnTo>
                        <a:pt x="18" y="10"/>
                      </a:lnTo>
                      <a:lnTo>
                        <a:pt x="17" y="10"/>
                      </a:lnTo>
                      <a:lnTo>
                        <a:pt x="15" y="9"/>
                      </a:lnTo>
                      <a:lnTo>
                        <a:pt x="13" y="9"/>
                      </a:lnTo>
                      <a:lnTo>
                        <a:pt x="10" y="9"/>
                      </a:lnTo>
                      <a:lnTo>
                        <a:pt x="7" y="9"/>
                      </a:lnTo>
                      <a:lnTo>
                        <a:pt x="5" y="9"/>
                      </a:lnTo>
                      <a:lnTo>
                        <a:pt x="2" y="9"/>
                      </a:lnTo>
                      <a:lnTo>
                        <a:pt x="0" y="9"/>
                      </a:lnTo>
                      <a:lnTo>
                        <a:pt x="2" y="5"/>
                      </a:lnTo>
                      <a:lnTo>
                        <a:pt x="2" y="2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8" y="2"/>
                      </a:lnTo>
                      <a:lnTo>
                        <a:pt x="10" y="2"/>
                      </a:lnTo>
                      <a:lnTo>
                        <a:pt x="10" y="3"/>
                      </a:lnTo>
                      <a:lnTo>
                        <a:pt x="12" y="3"/>
                      </a:lnTo>
                      <a:lnTo>
                        <a:pt x="13" y="5"/>
                      </a:lnTo>
                      <a:lnTo>
                        <a:pt x="17" y="5"/>
                      </a:lnTo>
                      <a:lnTo>
                        <a:pt x="18" y="5"/>
                      </a:lnTo>
                      <a:lnTo>
                        <a:pt x="22" y="3"/>
                      </a:lnTo>
                      <a:lnTo>
                        <a:pt x="23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3" name="Freeform 297">
                  <a:extLst>
                    <a:ext uri="{FF2B5EF4-FFF2-40B4-BE49-F238E27FC236}">
                      <a16:creationId xmlns:a16="http://schemas.microsoft.com/office/drawing/2014/main" id="{8CB41CCE-A6CA-C445-899A-A69CD7D59A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8" y="775"/>
                  <a:ext cx="44" cy="14"/>
                </a:xfrm>
                <a:custGeom>
                  <a:avLst/>
                  <a:gdLst>
                    <a:gd name="T0" fmla="*/ 23 w 44"/>
                    <a:gd name="T1" fmla="*/ 5 h 14"/>
                    <a:gd name="T2" fmla="*/ 27 w 44"/>
                    <a:gd name="T3" fmla="*/ 7 h 14"/>
                    <a:gd name="T4" fmla="*/ 29 w 44"/>
                    <a:gd name="T5" fmla="*/ 7 h 14"/>
                    <a:gd name="T6" fmla="*/ 30 w 44"/>
                    <a:gd name="T7" fmla="*/ 7 h 14"/>
                    <a:gd name="T8" fmla="*/ 34 w 44"/>
                    <a:gd name="T9" fmla="*/ 7 h 14"/>
                    <a:gd name="T10" fmla="*/ 35 w 44"/>
                    <a:gd name="T11" fmla="*/ 9 h 14"/>
                    <a:gd name="T12" fmla="*/ 37 w 44"/>
                    <a:gd name="T13" fmla="*/ 9 h 14"/>
                    <a:gd name="T14" fmla="*/ 40 w 44"/>
                    <a:gd name="T15" fmla="*/ 9 h 14"/>
                    <a:gd name="T16" fmla="*/ 42 w 44"/>
                    <a:gd name="T17" fmla="*/ 9 h 14"/>
                    <a:gd name="T18" fmla="*/ 44 w 44"/>
                    <a:gd name="T19" fmla="*/ 7 h 14"/>
                    <a:gd name="T20" fmla="*/ 44 w 44"/>
                    <a:gd name="T21" fmla="*/ 9 h 14"/>
                    <a:gd name="T22" fmla="*/ 42 w 44"/>
                    <a:gd name="T23" fmla="*/ 12 h 14"/>
                    <a:gd name="T24" fmla="*/ 39 w 44"/>
                    <a:gd name="T25" fmla="*/ 12 h 14"/>
                    <a:gd name="T26" fmla="*/ 35 w 44"/>
                    <a:gd name="T27" fmla="*/ 12 h 14"/>
                    <a:gd name="T28" fmla="*/ 32 w 44"/>
                    <a:gd name="T29" fmla="*/ 12 h 14"/>
                    <a:gd name="T30" fmla="*/ 30 w 44"/>
                    <a:gd name="T31" fmla="*/ 12 h 14"/>
                    <a:gd name="T32" fmla="*/ 29 w 44"/>
                    <a:gd name="T33" fmla="*/ 12 h 14"/>
                    <a:gd name="T34" fmla="*/ 25 w 44"/>
                    <a:gd name="T35" fmla="*/ 14 h 14"/>
                    <a:gd name="T36" fmla="*/ 20 w 44"/>
                    <a:gd name="T37" fmla="*/ 14 h 14"/>
                    <a:gd name="T38" fmla="*/ 18 w 44"/>
                    <a:gd name="T39" fmla="*/ 10 h 14"/>
                    <a:gd name="T40" fmla="*/ 17 w 44"/>
                    <a:gd name="T41" fmla="*/ 10 h 14"/>
                    <a:gd name="T42" fmla="*/ 15 w 44"/>
                    <a:gd name="T43" fmla="*/ 9 h 14"/>
                    <a:gd name="T44" fmla="*/ 13 w 44"/>
                    <a:gd name="T45" fmla="*/ 9 h 14"/>
                    <a:gd name="T46" fmla="*/ 10 w 44"/>
                    <a:gd name="T47" fmla="*/ 9 h 14"/>
                    <a:gd name="T48" fmla="*/ 7 w 44"/>
                    <a:gd name="T49" fmla="*/ 9 h 14"/>
                    <a:gd name="T50" fmla="*/ 5 w 44"/>
                    <a:gd name="T51" fmla="*/ 9 h 14"/>
                    <a:gd name="T52" fmla="*/ 2 w 44"/>
                    <a:gd name="T53" fmla="*/ 9 h 14"/>
                    <a:gd name="T54" fmla="*/ 0 w 44"/>
                    <a:gd name="T55" fmla="*/ 9 h 14"/>
                    <a:gd name="T56" fmla="*/ 2 w 44"/>
                    <a:gd name="T57" fmla="*/ 5 h 14"/>
                    <a:gd name="T58" fmla="*/ 2 w 44"/>
                    <a:gd name="T59" fmla="*/ 2 h 14"/>
                    <a:gd name="T60" fmla="*/ 3 w 44"/>
                    <a:gd name="T61" fmla="*/ 3 h 14"/>
                    <a:gd name="T62" fmla="*/ 3 w 44"/>
                    <a:gd name="T63" fmla="*/ 0 h 14"/>
                    <a:gd name="T64" fmla="*/ 5 w 44"/>
                    <a:gd name="T65" fmla="*/ 0 h 14"/>
                    <a:gd name="T66" fmla="*/ 8 w 44"/>
                    <a:gd name="T67" fmla="*/ 2 h 14"/>
                    <a:gd name="T68" fmla="*/ 10 w 44"/>
                    <a:gd name="T69" fmla="*/ 2 h 14"/>
                    <a:gd name="T70" fmla="*/ 10 w 44"/>
                    <a:gd name="T71" fmla="*/ 3 h 14"/>
                    <a:gd name="T72" fmla="*/ 12 w 44"/>
                    <a:gd name="T73" fmla="*/ 3 h 14"/>
                    <a:gd name="T74" fmla="*/ 13 w 44"/>
                    <a:gd name="T75" fmla="*/ 5 h 14"/>
                    <a:gd name="T76" fmla="*/ 17 w 44"/>
                    <a:gd name="T77" fmla="*/ 5 h 14"/>
                    <a:gd name="T78" fmla="*/ 18 w 44"/>
                    <a:gd name="T79" fmla="*/ 5 h 14"/>
                    <a:gd name="T80" fmla="*/ 22 w 44"/>
                    <a:gd name="T81" fmla="*/ 3 h 14"/>
                    <a:gd name="T82" fmla="*/ 23 w 44"/>
                    <a:gd name="T83" fmla="*/ 5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44" h="14">
                      <a:moveTo>
                        <a:pt x="23" y="5"/>
                      </a:moveTo>
                      <a:lnTo>
                        <a:pt x="27" y="7"/>
                      </a:lnTo>
                      <a:lnTo>
                        <a:pt x="29" y="7"/>
                      </a:lnTo>
                      <a:lnTo>
                        <a:pt x="30" y="7"/>
                      </a:lnTo>
                      <a:lnTo>
                        <a:pt x="34" y="7"/>
                      </a:lnTo>
                      <a:lnTo>
                        <a:pt x="35" y="9"/>
                      </a:lnTo>
                      <a:lnTo>
                        <a:pt x="37" y="9"/>
                      </a:lnTo>
                      <a:lnTo>
                        <a:pt x="40" y="9"/>
                      </a:lnTo>
                      <a:lnTo>
                        <a:pt x="42" y="9"/>
                      </a:lnTo>
                      <a:lnTo>
                        <a:pt x="44" y="7"/>
                      </a:lnTo>
                      <a:lnTo>
                        <a:pt x="44" y="9"/>
                      </a:lnTo>
                      <a:lnTo>
                        <a:pt x="42" y="12"/>
                      </a:lnTo>
                      <a:lnTo>
                        <a:pt x="39" y="12"/>
                      </a:lnTo>
                      <a:lnTo>
                        <a:pt x="35" y="12"/>
                      </a:lnTo>
                      <a:lnTo>
                        <a:pt x="32" y="12"/>
                      </a:lnTo>
                      <a:lnTo>
                        <a:pt x="30" y="12"/>
                      </a:lnTo>
                      <a:lnTo>
                        <a:pt x="29" y="12"/>
                      </a:lnTo>
                      <a:lnTo>
                        <a:pt x="25" y="14"/>
                      </a:lnTo>
                      <a:lnTo>
                        <a:pt x="20" y="14"/>
                      </a:lnTo>
                      <a:lnTo>
                        <a:pt x="18" y="10"/>
                      </a:lnTo>
                      <a:lnTo>
                        <a:pt x="17" y="10"/>
                      </a:lnTo>
                      <a:lnTo>
                        <a:pt x="15" y="9"/>
                      </a:lnTo>
                      <a:lnTo>
                        <a:pt x="13" y="9"/>
                      </a:lnTo>
                      <a:lnTo>
                        <a:pt x="10" y="9"/>
                      </a:lnTo>
                      <a:lnTo>
                        <a:pt x="7" y="9"/>
                      </a:lnTo>
                      <a:lnTo>
                        <a:pt x="5" y="9"/>
                      </a:lnTo>
                      <a:lnTo>
                        <a:pt x="2" y="9"/>
                      </a:lnTo>
                      <a:lnTo>
                        <a:pt x="0" y="9"/>
                      </a:lnTo>
                      <a:lnTo>
                        <a:pt x="2" y="5"/>
                      </a:lnTo>
                      <a:lnTo>
                        <a:pt x="2" y="2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8" y="2"/>
                      </a:lnTo>
                      <a:lnTo>
                        <a:pt x="10" y="2"/>
                      </a:lnTo>
                      <a:lnTo>
                        <a:pt x="10" y="3"/>
                      </a:lnTo>
                      <a:lnTo>
                        <a:pt x="12" y="3"/>
                      </a:lnTo>
                      <a:lnTo>
                        <a:pt x="13" y="5"/>
                      </a:lnTo>
                      <a:lnTo>
                        <a:pt x="17" y="5"/>
                      </a:lnTo>
                      <a:lnTo>
                        <a:pt x="18" y="5"/>
                      </a:lnTo>
                      <a:lnTo>
                        <a:pt x="22" y="3"/>
                      </a:lnTo>
                      <a:lnTo>
                        <a:pt x="23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04" name="Group 1903">
                <a:extLst>
                  <a:ext uri="{FF2B5EF4-FFF2-40B4-BE49-F238E27FC236}">
                    <a16:creationId xmlns:a16="http://schemas.microsoft.com/office/drawing/2014/main" id="{20104C01-2BE5-704B-970F-C584E9381FA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46" y="733"/>
                <a:ext cx="5" cy="7"/>
                <a:chOff x="546" y="733"/>
                <a:chExt cx="5" cy="7"/>
              </a:xfrm>
            </p:grpSpPr>
            <p:sp>
              <p:nvSpPr>
                <p:cNvPr id="1920" name="Freeform 294">
                  <a:extLst>
                    <a:ext uri="{FF2B5EF4-FFF2-40B4-BE49-F238E27FC236}">
                      <a16:creationId xmlns:a16="http://schemas.microsoft.com/office/drawing/2014/main" id="{32643318-2527-DA4D-8987-3C5F033C46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" y="733"/>
                  <a:ext cx="5" cy="7"/>
                </a:xfrm>
                <a:custGeom>
                  <a:avLst/>
                  <a:gdLst>
                    <a:gd name="T0" fmla="*/ 4 w 5"/>
                    <a:gd name="T1" fmla="*/ 7 h 7"/>
                    <a:gd name="T2" fmla="*/ 2 w 5"/>
                    <a:gd name="T3" fmla="*/ 5 h 7"/>
                    <a:gd name="T4" fmla="*/ 2 w 5"/>
                    <a:gd name="T5" fmla="*/ 3 h 7"/>
                    <a:gd name="T6" fmla="*/ 0 w 5"/>
                    <a:gd name="T7" fmla="*/ 2 h 7"/>
                    <a:gd name="T8" fmla="*/ 0 w 5"/>
                    <a:gd name="T9" fmla="*/ 0 h 7"/>
                    <a:gd name="T10" fmla="*/ 2 w 5"/>
                    <a:gd name="T11" fmla="*/ 2 h 7"/>
                    <a:gd name="T12" fmla="*/ 5 w 5"/>
                    <a:gd name="T13" fmla="*/ 2 h 7"/>
                    <a:gd name="T14" fmla="*/ 5 w 5"/>
                    <a:gd name="T15" fmla="*/ 3 h 7"/>
                    <a:gd name="T16" fmla="*/ 5 w 5"/>
                    <a:gd name="T17" fmla="*/ 5 h 7"/>
                    <a:gd name="T18" fmla="*/ 4 w 5"/>
                    <a:gd name="T1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7">
                      <a:moveTo>
                        <a:pt x="4" y="7"/>
                      </a:moveTo>
                      <a:lnTo>
                        <a:pt x="2" y="5"/>
                      </a:lnTo>
                      <a:lnTo>
                        <a:pt x="2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5" y="5"/>
                      </a:lnTo>
                      <a:lnTo>
                        <a:pt x="4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1" name="Freeform 295">
                  <a:extLst>
                    <a:ext uri="{FF2B5EF4-FFF2-40B4-BE49-F238E27FC236}">
                      <a16:creationId xmlns:a16="http://schemas.microsoft.com/office/drawing/2014/main" id="{25E8E7BA-4DCF-3542-990E-04DE3EBD89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" y="733"/>
                  <a:ext cx="5" cy="7"/>
                </a:xfrm>
                <a:custGeom>
                  <a:avLst/>
                  <a:gdLst>
                    <a:gd name="T0" fmla="*/ 4 w 5"/>
                    <a:gd name="T1" fmla="*/ 7 h 7"/>
                    <a:gd name="T2" fmla="*/ 2 w 5"/>
                    <a:gd name="T3" fmla="*/ 5 h 7"/>
                    <a:gd name="T4" fmla="*/ 2 w 5"/>
                    <a:gd name="T5" fmla="*/ 3 h 7"/>
                    <a:gd name="T6" fmla="*/ 0 w 5"/>
                    <a:gd name="T7" fmla="*/ 2 h 7"/>
                    <a:gd name="T8" fmla="*/ 0 w 5"/>
                    <a:gd name="T9" fmla="*/ 0 h 7"/>
                    <a:gd name="T10" fmla="*/ 2 w 5"/>
                    <a:gd name="T11" fmla="*/ 2 h 7"/>
                    <a:gd name="T12" fmla="*/ 5 w 5"/>
                    <a:gd name="T13" fmla="*/ 2 h 7"/>
                    <a:gd name="T14" fmla="*/ 5 w 5"/>
                    <a:gd name="T15" fmla="*/ 3 h 7"/>
                    <a:gd name="T16" fmla="*/ 5 w 5"/>
                    <a:gd name="T17" fmla="*/ 5 h 7"/>
                    <a:gd name="T18" fmla="*/ 4 w 5"/>
                    <a:gd name="T1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7">
                      <a:moveTo>
                        <a:pt x="4" y="7"/>
                      </a:moveTo>
                      <a:lnTo>
                        <a:pt x="2" y="5"/>
                      </a:lnTo>
                      <a:lnTo>
                        <a:pt x="2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5" y="5"/>
                      </a:lnTo>
                      <a:lnTo>
                        <a:pt x="4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05" name="Group 1904">
                <a:extLst>
                  <a:ext uri="{FF2B5EF4-FFF2-40B4-BE49-F238E27FC236}">
                    <a16:creationId xmlns:a16="http://schemas.microsoft.com/office/drawing/2014/main" id="{9AFB4B14-F9E4-E245-9B1E-02F2F9CDC19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57" y="748"/>
                <a:ext cx="3" cy="5"/>
                <a:chOff x="557" y="748"/>
                <a:chExt cx="3" cy="5"/>
              </a:xfrm>
            </p:grpSpPr>
            <p:sp>
              <p:nvSpPr>
                <p:cNvPr id="1918" name="Freeform 292">
                  <a:extLst>
                    <a:ext uri="{FF2B5EF4-FFF2-40B4-BE49-F238E27FC236}">
                      <a16:creationId xmlns:a16="http://schemas.microsoft.com/office/drawing/2014/main" id="{6BBCAFF8-7B7D-7C43-BAE9-8F866FE558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7" y="748"/>
                  <a:ext cx="3" cy="5"/>
                </a:xfrm>
                <a:custGeom>
                  <a:avLst/>
                  <a:gdLst>
                    <a:gd name="T0" fmla="*/ 0 w 3"/>
                    <a:gd name="T1" fmla="*/ 4 h 5"/>
                    <a:gd name="T2" fmla="*/ 0 w 3"/>
                    <a:gd name="T3" fmla="*/ 2 h 5"/>
                    <a:gd name="T4" fmla="*/ 1 w 3"/>
                    <a:gd name="T5" fmla="*/ 0 h 5"/>
                    <a:gd name="T6" fmla="*/ 3 w 3"/>
                    <a:gd name="T7" fmla="*/ 0 h 5"/>
                    <a:gd name="T8" fmla="*/ 3 w 3"/>
                    <a:gd name="T9" fmla="*/ 2 h 5"/>
                    <a:gd name="T10" fmla="*/ 3 w 3"/>
                    <a:gd name="T11" fmla="*/ 5 h 5"/>
                    <a:gd name="T12" fmla="*/ 1 w 3"/>
                    <a:gd name="T13" fmla="*/ 5 h 5"/>
                    <a:gd name="T14" fmla="*/ 0 w 3"/>
                    <a:gd name="T15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0" y="4"/>
                      </a:move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9" name="Freeform 293">
                  <a:extLst>
                    <a:ext uri="{FF2B5EF4-FFF2-40B4-BE49-F238E27FC236}">
                      <a16:creationId xmlns:a16="http://schemas.microsoft.com/office/drawing/2014/main" id="{71269855-AFB7-9145-9F5F-6FF3C97D18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7" y="748"/>
                  <a:ext cx="3" cy="5"/>
                </a:xfrm>
                <a:custGeom>
                  <a:avLst/>
                  <a:gdLst>
                    <a:gd name="T0" fmla="*/ 0 w 3"/>
                    <a:gd name="T1" fmla="*/ 4 h 5"/>
                    <a:gd name="T2" fmla="*/ 0 w 3"/>
                    <a:gd name="T3" fmla="*/ 2 h 5"/>
                    <a:gd name="T4" fmla="*/ 1 w 3"/>
                    <a:gd name="T5" fmla="*/ 0 h 5"/>
                    <a:gd name="T6" fmla="*/ 3 w 3"/>
                    <a:gd name="T7" fmla="*/ 0 h 5"/>
                    <a:gd name="T8" fmla="*/ 3 w 3"/>
                    <a:gd name="T9" fmla="*/ 2 h 5"/>
                    <a:gd name="T10" fmla="*/ 3 w 3"/>
                    <a:gd name="T11" fmla="*/ 5 h 5"/>
                    <a:gd name="T12" fmla="*/ 1 w 3"/>
                    <a:gd name="T13" fmla="*/ 5 h 5"/>
                    <a:gd name="T14" fmla="*/ 0 w 3"/>
                    <a:gd name="T15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0" y="4"/>
                      </a:move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06" name="Group 1905">
                <a:extLst>
                  <a:ext uri="{FF2B5EF4-FFF2-40B4-BE49-F238E27FC236}">
                    <a16:creationId xmlns:a16="http://schemas.microsoft.com/office/drawing/2014/main" id="{987A0CDD-F92B-0843-975A-0DF418B1EE5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1" y="728"/>
                <a:ext cx="37" cy="34"/>
                <a:chOff x="491" y="728"/>
                <a:chExt cx="37" cy="34"/>
              </a:xfrm>
            </p:grpSpPr>
            <p:sp>
              <p:nvSpPr>
                <p:cNvPr id="1916" name="Freeform 290">
                  <a:extLst>
                    <a:ext uri="{FF2B5EF4-FFF2-40B4-BE49-F238E27FC236}">
                      <a16:creationId xmlns:a16="http://schemas.microsoft.com/office/drawing/2014/main" id="{D484F928-77C8-A843-89C5-0D39CEA2FA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1" y="728"/>
                  <a:ext cx="37" cy="34"/>
                </a:xfrm>
                <a:custGeom>
                  <a:avLst/>
                  <a:gdLst>
                    <a:gd name="T0" fmla="*/ 15 w 37"/>
                    <a:gd name="T1" fmla="*/ 0 h 34"/>
                    <a:gd name="T2" fmla="*/ 15 w 37"/>
                    <a:gd name="T3" fmla="*/ 2 h 34"/>
                    <a:gd name="T4" fmla="*/ 17 w 37"/>
                    <a:gd name="T5" fmla="*/ 2 h 34"/>
                    <a:gd name="T6" fmla="*/ 20 w 37"/>
                    <a:gd name="T7" fmla="*/ 2 h 34"/>
                    <a:gd name="T8" fmla="*/ 28 w 37"/>
                    <a:gd name="T9" fmla="*/ 5 h 34"/>
                    <a:gd name="T10" fmla="*/ 30 w 37"/>
                    <a:gd name="T11" fmla="*/ 7 h 34"/>
                    <a:gd name="T12" fmla="*/ 30 w 37"/>
                    <a:gd name="T13" fmla="*/ 8 h 34"/>
                    <a:gd name="T14" fmla="*/ 32 w 37"/>
                    <a:gd name="T15" fmla="*/ 10 h 34"/>
                    <a:gd name="T16" fmla="*/ 32 w 37"/>
                    <a:gd name="T17" fmla="*/ 12 h 34"/>
                    <a:gd name="T18" fmla="*/ 33 w 37"/>
                    <a:gd name="T19" fmla="*/ 13 h 34"/>
                    <a:gd name="T20" fmla="*/ 35 w 37"/>
                    <a:gd name="T21" fmla="*/ 13 h 34"/>
                    <a:gd name="T22" fmla="*/ 37 w 37"/>
                    <a:gd name="T23" fmla="*/ 15 h 34"/>
                    <a:gd name="T24" fmla="*/ 33 w 37"/>
                    <a:gd name="T25" fmla="*/ 17 h 34"/>
                    <a:gd name="T26" fmla="*/ 32 w 37"/>
                    <a:gd name="T27" fmla="*/ 18 h 34"/>
                    <a:gd name="T28" fmla="*/ 30 w 37"/>
                    <a:gd name="T29" fmla="*/ 18 h 34"/>
                    <a:gd name="T30" fmla="*/ 30 w 37"/>
                    <a:gd name="T31" fmla="*/ 17 h 34"/>
                    <a:gd name="T32" fmla="*/ 28 w 37"/>
                    <a:gd name="T33" fmla="*/ 15 h 34"/>
                    <a:gd name="T34" fmla="*/ 27 w 37"/>
                    <a:gd name="T35" fmla="*/ 13 h 34"/>
                    <a:gd name="T36" fmla="*/ 25 w 37"/>
                    <a:gd name="T37" fmla="*/ 13 h 34"/>
                    <a:gd name="T38" fmla="*/ 25 w 37"/>
                    <a:gd name="T39" fmla="*/ 17 h 34"/>
                    <a:gd name="T40" fmla="*/ 28 w 37"/>
                    <a:gd name="T41" fmla="*/ 20 h 34"/>
                    <a:gd name="T42" fmla="*/ 28 w 37"/>
                    <a:gd name="T43" fmla="*/ 25 h 34"/>
                    <a:gd name="T44" fmla="*/ 30 w 37"/>
                    <a:gd name="T45" fmla="*/ 27 h 34"/>
                    <a:gd name="T46" fmla="*/ 30 w 37"/>
                    <a:gd name="T47" fmla="*/ 29 h 34"/>
                    <a:gd name="T48" fmla="*/ 30 w 37"/>
                    <a:gd name="T49" fmla="*/ 34 h 34"/>
                    <a:gd name="T50" fmla="*/ 28 w 37"/>
                    <a:gd name="T51" fmla="*/ 32 h 34"/>
                    <a:gd name="T52" fmla="*/ 25 w 37"/>
                    <a:gd name="T53" fmla="*/ 30 h 34"/>
                    <a:gd name="T54" fmla="*/ 23 w 37"/>
                    <a:gd name="T55" fmla="*/ 27 h 34"/>
                    <a:gd name="T56" fmla="*/ 22 w 37"/>
                    <a:gd name="T57" fmla="*/ 29 h 34"/>
                    <a:gd name="T58" fmla="*/ 20 w 37"/>
                    <a:gd name="T59" fmla="*/ 32 h 34"/>
                    <a:gd name="T60" fmla="*/ 20 w 37"/>
                    <a:gd name="T61" fmla="*/ 34 h 34"/>
                    <a:gd name="T62" fmla="*/ 18 w 37"/>
                    <a:gd name="T63" fmla="*/ 34 h 34"/>
                    <a:gd name="T64" fmla="*/ 18 w 37"/>
                    <a:gd name="T65" fmla="*/ 30 h 34"/>
                    <a:gd name="T66" fmla="*/ 17 w 37"/>
                    <a:gd name="T67" fmla="*/ 27 h 34"/>
                    <a:gd name="T68" fmla="*/ 15 w 37"/>
                    <a:gd name="T69" fmla="*/ 25 h 34"/>
                    <a:gd name="T70" fmla="*/ 13 w 37"/>
                    <a:gd name="T71" fmla="*/ 22 h 34"/>
                    <a:gd name="T72" fmla="*/ 12 w 37"/>
                    <a:gd name="T73" fmla="*/ 25 h 34"/>
                    <a:gd name="T74" fmla="*/ 12 w 37"/>
                    <a:gd name="T75" fmla="*/ 27 h 34"/>
                    <a:gd name="T76" fmla="*/ 8 w 37"/>
                    <a:gd name="T77" fmla="*/ 27 h 34"/>
                    <a:gd name="T78" fmla="*/ 7 w 37"/>
                    <a:gd name="T79" fmla="*/ 25 h 34"/>
                    <a:gd name="T80" fmla="*/ 7 w 37"/>
                    <a:gd name="T81" fmla="*/ 22 h 34"/>
                    <a:gd name="T82" fmla="*/ 8 w 37"/>
                    <a:gd name="T83" fmla="*/ 17 h 34"/>
                    <a:gd name="T84" fmla="*/ 7 w 37"/>
                    <a:gd name="T85" fmla="*/ 15 h 34"/>
                    <a:gd name="T86" fmla="*/ 1 w 37"/>
                    <a:gd name="T87" fmla="*/ 12 h 34"/>
                    <a:gd name="T88" fmla="*/ 0 w 37"/>
                    <a:gd name="T89" fmla="*/ 8 h 34"/>
                    <a:gd name="T90" fmla="*/ 0 w 37"/>
                    <a:gd name="T91" fmla="*/ 7 h 34"/>
                    <a:gd name="T92" fmla="*/ 3 w 37"/>
                    <a:gd name="T93" fmla="*/ 2 h 34"/>
                    <a:gd name="T94" fmla="*/ 7 w 37"/>
                    <a:gd name="T95" fmla="*/ 2 h 34"/>
                    <a:gd name="T96" fmla="*/ 10 w 37"/>
                    <a:gd name="T97" fmla="*/ 0 h 34"/>
                    <a:gd name="T98" fmla="*/ 12 w 37"/>
                    <a:gd name="T99" fmla="*/ 0 h 34"/>
                    <a:gd name="T100" fmla="*/ 13 w 37"/>
                    <a:gd name="T101" fmla="*/ 0 h 34"/>
                    <a:gd name="T102" fmla="*/ 15 w 37"/>
                    <a:gd name="T103" fmla="*/ 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7" h="34">
                      <a:moveTo>
                        <a:pt x="15" y="0"/>
                      </a:move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0" y="8"/>
                      </a:lnTo>
                      <a:lnTo>
                        <a:pt x="32" y="10"/>
                      </a:lnTo>
                      <a:lnTo>
                        <a:pt x="32" y="12"/>
                      </a:lnTo>
                      <a:lnTo>
                        <a:pt x="33" y="13"/>
                      </a:lnTo>
                      <a:lnTo>
                        <a:pt x="35" y="13"/>
                      </a:lnTo>
                      <a:lnTo>
                        <a:pt x="37" y="15"/>
                      </a:lnTo>
                      <a:lnTo>
                        <a:pt x="33" y="17"/>
                      </a:lnTo>
                      <a:lnTo>
                        <a:pt x="32" y="18"/>
                      </a:lnTo>
                      <a:lnTo>
                        <a:pt x="30" y="18"/>
                      </a:lnTo>
                      <a:lnTo>
                        <a:pt x="30" y="17"/>
                      </a:lnTo>
                      <a:lnTo>
                        <a:pt x="28" y="15"/>
                      </a:lnTo>
                      <a:lnTo>
                        <a:pt x="27" y="13"/>
                      </a:lnTo>
                      <a:lnTo>
                        <a:pt x="25" y="13"/>
                      </a:lnTo>
                      <a:lnTo>
                        <a:pt x="25" y="17"/>
                      </a:lnTo>
                      <a:lnTo>
                        <a:pt x="28" y="20"/>
                      </a:lnTo>
                      <a:lnTo>
                        <a:pt x="28" y="25"/>
                      </a:lnTo>
                      <a:lnTo>
                        <a:pt x="30" y="27"/>
                      </a:lnTo>
                      <a:lnTo>
                        <a:pt x="30" y="29"/>
                      </a:lnTo>
                      <a:lnTo>
                        <a:pt x="30" y="34"/>
                      </a:lnTo>
                      <a:lnTo>
                        <a:pt x="28" y="32"/>
                      </a:lnTo>
                      <a:lnTo>
                        <a:pt x="25" y="30"/>
                      </a:lnTo>
                      <a:lnTo>
                        <a:pt x="23" y="27"/>
                      </a:lnTo>
                      <a:lnTo>
                        <a:pt x="22" y="29"/>
                      </a:lnTo>
                      <a:lnTo>
                        <a:pt x="20" y="32"/>
                      </a:lnTo>
                      <a:lnTo>
                        <a:pt x="20" y="34"/>
                      </a:lnTo>
                      <a:lnTo>
                        <a:pt x="18" y="34"/>
                      </a:lnTo>
                      <a:lnTo>
                        <a:pt x="18" y="30"/>
                      </a:lnTo>
                      <a:lnTo>
                        <a:pt x="17" y="27"/>
                      </a:lnTo>
                      <a:lnTo>
                        <a:pt x="15" y="25"/>
                      </a:lnTo>
                      <a:lnTo>
                        <a:pt x="13" y="22"/>
                      </a:lnTo>
                      <a:lnTo>
                        <a:pt x="12" y="25"/>
                      </a:lnTo>
                      <a:lnTo>
                        <a:pt x="12" y="27"/>
                      </a:lnTo>
                      <a:lnTo>
                        <a:pt x="8" y="27"/>
                      </a:lnTo>
                      <a:lnTo>
                        <a:pt x="7" y="25"/>
                      </a:lnTo>
                      <a:lnTo>
                        <a:pt x="7" y="22"/>
                      </a:lnTo>
                      <a:lnTo>
                        <a:pt x="8" y="17"/>
                      </a:lnTo>
                      <a:lnTo>
                        <a:pt x="7" y="15"/>
                      </a:lnTo>
                      <a:lnTo>
                        <a:pt x="1" y="12"/>
                      </a:lnTo>
                      <a:lnTo>
                        <a:pt x="0" y="8"/>
                      </a:lnTo>
                      <a:lnTo>
                        <a:pt x="0" y="7"/>
                      </a:lnTo>
                      <a:lnTo>
                        <a:pt x="3" y="2"/>
                      </a:lnTo>
                      <a:lnTo>
                        <a:pt x="7" y="2"/>
                      </a:lnTo>
                      <a:lnTo>
                        <a:pt x="10" y="0"/>
                      </a:lnTo>
                      <a:lnTo>
                        <a:pt x="12" y="0"/>
                      </a:lnTo>
                      <a:lnTo>
                        <a:pt x="13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7" name="Freeform 291">
                  <a:extLst>
                    <a:ext uri="{FF2B5EF4-FFF2-40B4-BE49-F238E27FC236}">
                      <a16:creationId xmlns:a16="http://schemas.microsoft.com/office/drawing/2014/main" id="{F8F53413-7053-B541-8CFF-C523E77DF7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1" y="728"/>
                  <a:ext cx="37" cy="34"/>
                </a:xfrm>
                <a:custGeom>
                  <a:avLst/>
                  <a:gdLst>
                    <a:gd name="T0" fmla="*/ 15 w 37"/>
                    <a:gd name="T1" fmla="*/ 0 h 34"/>
                    <a:gd name="T2" fmla="*/ 15 w 37"/>
                    <a:gd name="T3" fmla="*/ 2 h 34"/>
                    <a:gd name="T4" fmla="*/ 17 w 37"/>
                    <a:gd name="T5" fmla="*/ 2 h 34"/>
                    <a:gd name="T6" fmla="*/ 20 w 37"/>
                    <a:gd name="T7" fmla="*/ 2 h 34"/>
                    <a:gd name="T8" fmla="*/ 28 w 37"/>
                    <a:gd name="T9" fmla="*/ 5 h 34"/>
                    <a:gd name="T10" fmla="*/ 30 w 37"/>
                    <a:gd name="T11" fmla="*/ 7 h 34"/>
                    <a:gd name="T12" fmla="*/ 30 w 37"/>
                    <a:gd name="T13" fmla="*/ 8 h 34"/>
                    <a:gd name="T14" fmla="*/ 32 w 37"/>
                    <a:gd name="T15" fmla="*/ 10 h 34"/>
                    <a:gd name="T16" fmla="*/ 32 w 37"/>
                    <a:gd name="T17" fmla="*/ 12 h 34"/>
                    <a:gd name="T18" fmla="*/ 33 w 37"/>
                    <a:gd name="T19" fmla="*/ 13 h 34"/>
                    <a:gd name="T20" fmla="*/ 35 w 37"/>
                    <a:gd name="T21" fmla="*/ 13 h 34"/>
                    <a:gd name="T22" fmla="*/ 37 w 37"/>
                    <a:gd name="T23" fmla="*/ 15 h 34"/>
                    <a:gd name="T24" fmla="*/ 33 w 37"/>
                    <a:gd name="T25" fmla="*/ 17 h 34"/>
                    <a:gd name="T26" fmla="*/ 32 w 37"/>
                    <a:gd name="T27" fmla="*/ 18 h 34"/>
                    <a:gd name="T28" fmla="*/ 30 w 37"/>
                    <a:gd name="T29" fmla="*/ 18 h 34"/>
                    <a:gd name="T30" fmla="*/ 30 w 37"/>
                    <a:gd name="T31" fmla="*/ 17 h 34"/>
                    <a:gd name="T32" fmla="*/ 28 w 37"/>
                    <a:gd name="T33" fmla="*/ 15 h 34"/>
                    <a:gd name="T34" fmla="*/ 27 w 37"/>
                    <a:gd name="T35" fmla="*/ 13 h 34"/>
                    <a:gd name="T36" fmla="*/ 25 w 37"/>
                    <a:gd name="T37" fmla="*/ 13 h 34"/>
                    <a:gd name="T38" fmla="*/ 25 w 37"/>
                    <a:gd name="T39" fmla="*/ 17 h 34"/>
                    <a:gd name="T40" fmla="*/ 28 w 37"/>
                    <a:gd name="T41" fmla="*/ 20 h 34"/>
                    <a:gd name="T42" fmla="*/ 28 w 37"/>
                    <a:gd name="T43" fmla="*/ 25 h 34"/>
                    <a:gd name="T44" fmla="*/ 30 w 37"/>
                    <a:gd name="T45" fmla="*/ 27 h 34"/>
                    <a:gd name="T46" fmla="*/ 30 w 37"/>
                    <a:gd name="T47" fmla="*/ 29 h 34"/>
                    <a:gd name="T48" fmla="*/ 30 w 37"/>
                    <a:gd name="T49" fmla="*/ 34 h 34"/>
                    <a:gd name="T50" fmla="*/ 28 w 37"/>
                    <a:gd name="T51" fmla="*/ 32 h 34"/>
                    <a:gd name="T52" fmla="*/ 25 w 37"/>
                    <a:gd name="T53" fmla="*/ 30 h 34"/>
                    <a:gd name="T54" fmla="*/ 23 w 37"/>
                    <a:gd name="T55" fmla="*/ 27 h 34"/>
                    <a:gd name="T56" fmla="*/ 22 w 37"/>
                    <a:gd name="T57" fmla="*/ 29 h 34"/>
                    <a:gd name="T58" fmla="*/ 20 w 37"/>
                    <a:gd name="T59" fmla="*/ 32 h 34"/>
                    <a:gd name="T60" fmla="*/ 20 w 37"/>
                    <a:gd name="T61" fmla="*/ 34 h 34"/>
                    <a:gd name="T62" fmla="*/ 18 w 37"/>
                    <a:gd name="T63" fmla="*/ 34 h 34"/>
                    <a:gd name="T64" fmla="*/ 18 w 37"/>
                    <a:gd name="T65" fmla="*/ 30 h 34"/>
                    <a:gd name="T66" fmla="*/ 17 w 37"/>
                    <a:gd name="T67" fmla="*/ 27 h 34"/>
                    <a:gd name="T68" fmla="*/ 15 w 37"/>
                    <a:gd name="T69" fmla="*/ 25 h 34"/>
                    <a:gd name="T70" fmla="*/ 13 w 37"/>
                    <a:gd name="T71" fmla="*/ 22 h 34"/>
                    <a:gd name="T72" fmla="*/ 12 w 37"/>
                    <a:gd name="T73" fmla="*/ 25 h 34"/>
                    <a:gd name="T74" fmla="*/ 12 w 37"/>
                    <a:gd name="T75" fmla="*/ 27 h 34"/>
                    <a:gd name="T76" fmla="*/ 8 w 37"/>
                    <a:gd name="T77" fmla="*/ 27 h 34"/>
                    <a:gd name="T78" fmla="*/ 7 w 37"/>
                    <a:gd name="T79" fmla="*/ 25 h 34"/>
                    <a:gd name="T80" fmla="*/ 7 w 37"/>
                    <a:gd name="T81" fmla="*/ 22 h 34"/>
                    <a:gd name="T82" fmla="*/ 8 w 37"/>
                    <a:gd name="T83" fmla="*/ 17 h 34"/>
                    <a:gd name="T84" fmla="*/ 7 w 37"/>
                    <a:gd name="T85" fmla="*/ 15 h 34"/>
                    <a:gd name="T86" fmla="*/ 1 w 37"/>
                    <a:gd name="T87" fmla="*/ 12 h 34"/>
                    <a:gd name="T88" fmla="*/ 0 w 37"/>
                    <a:gd name="T89" fmla="*/ 8 h 34"/>
                    <a:gd name="T90" fmla="*/ 0 w 37"/>
                    <a:gd name="T91" fmla="*/ 7 h 34"/>
                    <a:gd name="T92" fmla="*/ 3 w 37"/>
                    <a:gd name="T93" fmla="*/ 2 h 34"/>
                    <a:gd name="T94" fmla="*/ 7 w 37"/>
                    <a:gd name="T95" fmla="*/ 2 h 34"/>
                    <a:gd name="T96" fmla="*/ 10 w 37"/>
                    <a:gd name="T97" fmla="*/ 0 h 34"/>
                    <a:gd name="T98" fmla="*/ 12 w 37"/>
                    <a:gd name="T99" fmla="*/ 0 h 34"/>
                    <a:gd name="T100" fmla="*/ 13 w 37"/>
                    <a:gd name="T101" fmla="*/ 0 h 34"/>
                    <a:gd name="T102" fmla="*/ 15 w 37"/>
                    <a:gd name="T103" fmla="*/ 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7" h="34">
                      <a:moveTo>
                        <a:pt x="15" y="0"/>
                      </a:move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0" y="8"/>
                      </a:lnTo>
                      <a:lnTo>
                        <a:pt x="32" y="10"/>
                      </a:lnTo>
                      <a:lnTo>
                        <a:pt x="32" y="12"/>
                      </a:lnTo>
                      <a:lnTo>
                        <a:pt x="33" y="13"/>
                      </a:lnTo>
                      <a:lnTo>
                        <a:pt x="35" y="13"/>
                      </a:lnTo>
                      <a:lnTo>
                        <a:pt x="37" y="15"/>
                      </a:lnTo>
                      <a:lnTo>
                        <a:pt x="33" y="17"/>
                      </a:lnTo>
                      <a:lnTo>
                        <a:pt x="32" y="18"/>
                      </a:lnTo>
                      <a:lnTo>
                        <a:pt x="30" y="18"/>
                      </a:lnTo>
                      <a:lnTo>
                        <a:pt x="30" y="17"/>
                      </a:lnTo>
                      <a:lnTo>
                        <a:pt x="28" y="15"/>
                      </a:lnTo>
                      <a:lnTo>
                        <a:pt x="27" y="13"/>
                      </a:lnTo>
                      <a:lnTo>
                        <a:pt x="25" y="13"/>
                      </a:lnTo>
                      <a:lnTo>
                        <a:pt x="25" y="17"/>
                      </a:lnTo>
                      <a:lnTo>
                        <a:pt x="28" y="20"/>
                      </a:lnTo>
                      <a:lnTo>
                        <a:pt x="28" y="25"/>
                      </a:lnTo>
                      <a:lnTo>
                        <a:pt x="30" y="27"/>
                      </a:lnTo>
                      <a:lnTo>
                        <a:pt x="30" y="29"/>
                      </a:lnTo>
                      <a:lnTo>
                        <a:pt x="30" y="34"/>
                      </a:lnTo>
                      <a:lnTo>
                        <a:pt x="28" y="32"/>
                      </a:lnTo>
                      <a:lnTo>
                        <a:pt x="25" y="30"/>
                      </a:lnTo>
                      <a:lnTo>
                        <a:pt x="23" y="27"/>
                      </a:lnTo>
                      <a:lnTo>
                        <a:pt x="22" y="29"/>
                      </a:lnTo>
                      <a:lnTo>
                        <a:pt x="20" y="32"/>
                      </a:lnTo>
                      <a:lnTo>
                        <a:pt x="20" y="34"/>
                      </a:lnTo>
                      <a:lnTo>
                        <a:pt x="18" y="34"/>
                      </a:lnTo>
                      <a:lnTo>
                        <a:pt x="18" y="30"/>
                      </a:lnTo>
                      <a:lnTo>
                        <a:pt x="17" y="27"/>
                      </a:lnTo>
                      <a:lnTo>
                        <a:pt x="15" y="25"/>
                      </a:lnTo>
                      <a:lnTo>
                        <a:pt x="13" y="22"/>
                      </a:lnTo>
                      <a:lnTo>
                        <a:pt x="12" y="25"/>
                      </a:lnTo>
                      <a:lnTo>
                        <a:pt x="12" y="27"/>
                      </a:lnTo>
                      <a:lnTo>
                        <a:pt x="8" y="27"/>
                      </a:lnTo>
                      <a:lnTo>
                        <a:pt x="7" y="25"/>
                      </a:lnTo>
                      <a:lnTo>
                        <a:pt x="7" y="22"/>
                      </a:lnTo>
                      <a:lnTo>
                        <a:pt x="8" y="17"/>
                      </a:lnTo>
                      <a:lnTo>
                        <a:pt x="7" y="15"/>
                      </a:lnTo>
                      <a:lnTo>
                        <a:pt x="1" y="12"/>
                      </a:lnTo>
                      <a:lnTo>
                        <a:pt x="0" y="8"/>
                      </a:lnTo>
                      <a:lnTo>
                        <a:pt x="0" y="7"/>
                      </a:lnTo>
                      <a:lnTo>
                        <a:pt x="3" y="2"/>
                      </a:lnTo>
                      <a:lnTo>
                        <a:pt x="7" y="2"/>
                      </a:lnTo>
                      <a:lnTo>
                        <a:pt x="10" y="0"/>
                      </a:lnTo>
                      <a:lnTo>
                        <a:pt x="12" y="0"/>
                      </a:lnTo>
                      <a:lnTo>
                        <a:pt x="13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07" name="Group 1906">
                <a:extLst>
                  <a:ext uri="{FF2B5EF4-FFF2-40B4-BE49-F238E27FC236}">
                    <a16:creationId xmlns:a16="http://schemas.microsoft.com/office/drawing/2014/main" id="{FB7A7C98-FB92-EA45-A719-64A96502982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9" y="726"/>
                <a:ext cx="7" cy="5"/>
                <a:chOff x="479" y="726"/>
                <a:chExt cx="7" cy="5"/>
              </a:xfrm>
            </p:grpSpPr>
            <p:sp>
              <p:nvSpPr>
                <p:cNvPr id="1914" name="Freeform 288">
                  <a:extLst>
                    <a:ext uri="{FF2B5EF4-FFF2-40B4-BE49-F238E27FC236}">
                      <a16:creationId xmlns:a16="http://schemas.microsoft.com/office/drawing/2014/main" id="{8492DFDD-FE19-6C40-BB73-109903C8EA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9" y="726"/>
                  <a:ext cx="7" cy="5"/>
                </a:xfrm>
                <a:custGeom>
                  <a:avLst/>
                  <a:gdLst>
                    <a:gd name="T0" fmla="*/ 3 w 7"/>
                    <a:gd name="T1" fmla="*/ 5 h 5"/>
                    <a:gd name="T2" fmla="*/ 2 w 7"/>
                    <a:gd name="T3" fmla="*/ 5 h 5"/>
                    <a:gd name="T4" fmla="*/ 2 w 7"/>
                    <a:gd name="T5" fmla="*/ 4 h 5"/>
                    <a:gd name="T6" fmla="*/ 0 w 7"/>
                    <a:gd name="T7" fmla="*/ 2 h 5"/>
                    <a:gd name="T8" fmla="*/ 2 w 7"/>
                    <a:gd name="T9" fmla="*/ 0 h 5"/>
                    <a:gd name="T10" fmla="*/ 3 w 7"/>
                    <a:gd name="T11" fmla="*/ 0 h 5"/>
                    <a:gd name="T12" fmla="*/ 3 w 7"/>
                    <a:gd name="T13" fmla="*/ 2 h 5"/>
                    <a:gd name="T14" fmla="*/ 7 w 7"/>
                    <a:gd name="T15" fmla="*/ 4 h 5"/>
                    <a:gd name="T16" fmla="*/ 5 w 7"/>
                    <a:gd name="T17" fmla="*/ 5 h 5"/>
                    <a:gd name="T18" fmla="*/ 3 w 7"/>
                    <a:gd name="T1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5">
                      <a:moveTo>
                        <a:pt x="3" y="5"/>
                      </a:move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5" name="Freeform 289">
                  <a:extLst>
                    <a:ext uri="{FF2B5EF4-FFF2-40B4-BE49-F238E27FC236}">
                      <a16:creationId xmlns:a16="http://schemas.microsoft.com/office/drawing/2014/main" id="{2CA8C1FD-5F74-3343-A990-AAFDB255B7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9" y="726"/>
                  <a:ext cx="7" cy="5"/>
                </a:xfrm>
                <a:custGeom>
                  <a:avLst/>
                  <a:gdLst>
                    <a:gd name="T0" fmla="*/ 3 w 7"/>
                    <a:gd name="T1" fmla="*/ 5 h 5"/>
                    <a:gd name="T2" fmla="*/ 2 w 7"/>
                    <a:gd name="T3" fmla="*/ 5 h 5"/>
                    <a:gd name="T4" fmla="*/ 2 w 7"/>
                    <a:gd name="T5" fmla="*/ 4 h 5"/>
                    <a:gd name="T6" fmla="*/ 0 w 7"/>
                    <a:gd name="T7" fmla="*/ 2 h 5"/>
                    <a:gd name="T8" fmla="*/ 2 w 7"/>
                    <a:gd name="T9" fmla="*/ 0 h 5"/>
                    <a:gd name="T10" fmla="*/ 3 w 7"/>
                    <a:gd name="T11" fmla="*/ 0 h 5"/>
                    <a:gd name="T12" fmla="*/ 3 w 7"/>
                    <a:gd name="T13" fmla="*/ 2 h 5"/>
                    <a:gd name="T14" fmla="*/ 7 w 7"/>
                    <a:gd name="T15" fmla="*/ 4 h 5"/>
                    <a:gd name="T16" fmla="*/ 5 w 7"/>
                    <a:gd name="T17" fmla="*/ 5 h 5"/>
                    <a:gd name="T18" fmla="*/ 3 w 7"/>
                    <a:gd name="T1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5">
                      <a:moveTo>
                        <a:pt x="3" y="5"/>
                      </a:move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08" name="Group 1907">
                <a:extLst>
                  <a:ext uri="{FF2B5EF4-FFF2-40B4-BE49-F238E27FC236}">
                    <a16:creationId xmlns:a16="http://schemas.microsoft.com/office/drawing/2014/main" id="{0E36C325-A14B-5B45-A747-76E2C57B896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9" y="714"/>
                <a:ext cx="26" cy="21"/>
                <a:chOff x="519" y="714"/>
                <a:chExt cx="26" cy="21"/>
              </a:xfrm>
            </p:grpSpPr>
            <p:sp>
              <p:nvSpPr>
                <p:cNvPr id="1912" name="Freeform 286">
                  <a:extLst>
                    <a:ext uri="{FF2B5EF4-FFF2-40B4-BE49-F238E27FC236}">
                      <a16:creationId xmlns:a16="http://schemas.microsoft.com/office/drawing/2014/main" id="{6936907F-03FF-FB4B-B317-B43828ED7B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9" y="714"/>
                  <a:ext cx="26" cy="21"/>
                </a:xfrm>
                <a:custGeom>
                  <a:avLst/>
                  <a:gdLst>
                    <a:gd name="T0" fmla="*/ 26 w 26"/>
                    <a:gd name="T1" fmla="*/ 19 h 21"/>
                    <a:gd name="T2" fmla="*/ 26 w 26"/>
                    <a:gd name="T3" fmla="*/ 21 h 21"/>
                    <a:gd name="T4" fmla="*/ 24 w 26"/>
                    <a:gd name="T5" fmla="*/ 21 h 21"/>
                    <a:gd name="T6" fmla="*/ 22 w 26"/>
                    <a:gd name="T7" fmla="*/ 19 h 21"/>
                    <a:gd name="T8" fmla="*/ 21 w 26"/>
                    <a:gd name="T9" fmla="*/ 19 h 21"/>
                    <a:gd name="T10" fmla="*/ 19 w 26"/>
                    <a:gd name="T11" fmla="*/ 16 h 21"/>
                    <a:gd name="T12" fmla="*/ 19 w 26"/>
                    <a:gd name="T13" fmla="*/ 14 h 21"/>
                    <a:gd name="T14" fmla="*/ 17 w 26"/>
                    <a:gd name="T15" fmla="*/ 12 h 21"/>
                    <a:gd name="T16" fmla="*/ 16 w 26"/>
                    <a:gd name="T17" fmla="*/ 12 h 21"/>
                    <a:gd name="T18" fmla="*/ 12 w 26"/>
                    <a:gd name="T19" fmla="*/ 12 h 21"/>
                    <a:gd name="T20" fmla="*/ 11 w 26"/>
                    <a:gd name="T21" fmla="*/ 11 h 21"/>
                    <a:gd name="T22" fmla="*/ 9 w 26"/>
                    <a:gd name="T23" fmla="*/ 9 h 21"/>
                    <a:gd name="T24" fmla="*/ 7 w 26"/>
                    <a:gd name="T25" fmla="*/ 7 h 21"/>
                    <a:gd name="T26" fmla="*/ 5 w 26"/>
                    <a:gd name="T27" fmla="*/ 5 h 21"/>
                    <a:gd name="T28" fmla="*/ 4 w 26"/>
                    <a:gd name="T29" fmla="*/ 4 h 21"/>
                    <a:gd name="T30" fmla="*/ 0 w 26"/>
                    <a:gd name="T31" fmla="*/ 4 h 21"/>
                    <a:gd name="T32" fmla="*/ 2 w 26"/>
                    <a:gd name="T33" fmla="*/ 2 h 21"/>
                    <a:gd name="T34" fmla="*/ 4 w 26"/>
                    <a:gd name="T35" fmla="*/ 0 h 21"/>
                    <a:gd name="T36" fmla="*/ 5 w 26"/>
                    <a:gd name="T37" fmla="*/ 0 h 21"/>
                    <a:gd name="T38" fmla="*/ 7 w 26"/>
                    <a:gd name="T39" fmla="*/ 2 h 21"/>
                    <a:gd name="T40" fmla="*/ 9 w 26"/>
                    <a:gd name="T41" fmla="*/ 4 h 21"/>
                    <a:gd name="T42" fmla="*/ 11 w 26"/>
                    <a:gd name="T43" fmla="*/ 5 h 21"/>
                    <a:gd name="T44" fmla="*/ 14 w 26"/>
                    <a:gd name="T45" fmla="*/ 7 h 21"/>
                    <a:gd name="T46" fmla="*/ 19 w 26"/>
                    <a:gd name="T47" fmla="*/ 7 h 21"/>
                    <a:gd name="T48" fmla="*/ 19 w 26"/>
                    <a:gd name="T49" fmla="*/ 9 h 21"/>
                    <a:gd name="T50" fmla="*/ 19 w 26"/>
                    <a:gd name="T51" fmla="*/ 11 h 21"/>
                    <a:gd name="T52" fmla="*/ 21 w 26"/>
                    <a:gd name="T53" fmla="*/ 16 h 21"/>
                    <a:gd name="T54" fmla="*/ 22 w 26"/>
                    <a:gd name="T55" fmla="*/ 16 h 21"/>
                    <a:gd name="T56" fmla="*/ 26 w 26"/>
                    <a:gd name="T57" fmla="*/ 16 h 21"/>
                    <a:gd name="T58" fmla="*/ 26 w 26"/>
                    <a:gd name="T59" fmla="*/ 19 h 21"/>
                    <a:gd name="T60" fmla="*/ 26 w 26"/>
                    <a:gd name="T61" fmla="*/ 17 h 21"/>
                    <a:gd name="T62" fmla="*/ 26 w 26"/>
                    <a:gd name="T63" fmla="*/ 19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6" h="21">
                      <a:moveTo>
                        <a:pt x="26" y="19"/>
                      </a:moveTo>
                      <a:lnTo>
                        <a:pt x="26" y="21"/>
                      </a:lnTo>
                      <a:lnTo>
                        <a:pt x="24" y="21"/>
                      </a:lnTo>
                      <a:lnTo>
                        <a:pt x="22" y="19"/>
                      </a:lnTo>
                      <a:lnTo>
                        <a:pt x="21" y="19"/>
                      </a:lnTo>
                      <a:lnTo>
                        <a:pt x="19" y="16"/>
                      </a:lnTo>
                      <a:lnTo>
                        <a:pt x="19" y="14"/>
                      </a:lnTo>
                      <a:lnTo>
                        <a:pt x="17" y="12"/>
                      </a:lnTo>
                      <a:lnTo>
                        <a:pt x="16" y="12"/>
                      </a:lnTo>
                      <a:lnTo>
                        <a:pt x="12" y="12"/>
                      </a:lnTo>
                      <a:lnTo>
                        <a:pt x="11" y="11"/>
                      </a:lnTo>
                      <a:lnTo>
                        <a:pt x="9" y="9"/>
                      </a:lnTo>
                      <a:lnTo>
                        <a:pt x="7" y="7"/>
                      </a:lnTo>
                      <a:lnTo>
                        <a:pt x="5" y="5"/>
                      </a:lnTo>
                      <a:lnTo>
                        <a:pt x="4" y="4"/>
                      </a:lnTo>
                      <a:lnTo>
                        <a:pt x="0" y="4"/>
                      </a:lnTo>
                      <a:lnTo>
                        <a:pt x="2" y="2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7" y="2"/>
                      </a:lnTo>
                      <a:lnTo>
                        <a:pt x="9" y="4"/>
                      </a:lnTo>
                      <a:lnTo>
                        <a:pt x="11" y="5"/>
                      </a:lnTo>
                      <a:lnTo>
                        <a:pt x="14" y="7"/>
                      </a:lnTo>
                      <a:lnTo>
                        <a:pt x="19" y="7"/>
                      </a:lnTo>
                      <a:lnTo>
                        <a:pt x="19" y="9"/>
                      </a:lnTo>
                      <a:lnTo>
                        <a:pt x="19" y="11"/>
                      </a:lnTo>
                      <a:lnTo>
                        <a:pt x="21" y="16"/>
                      </a:lnTo>
                      <a:lnTo>
                        <a:pt x="22" y="16"/>
                      </a:lnTo>
                      <a:lnTo>
                        <a:pt x="26" y="16"/>
                      </a:lnTo>
                      <a:lnTo>
                        <a:pt x="26" y="19"/>
                      </a:lnTo>
                      <a:lnTo>
                        <a:pt x="26" y="17"/>
                      </a:lnTo>
                      <a:lnTo>
                        <a:pt x="26" y="19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3" name="Freeform 287">
                  <a:extLst>
                    <a:ext uri="{FF2B5EF4-FFF2-40B4-BE49-F238E27FC236}">
                      <a16:creationId xmlns:a16="http://schemas.microsoft.com/office/drawing/2014/main" id="{E5A0ADFD-EC64-7846-B1C1-5567866685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9" y="714"/>
                  <a:ext cx="26" cy="21"/>
                </a:xfrm>
                <a:custGeom>
                  <a:avLst/>
                  <a:gdLst>
                    <a:gd name="T0" fmla="*/ 26 w 26"/>
                    <a:gd name="T1" fmla="*/ 19 h 21"/>
                    <a:gd name="T2" fmla="*/ 26 w 26"/>
                    <a:gd name="T3" fmla="*/ 21 h 21"/>
                    <a:gd name="T4" fmla="*/ 24 w 26"/>
                    <a:gd name="T5" fmla="*/ 21 h 21"/>
                    <a:gd name="T6" fmla="*/ 22 w 26"/>
                    <a:gd name="T7" fmla="*/ 19 h 21"/>
                    <a:gd name="T8" fmla="*/ 21 w 26"/>
                    <a:gd name="T9" fmla="*/ 19 h 21"/>
                    <a:gd name="T10" fmla="*/ 19 w 26"/>
                    <a:gd name="T11" fmla="*/ 16 h 21"/>
                    <a:gd name="T12" fmla="*/ 19 w 26"/>
                    <a:gd name="T13" fmla="*/ 14 h 21"/>
                    <a:gd name="T14" fmla="*/ 17 w 26"/>
                    <a:gd name="T15" fmla="*/ 12 h 21"/>
                    <a:gd name="T16" fmla="*/ 16 w 26"/>
                    <a:gd name="T17" fmla="*/ 12 h 21"/>
                    <a:gd name="T18" fmla="*/ 12 w 26"/>
                    <a:gd name="T19" fmla="*/ 12 h 21"/>
                    <a:gd name="T20" fmla="*/ 11 w 26"/>
                    <a:gd name="T21" fmla="*/ 11 h 21"/>
                    <a:gd name="T22" fmla="*/ 9 w 26"/>
                    <a:gd name="T23" fmla="*/ 9 h 21"/>
                    <a:gd name="T24" fmla="*/ 7 w 26"/>
                    <a:gd name="T25" fmla="*/ 7 h 21"/>
                    <a:gd name="T26" fmla="*/ 5 w 26"/>
                    <a:gd name="T27" fmla="*/ 5 h 21"/>
                    <a:gd name="T28" fmla="*/ 4 w 26"/>
                    <a:gd name="T29" fmla="*/ 4 h 21"/>
                    <a:gd name="T30" fmla="*/ 0 w 26"/>
                    <a:gd name="T31" fmla="*/ 4 h 21"/>
                    <a:gd name="T32" fmla="*/ 2 w 26"/>
                    <a:gd name="T33" fmla="*/ 2 h 21"/>
                    <a:gd name="T34" fmla="*/ 4 w 26"/>
                    <a:gd name="T35" fmla="*/ 0 h 21"/>
                    <a:gd name="T36" fmla="*/ 5 w 26"/>
                    <a:gd name="T37" fmla="*/ 0 h 21"/>
                    <a:gd name="T38" fmla="*/ 7 w 26"/>
                    <a:gd name="T39" fmla="*/ 2 h 21"/>
                    <a:gd name="T40" fmla="*/ 9 w 26"/>
                    <a:gd name="T41" fmla="*/ 4 h 21"/>
                    <a:gd name="T42" fmla="*/ 11 w 26"/>
                    <a:gd name="T43" fmla="*/ 5 h 21"/>
                    <a:gd name="T44" fmla="*/ 14 w 26"/>
                    <a:gd name="T45" fmla="*/ 7 h 21"/>
                    <a:gd name="T46" fmla="*/ 19 w 26"/>
                    <a:gd name="T47" fmla="*/ 7 h 21"/>
                    <a:gd name="T48" fmla="*/ 19 w 26"/>
                    <a:gd name="T49" fmla="*/ 9 h 21"/>
                    <a:gd name="T50" fmla="*/ 19 w 26"/>
                    <a:gd name="T51" fmla="*/ 11 h 21"/>
                    <a:gd name="T52" fmla="*/ 21 w 26"/>
                    <a:gd name="T53" fmla="*/ 16 h 21"/>
                    <a:gd name="T54" fmla="*/ 22 w 26"/>
                    <a:gd name="T55" fmla="*/ 16 h 21"/>
                    <a:gd name="T56" fmla="*/ 26 w 26"/>
                    <a:gd name="T57" fmla="*/ 16 h 21"/>
                    <a:gd name="T58" fmla="*/ 26 w 26"/>
                    <a:gd name="T59" fmla="*/ 19 h 21"/>
                    <a:gd name="T60" fmla="*/ 26 w 26"/>
                    <a:gd name="T61" fmla="*/ 17 h 21"/>
                    <a:gd name="T62" fmla="*/ 26 w 26"/>
                    <a:gd name="T63" fmla="*/ 19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6" h="21">
                      <a:moveTo>
                        <a:pt x="26" y="19"/>
                      </a:moveTo>
                      <a:lnTo>
                        <a:pt x="26" y="21"/>
                      </a:lnTo>
                      <a:lnTo>
                        <a:pt x="24" y="21"/>
                      </a:lnTo>
                      <a:lnTo>
                        <a:pt x="22" y="19"/>
                      </a:lnTo>
                      <a:lnTo>
                        <a:pt x="21" y="19"/>
                      </a:lnTo>
                      <a:lnTo>
                        <a:pt x="19" y="16"/>
                      </a:lnTo>
                      <a:lnTo>
                        <a:pt x="19" y="14"/>
                      </a:lnTo>
                      <a:lnTo>
                        <a:pt x="17" y="12"/>
                      </a:lnTo>
                      <a:lnTo>
                        <a:pt x="16" y="12"/>
                      </a:lnTo>
                      <a:lnTo>
                        <a:pt x="12" y="12"/>
                      </a:lnTo>
                      <a:lnTo>
                        <a:pt x="11" y="11"/>
                      </a:lnTo>
                      <a:lnTo>
                        <a:pt x="9" y="9"/>
                      </a:lnTo>
                      <a:lnTo>
                        <a:pt x="7" y="7"/>
                      </a:lnTo>
                      <a:lnTo>
                        <a:pt x="5" y="5"/>
                      </a:lnTo>
                      <a:lnTo>
                        <a:pt x="4" y="4"/>
                      </a:lnTo>
                      <a:lnTo>
                        <a:pt x="0" y="4"/>
                      </a:lnTo>
                      <a:lnTo>
                        <a:pt x="2" y="2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7" y="2"/>
                      </a:lnTo>
                      <a:lnTo>
                        <a:pt x="9" y="4"/>
                      </a:lnTo>
                      <a:lnTo>
                        <a:pt x="11" y="5"/>
                      </a:lnTo>
                      <a:lnTo>
                        <a:pt x="14" y="7"/>
                      </a:lnTo>
                      <a:lnTo>
                        <a:pt x="19" y="7"/>
                      </a:lnTo>
                      <a:lnTo>
                        <a:pt x="19" y="9"/>
                      </a:lnTo>
                      <a:lnTo>
                        <a:pt x="19" y="11"/>
                      </a:lnTo>
                      <a:lnTo>
                        <a:pt x="21" y="16"/>
                      </a:lnTo>
                      <a:lnTo>
                        <a:pt x="22" y="16"/>
                      </a:lnTo>
                      <a:lnTo>
                        <a:pt x="26" y="16"/>
                      </a:lnTo>
                      <a:lnTo>
                        <a:pt x="26" y="19"/>
                      </a:lnTo>
                      <a:lnTo>
                        <a:pt x="26" y="17"/>
                      </a:lnTo>
                      <a:lnTo>
                        <a:pt x="26" y="19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09" name="Group 1908">
                <a:extLst>
                  <a:ext uri="{FF2B5EF4-FFF2-40B4-BE49-F238E27FC236}">
                    <a16:creationId xmlns:a16="http://schemas.microsoft.com/office/drawing/2014/main" id="{007CECE4-1A55-5C40-B67B-F01E26F4AC3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67" y="701"/>
                <a:ext cx="7" cy="7"/>
                <a:chOff x="467" y="701"/>
                <a:chExt cx="7" cy="7"/>
              </a:xfrm>
            </p:grpSpPr>
            <p:sp>
              <p:nvSpPr>
                <p:cNvPr id="1910" name="Freeform 284">
                  <a:extLst>
                    <a:ext uri="{FF2B5EF4-FFF2-40B4-BE49-F238E27FC236}">
                      <a16:creationId xmlns:a16="http://schemas.microsoft.com/office/drawing/2014/main" id="{178FDDB6-482F-1749-8BC2-EBFFB4A620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7" y="701"/>
                  <a:ext cx="7" cy="7"/>
                </a:xfrm>
                <a:custGeom>
                  <a:avLst/>
                  <a:gdLst>
                    <a:gd name="T0" fmla="*/ 5 w 7"/>
                    <a:gd name="T1" fmla="*/ 7 h 7"/>
                    <a:gd name="T2" fmla="*/ 4 w 7"/>
                    <a:gd name="T3" fmla="*/ 5 h 7"/>
                    <a:gd name="T4" fmla="*/ 2 w 7"/>
                    <a:gd name="T5" fmla="*/ 3 h 7"/>
                    <a:gd name="T6" fmla="*/ 0 w 7"/>
                    <a:gd name="T7" fmla="*/ 0 h 7"/>
                    <a:gd name="T8" fmla="*/ 4 w 7"/>
                    <a:gd name="T9" fmla="*/ 0 h 7"/>
                    <a:gd name="T10" fmla="*/ 5 w 7"/>
                    <a:gd name="T11" fmla="*/ 2 h 7"/>
                    <a:gd name="T12" fmla="*/ 5 w 7"/>
                    <a:gd name="T13" fmla="*/ 3 h 7"/>
                    <a:gd name="T14" fmla="*/ 7 w 7"/>
                    <a:gd name="T15" fmla="*/ 5 h 7"/>
                    <a:gd name="T16" fmla="*/ 7 w 7"/>
                    <a:gd name="T17" fmla="*/ 7 h 7"/>
                    <a:gd name="T18" fmla="*/ 5 w 7"/>
                    <a:gd name="T1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7">
                      <a:moveTo>
                        <a:pt x="5" y="7"/>
                      </a:moveTo>
                      <a:lnTo>
                        <a:pt x="4" y="5"/>
                      </a:lnTo>
                      <a:lnTo>
                        <a:pt x="2" y="3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5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1" name="Freeform 285">
                  <a:extLst>
                    <a:ext uri="{FF2B5EF4-FFF2-40B4-BE49-F238E27FC236}">
                      <a16:creationId xmlns:a16="http://schemas.microsoft.com/office/drawing/2014/main" id="{67129DA3-8553-7C44-A68D-359898DDC3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7" y="701"/>
                  <a:ext cx="7" cy="7"/>
                </a:xfrm>
                <a:custGeom>
                  <a:avLst/>
                  <a:gdLst>
                    <a:gd name="T0" fmla="*/ 5 w 7"/>
                    <a:gd name="T1" fmla="*/ 7 h 7"/>
                    <a:gd name="T2" fmla="*/ 4 w 7"/>
                    <a:gd name="T3" fmla="*/ 5 h 7"/>
                    <a:gd name="T4" fmla="*/ 2 w 7"/>
                    <a:gd name="T5" fmla="*/ 3 h 7"/>
                    <a:gd name="T6" fmla="*/ 0 w 7"/>
                    <a:gd name="T7" fmla="*/ 0 h 7"/>
                    <a:gd name="T8" fmla="*/ 4 w 7"/>
                    <a:gd name="T9" fmla="*/ 0 h 7"/>
                    <a:gd name="T10" fmla="*/ 5 w 7"/>
                    <a:gd name="T11" fmla="*/ 2 h 7"/>
                    <a:gd name="T12" fmla="*/ 5 w 7"/>
                    <a:gd name="T13" fmla="*/ 3 h 7"/>
                    <a:gd name="T14" fmla="*/ 7 w 7"/>
                    <a:gd name="T15" fmla="*/ 5 h 7"/>
                    <a:gd name="T16" fmla="*/ 7 w 7"/>
                    <a:gd name="T17" fmla="*/ 7 h 7"/>
                    <a:gd name="T18" fmla="*/ 5 w 7"/>
                    <a:gd name="T1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7">
                      <a:moveTo>
                        <a:pt x="5" y="7"/>
                      </a:moveTo>
                      <a:lnTo>
                        <a:pt x="4" y="5"/>
                      </a:lnTo>
                      <a:lnTo>
                        <a:pt x="2" y="3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5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651" name="Group 1650">
              <a:extLst>
                <a:ext uri="{FF2B5EF4-FFF2-40B4-BE49-F238E27FC236}">
                  <a16:creationId xmlns:a16="http://schemas.microsoft.com/office/drawing/2014/main" id="{6A4E8469-7133-2143-9AA7-D9E2041013E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12" y="532"/>
              <a:ext cx="104" cy="54"/>
              <a:chOff x="412" y="532"/>
              <a:chExt cx="104" cy="54"/>
            </a:xfrm>
          </p:grpSpPr>
          <p:sp>
            <p:nvSpPr>
              <p:cNvPr id="1895" name="Freeform 269">
                <a:extLst>
                  <a:ext uri="{FF2B5EF4-FFF2-40B4-BE49-F238E27FC236}">
                    <a16:creationId xmlns:a16="http://schemas.microsoft.com/office/drawing/2014/main" id="{60C71133-26A6-654A-A6CA-883E7FB65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" y="532"/>
                <a:ext cx="104" cy="54"/>
              </a:xfrm>
              <a:custGeom>
                <a:avLst/>
                <a:gdLst>
                  <a:gd name="T0" fmla="*/ 101 w 104"/>
                  <a:gd name="T1" fmla="*/ 7 h 54"/>
                  <a:gd name="T2" fmla="*/ 104 w 104"/>
                  <a:gd name="T3" fmla="*/ 12 h 54"/>
                  <a:gd name="T4" fmla="*/ 101 w 104"/>
                  <a:gd name="T5" fmla="*/ 16 h 54"/>
                  <a:gd name="T6" fmla="*/ 96 w 104"/>
                  <a:gd name="T7" fmla="*/ 17 h 54"/>
                  <a:gd name="T8" fmla="*/ 92 w 104"/>
                  <a:gd name="T9" fmla="*/ 21 h 54"/>
                  <a:gd name="T10" fmla="*/ 89 w 104"/>
                  <a:gd name="T11" fmla="*/ 27 h 54"/>
                  <a:gd name="T12" fmla="*/ 84 w 104"/>
                  <a:gd name="T13" fmla="*/ 32 h 54"/>
                  <a:gd name="T14" fmla="*/ 80 w 104"/>
                  <a:gd name="T15" fmla="*/ 39 h 54"/>
                  <a:gd name="T16" fmla="*/ 74 w 104"/>
                  <a:gd name="T17" fmla="*/ 46 h 54"/>
                  <a:gd name="T18" fmla="*/ 67 w 104"/>
                  <a:gd name="T19" fmla="*/ 48 h 54"/>
                  <a:gd name="T20" fmla="*/ 64 w 104"/>
                  <a:gd name="T21" fmla="*/ 48 h 54"/>
                  <a:gd name="T22" fmla="*/ 59 w 104"/>
                  <a:gd name="T23" fmla="*/ 48 h 54"/>
                  <a:gd name="T24" fmla="*/ 50 w 104"/>
                  <a:gd name="T25" fmla="*/ 49 h 54"/>
                  <a:gd name="T26" fmla="*/ 45 w 104"/>
                  <a:gd name="T27" fmla="*/ 51 h 54"/>
                  <a:gd name="T28" fmla="*/ 37 w 104"/>
                  <a:gd name="T29" fmla="*/ 54 h 54"/>
                  <a:gd name="T30" fmla="*/ 28 w 104"/>
                  <a:gd name="T31" fmla="*/ 54 h 54"/>
                  <a:gd name="T32" fmla="*/ 21 w 104"/>
                  <a:gd name="T33" fmla="*/ 51 h 54"/>
                  <a:gd name="T34" fmla="*/ 13 w 104"/>
                  <a:gd name="T35" fmla="*/ 46 h 54"/>
                  <a:gd name="T36" fmla="*/ 8 w 104"/>
                  <a:gd name="T37" fmla="*/ 41 h 54"/>
                  <a:gd name="T38" fmla="*/ 3 w 104"/>
                  <a:gd name="T39" fmla="*/ 34 h 54"/>
                  <a:gd name="T40" fmla="*/ 0 w 104"/>
                  <a:gd name="T41" fmla="*/ 34 h 54"/>
                  <a:gd name="T42" fmla="*/ 3 w 104"/>
                  <a:gd name="T43" fmla="*/ 31 h 54"/>
                  <a:gd name="T44" fmla="*/ 5 w 104"/>
                  <a:gd name="T45" fmla="*/ 27 h 54"/>
                  <a:gd name="T46" fmla="*/ 6 w 104"/>
                  <a:gd name="T47" fmla="*/ 24 h 54"/>
                  <a:gd name="T48" fmla="*/ 6 w 104"/>
                  <a:gd name="T49" fmla="*/ 19 h 54"/>
                  <a:gd name="T50" fmla="*/ 10 w 104"/>
                  <a:gd name="T51" fmla="*/ 17 h 54"/>
                  <a:gd name="T52" fmla="*/ 16 w 104"/>
                  <a:gd name="T53" fmla="*/ 14 h 54"/>
                  <a:gd name="T54" fmla="*/ 16 w 104"/>
                  <a:gd name="T55" fmla="*/ 10 h 54"/>
                  <a:gd name="T56" fmla="*/ 20 w 104"/>
                  <a:gd name="T57" fmla="*/ 12 h 54"/>
                  <a:gd name="T58" fmla="*/ 25 w 104"/>
                  <a:gd name="T59" fmla="*/ 16 h 54"/>
                  <a:gd name="T60" fmla="*/ 30 w 104"/>
                  <a:gd name="T61" fmla="*/ 16 h 54"/>
                  <a:gd name="T62" fmla="*/ 35 w 104"/>
                  <a:gd name="T63" fmla="*/ 16 h 54"/>
                  <a:gd name="T64" fmla="*/ 38 w 104"/>
                  <a:gd name="T65" fmla="*/ 16 h 54"/>
                  <a:gd name="T66" fmla="*/ 40 w 104"/>
                  <a:gd name="T67" fmla="*/ 14 h 54"/>
                  <a:gd name="T68" fmla="*/ 45 w 104"/>
                  <a:gd name="T69" fmla="*/ 10 h 54"/>
                  <a:gd name="T70" fmla="*/ 55 w 104"/>
                  <a:gd name="T71" fmla="*/ 7 h 54"/>
                  <a:gd name="T72" fmla="*/ 64 w 104"/>
                  <a:gd name="T73" fmla="*/ 5 h 54"/>
                  <a:gd name="T74" fmla="*/ 67 w 104"/>
                  <a:gd name="T75" fmla="*/ 2 h 54"/>
                  <a:gd name="T76" fmla="*/ 77 w 104"/>
                  <a:gd name="T77" fmla="*/ 0 h 54"/>
                  <a:gd name="T78" fmla="*/ 86 w 104"/>
                  <a:gd name="T79" fmla="*/ 0 h 54"/>
                  <a:gd name="T80" fmla="*/ 94 w 104"/>
                  <a:gd name="T81" fmla="*/ 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4" h="54">
                    <a:moveTo>
                      <a:pt x="97" y="5"/>
                    </a:moveTo>
                    <a:lnTo>
                      <a:pt x="101" y="7"/>
                    </a:lnTo>
                    <a:lnTo>
                      <a:pt x="102" y="9"/>
                    </a:lnTo>
                    <a:lnTo>
                      <a:pt x="104" y="12"/>
                    </a:lnTo>
                    <a:lnTo>
                      <a:pt x="102" y="14"/>
                    </a:lnTo>
                    <a:lnTo>
                      <a:pt x="101" y="16"/>
                    </a:lnTo>
                    <a:lnTo>
                      <a:pt x="99" y="16"/>
                    </a:lnTo>
                    <a:lnTo>
                      <a:pt x="96" y="17"/>
                    </a:lnTo>
                    <a:lnTo>
                      <a:pt x="92" y="19"/>
                    </a:lnTo>
                    <a:lnTo>
                      <a:pt x="92" y="21"/>
                    </a:lnTo>
                    <a:lnTo>
                      <a:pt x="91" y="24"/>
                    </a:lnTo>
                    <a:lnTo>
                      <a:pt x="89" y="27"/>
                    </a:lnTo>
                    <a:lnTo>
                      <a:pt x="86" y="29"/>
                    </a:lnTo>
                    <a:lnTo>
                      <a:pt x="84" y="32"/>
                    </a:lnTo>
                    <a:lnTo>
                      <a:pt x="82" y="37"/>
                    </a:lnTo>
                    <a:lnTo>
                      <a:pt x="80" y="39"/>
                    </a:lnTo>
                    <a:lnTo>
                      <a:pt x="79" y="44"/>
                    </a:lnTo>
                    <a:lnTo>
                      <a:pt x="74" y="46"/>
                    </a:lnTo>
                    <a:lnTo>
                      <a:pt x="70" y="46"/>
                    </a:lnTo>
                    <a:lnTo>
                      <a:pt x="67" y="48"/>
                    </a:lnTo>
                    <a:lnTo>
                      <a:pt x="65" y="48"/>
                    </a:lnTo>
                    <a:lnTo>
                      <a:pt x="64" y="48"/>
                    </a:lnTo>
                    <a:lnTo>
                      <a:pt x="62" y="46"/>
                    </a:lnTo>
                    <a:lnTo>
                      <a:pt x="59" y="48"/>
                    </a:lnTo>
                    <a:lnTo>
                      <a:pt x="55" y="48"/>
                    </a:lnTo>
                    <a:lnTo>
                      <a:pt x="50" y="49"/>
                    </a:lnTo>
                    <a:lnTo>
                      <a:pt x="47" y="49"/>
                    </a:lnTo>
                    <a:lnTo>
                      <a:pt x="45" y="51"/>
                    </a:lnTo>
                    <a:lnTo>
                      <a:pt x="42" y="51"/>
                    </a:lnTo>
                    <a:lnTo>
                      <a:pt x="37" y="54"/>
                    </a:lnTo>
                    <a:lnTo>
                      <a:pt x="33" y="54"/>
                    </a:lnTo>
                    <a:lnTo>
                      <a:pt x="28" y="54"/>
                    </a:lnTo>
                    <a:lnTo>
                      <a:pt x="25" y="53"/>
                    </a:lnTo>
                    <a:lnTo>
                      <a:pt x="21" y="51"/>
                    </a:lnTo>
                    <a:lnTo>
                      <a:pt x="18" y="48"/>
                    </a:lnTo>
                    <a:lnTo>
                      <a:pt x="13" y="46"/>
                    </a:lnTo>
                    <a:lnTo>
                      <a:pt x="11" y="42"/>
                    </a:lnTo>
                    <a:lnTo>
                      <a:pt x="8" y="41"/>
                    </a:lnTo>
                    <a:lnTo>
                      <a:pt x="5" y="37"/>
                    </a:lnTo>
                    <a:lnTo>
                      <a:pt x="3" y="34"/>
                    </a:lnTo>
                    <a:lnTo>
                      <a:pt x="1" y="34"/>
                    </a:lnTo>
                    <a:lnTo>
                      <a:pt x="0" y="34"/>
                    </a:lnTo>
                    <a:lnTo>
                      <a:pt x="0" y="32"/>
                    </a:lnTo>
                    <a:lnTo>
                      <a:pt x="3" y="31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5" y="26"/>
                    </a:lnTo>
                    <a:lnTo>
                      <a:pt x="6" y="24"/>
                    </a:lnTo>
                    <a:lnTo>
                      <a:pt x="8" y="21"/>
                    </a:lnTo>
                    <a:lnTo>
                      <a:pt x="6" y="19"/>
                    </a:lnTo>
                    <a:lnTo>
                      <a:pt x="6" y="17"/>
                    </a:lnTo>
                    <a:lnTo>
                      <a:pt x="10" y="17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6" y="10"/>
                    </a:lnTo>
                    <a:lnTo>
                      <a:pt x="18" y="10"/>
                    </a:lnTo>
                    <a:lnTo>
                      <a:pt x="20" y="12"/>
                    </a:lnTo>
                    <a:lnTo>
                      <a:pt x="21" y="14"/>
                    </a:lnTo>
                    <a:lnTo>
                      <a:pt x="25" y="16"/>
                    </a:lnTo>
                    <a:lnTo>
                      <a:pt x="27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5" y="16"/>
                    </a:lnTo>
                    <a:lnTo>
                      <a:pt x="37" y="16"/>
                    </a:lnTo>
                    <a:lnTo>
                      <a:pt x="38" y="16"/>
                    </a:lnTo>
                    <a:lnTo>
                      <a:pt x="38" y="14"/>
                    </a:lnTo>
                    <a:lnTo>
                      <a:pt x="40" y="14"/>
                    </a:lnTo>
                    <a:lnTo>
                      <a:pt x="42" y="10"/>
                    </a:lnTo>
                    <a:lnTo>
                      <a:pt x="45" y="10"/>
                    </a:lnTo>
                    <a:lnTo>
                      <a:pt x="50" y="9"/>
                    </a:lnTo>
                    <a:lnTo>
                      <a:pt x="55" y="7"/>
                    </a:lnTo>
                    <a:lnTo>
                      <a:pt x="60" y="7"/>
                    </a:lnTo>
                    <a:lnTo>
                      <a:pt x="64" y="5"/>
                    </a:lnTo>
                    <a:lnTo>
                      <a:pt x="67" y="5"/>
                    </a:lnTo>
                    <a:lnTo>
                      <a:pt x="67" y="2"/>
                    </a:lnTo>
                    <a:lnTo>
                      <a:pt x="72" y="0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6" y="0"/>
                    </a:lnTo>
                    <a:lnTo>
                      <a:pt x="89" y="4"/>
                    </a:lnTo>
                    <a:lnTo>
                      <a:pt x="94" y="4"/>
                    </a:lnTo>
                    <a:lnTo>
                      <a:pt x="97" y="5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896" name="Freeform 270">
                <a:extLst>
                  <a:ext uri="{FF2B5EF4-FFF2-40B4-BE49-F238E27FC236}">
                    <a16:creationId xmlns:a16="http://schemas.microsoft.com/office/drawing/2014/main" id="{0F8D3540-2753-3549-A304-E9A39B5D21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" y="532"/>
                <a:ext cx="104" cy="54"/>
              </a:xfrm>
              <a:custGeom>
                <a:avLst/>
                <a:gdLst>
                  <a:gd name="T0" fmla="*/ 101 w 104"/>
                  <a:gd name="T1" fmla="*/ 7 h 54"/>
                  <a:gd name="T2" fmla="*/ 104 w 104"/>
                  <a:gd name="T3" fmla="*/ 12 h 54"/>
                  <a:gd name="T4" fmla="*/ 101 w 104"/>
                  <a:gd name="T5" fmla="*/ 16 h 54"/>
                  <a:gd name="T6" fmla="*/ 96 w 104"/>
                  <a:gd name="T7" fmla="*/ 17 h 54"/>
                  <a:gd name="T8" fmla="*/ 92 w 104"/>
                  <a:gd name="T9" fmla="*/ 21 h 54"/>
                  <a:gd name="T10" fmla="*/ 89 w 104"/>
                  <a:gd name="T11" fmla="*/ 27 h 54"/>
                  <a:gd name="T12" fmla="*/ 84 w 104"/>
                  <a:gd name="T13" fmla="*/ 32 h 54"/>
                  <a:gd name="T14" fmla="*/ 80 w 104"/>
                  <a:gd name="T15" fmla="*/ 39 h 54"/>
                  <a:gd name="T16" fmla="*/ 74 w 104"/>
                  <a:gd name="T17" fmla="*/ 46 h 54"/>
                  <a:gd name="T18" fmla="*/ 67 w 104"/>
                  <a:gd name="T19" fmla="*/ 48 h 54"/>
                  <a:gd name="T20" fmla="*/ 64 w 104"/>
                  <a:gd name="T21" fmla="*/ 48 h 54"/>
                  <a:gd name="T22" fmla="*/ 59 w 104"/>
                  <a:gd name="T23" fmla="*/ 48 h 54"/>
                  <a:gd name="T24" fmla="*/ 50 w 104"/>
                  <a:gd name="T25" fmla="*/ 49 h 54"/>
                  <a:gd name="T26" fmla="*/ 45 w 104"/>
                  <a:gd name="T27" fmla="*/ 51 h 54"/>
                  <a:gd name="T28" fmla="*/ 37 w 104"/>
                  <a:gd name="T29" fmla="*/ 54 h 54"/>
                  <a:gd name="T30" fmla="*/ 28 w 104"/>
                  <a:gd name="T31" fmla="*/ 54 h 54"/>
                  <a:gd name="T32" fmla="*/ 21 w 104"/>
                  <a:gd name="T33" fmla="*/ 51 h 54"/>
                  <a:gd name="T34" fmla="*/ 13 w 104"/>
                  <a:gd name="T35" fmla="*/ 46 h 54"/>
                  <a:gd name="T36" fmla="*/ 8 w 104"/>
                  <a:gd name="T37" fmla="*/ 41 h 54"/>
                  <a:gd name="T38" fmla="*/ 3 w 104"/>
                  <a:gd name="T39" fmla="*/ 34 h 54"/>
                  <a:gd name="T40" fmla="*/ 0 w 104"/>
                  <a:gd name="T41" fmla="*/ 34 h 54"/>
                  <a:gd name="T42" fmla="*/ 3 w 104"/>
                  <a:gd name="T43" fmla="*/ 31 h 54"/>
                  <a:gd name="T44" fmla="*/ 5 w 104"/>
                  <a:gd name="T45" fmla="*/ 27 h 54"/>
                  <a:gd name="T46" fmla="*/ 6 w 104"/>
                  <a:gd name="T47" fmla="*/ 24 h 54"/>
                  <a:gd name="T48" fmla="*/ 6 w 104"/>
                  <a:gd name="T49" fmla="*/ 19 h 54"/>
                  <a:gd name="T50" fmla="*/ 10 w 104"/>
                  <a:gd name="T51" fmla="*/ 17 h 54"/>
                  <a:gd name="T52" fmla="*/ 16 w 104"/>
                  <a:gd name="T53" fmla="*/ 14 h 54"/>
                  <a:gd name="T54" fmla="*/ 16 w 104"/>
                  <a:gd name="T55" fmla="*/ 10 h 54"/>
                  <a:gd name="T56" fmla="*/ 20 w 104"/>
                  <a:gd name="T57" fmla="*/ 12 h 54"/>
                  <a:gd name="T58" fmla="*/ 25 w 104"/>
                  <a:gd name="T59" fmla="*/ 16 h 54"/>
                  <a:gd name="T60" fmla="*/ 30 w 104"/>
                  <a:gd name="T61" fmla="*/ 16 h 54"/>
                  <a:gd name="T62" fmla="*/ 35 w 104"/>
                  <a:gd name="T63" fmla="*/ 16 h 54"/>
                  <a:gd name="T64" fmla="*/ 38 w 104"/>
                  <a:gd name="T65" fmla="*/ 16 h 54"/>
                  <a:gd name="T66" fmla="*/ 40 w 104"/>
                  <a:gd name="T67" fmla="*/ 14 h 54"/>
                  <a:gd name="T68" fmla="*/ 45 w 104"/>
                  <a:gd name="T69" fmla="*/ 10 h 54"/>
                  <a:gd name="T70" fmla="*/ 55 w 104"/>
                  <a:gd name="T71" fmla="*/ 7 h 54"/>
                  <a:gd name="T72" fmla="*/ 64 w 104"/>
                  <a:gd name="T73" fmla="*/ 5 h 54"/>
                  <a:gd name="T74" fmla="*/ 67 w 104"/>
                  <a:gd name="T75" fmla="*/ 2 h 54"/>
                  <a:gd name="T76" fmla="*/ 77 w 104"/>
                  <a:gd name="T77" fmla="*/ 0 h 54"/>
                  <a:gd name="T78" fmla="*/ 86 w 104"/>
                  <a:gd name="T79" fmla="*/ 0 h 54"/>
                  <a:gd name="T80" fmla="*/ 94 w 104"/>
                  <a:gd name="T81" fmla="*/ 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4" h="54">
                    <a:moveTo>
                      <a:pt x="97" y="5"/>
                    </a:moveTo>
                    <a:lnTo>
                      <a:pt x="101" y="7"/>
                    </a:lnTo>
                    <a:lnTo>
                      <a:pt x="102" y="9"/>
                    </a:lnTo>
                    <a:lnTo>
                      <a:pt x="104" y="12"/>
                    </a:lnTo>
                    <a:lnTo>
                      <a:pt x="102" y="14"/>
                    </a:lnTo>
                    <a:lnTo>
                      <a:pt x="101" y="16"/>
                    </a:lnTo>
                    <a:lnTo>
                      <a:pt x="99" y="16"/>
                    </a:lnTo>
                    <a:lnTo>
                      <a:pt x="96" y="17"/>
                    </a:lnTo>
                    <a:lnTo>
                      <a:pt x="92" y="19"/>
                    </a:lnTo>
                    <a:lnTo>
                      <a:pt x="92" y="21"/>
                    </a:lnTo>
                    <a:lnTo>
                      <a:pt x="91" y="24"/>
                    </a:lnTo>
                    <a:lnTo>
                      <a:pt x="89" y="27"/>
                    </a:lnTo>
                    <a:lnTo>
                      <a:pt x="86" y="29"/>
                    </a:lnTo>
                    <a:lnTo>
                      <a:pt x="84" y="32"/>
                    </a:lnTo>
                    <a:lnTo>
                      <a:pt x="82" y="37"/>
                    </a:lnTo>
                    <a:lnTo>
                      <a:pt x="80" y="39"/>
                    </a:lnTo>
                    <a:lnTo>
                      <a:pt x="79" y="44"/>
                    </a:lnTo>
                    <a:lnTo>
                      <a:pt x="74" y="46"/>
                    </a:lnTo>
                    <a:lnTo>
                      <a:pt x="70" y="46"/>
                    </a:lnTo>
                    <a:lnTo>
                      <a:pt x="67" y="48"/>
                    </a:lnTo>
                    <a:lnTo>
                      <a:pt x="65" y="48"/>
                    </a:lnTo>
                    <a:lnTo>
                      <a:pt x="64" y="48"/>
                    </a:lnTo>
                    <a:lnTo>
                      <a:pt x="62" y="46"/>
                    </a:lnTo>
                    <a:lnTo>
                      <a:pt x="59" y="48"/>
                    </a:lnTo>
                    <a:lnTo>
                      <a:pt x="55" y="48"/>
                    </a:lnTo>
                    <a:lnTo>
                      <a:pt x="50" y="49"/>
                    </a:lnTo>
                    <a:lnTo>
                      <a:pt x="47" y="49"/>
                    </a:lnTo>
                    <a:lnTo>
                      <a:pt x="45" y="51"/>
                    </a:lnTo>
                    <a:lnTo>
                      <a:pt x="42" y="51"/>
                    </a:lnTo>
                    <a:lnTo>
                      <a:pt x="37" y="54"/>
                    </a:lnTo>
                    <a:lnTo>
                      <a:pt x="33" y="54"/>
                    </a:lnTo>
                    <a:lnTo>
                      <a:pt x="28" y="54"/>
                    </a:lnTo>
                    <a:lnTo>
                      <a:pt x="25" y="53"/>
                    </a:lnTo>
                    <a:lnTo>
                      <a:pt x="21" y="51"/>
                    </a:lnTo>
                    <a:lnTo>
                      <a:pt x="18" y="48"/>
                    </a:lnTo>
                    <a:lnTo>
                      <a:pt x="13" y="46"/>
                    </a:lnTo>
                    <a:lnTo>
                      <a:pt x="11" y="42"/>
                    </a:lnTo>
                    <a:lnTo>
                      <a:pt x="8" y="41"/>
                    </a:lnTo>
                    <a:lnTo>
                      <a:pt x="5" y="37"/>
                    </a:lnTo>
                    <a:lnTo>
                      <a:pt x="3" y="34"/>
                    </a:lnTo>
                    <a:lnTo>
                      <a:pt x="1" y="34"/>
                    </a:lnTo>
                    <a:lnTo>
                      <a:pt x="0" y="34"/>
                    </a:lnTo>
                    <a:lnTo>
                      <a:pt x="0" y="32"/>
                    </a:lnTo>
                    <a:lnTo>
                      <a:pt x="3" y="31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5" y="26"/>
                    </a:lnTo>
                    <a:lnTo>
                      <a:pt x="6" y="24"/>
                    </a:lnTo>
                    <a:lnTo>
                      <a:pt x="8" y="21"/>
                    </a:lnTo>
                    <a:lnTo>
                      <a:pt x="6" y="19"/>
                    </a:lnTo>
                    <a:lnTo>
                      <a:pt x="6" y="17"/>
                    </a:lnTo>
                    <a:lnTo>
                      <a:pt x="10" y="17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6" y="10"/>
                    </a:lnTo>
                    <a:lnTo>
                      <a:pt x="18" y="10"/>
                    </a:lnTo>
                    <a:lnTo>
                      <a:pt x="20" y="12"/>
                    </a:lnTo>
                    <a:lnTo>
                      <a:pt x="21" y="14"/>
                    </a:lnTo>
                    <a:lnTo>
                      <a:pt x="25" y="16"/>
                    </a:lnTo>
                    <a:lnTo>
                      <a:pt x="27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5" y="16"/>
                    </a:lnTo>
                    <a:lnTo>
                      <a:pt x="37" y="16"/>
                    </a:lnTo>
                    <a:lnTo>
                      <a:pt x="38" y="16"/>
                    </a:lnTo>
                    <a:lnTo>
                      <a:pt x="38" y="14"/>
                    </a:lnTo>
                    <a:lnTo>
                      <a:pt x="40" y="14"/>
                    </a:lnTo>
                    <a:lnTo>
                      <a:pt x="42" y="10"/>
                    </a:lnTo>
                    <a:lnTo>
                      <a:pt x="45" y="10"/>
                    </a:lnTo>
                    <a:lnTo>
                      <a:pt x="50" y="9"/>
                    </a:lnTo>
                    <a:lnTo>
                      <a:pt x="55" y="7"/>
                    </a:lnTo>
                    <a:lnTo>
                      <a:pt x="60" y="7"/>
                    </a:lnTo>
                    <a:lnTo>
                      <a:pt x="64" y="5"/>
                    </a:lnTo>
                    <a:lnTo>
                      <a:pt x="67" y="5"/>
                    </a:lnTo>
                    <a:lnTo>
                      <a:pt x="67" y="2"/>
                    </a:lnTo>
                    <a:lnTo>
                      <a:pt x="72" y="0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6" y="0"/>
                    </a:lnTo>
                    <a:lnTo>
                      <a:pt x="89" y="4"/>
                    </a:lnTo>
                    <a:lnTo>
                      <a:pt x="94" y="4"/>
                    </a:lnTo>
                    <a:lnTo>
                      <a:pt x="97" y="5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52" name="Group 1651">
              <a:extLst>
                <a:ext uri="{FF2B5EF4-FFF2-40B4-BE49-F238E27FC236}">
                  <a16:creationId xmlns:a16="http://schemas.microsoft.com/office/drawing/2014/main" id="{CB09D2B8-36D9-784D-BF6B-E4CEA10DA00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392"/>
              <a:ext cx="68" cy="81"/>
              <a:chOff x="0" y="392"/>
              <a:chExt cx="68" cy="81"/>
            </a:xfrm>
          </p:grpSpPr>
          <p:sp>
            <p:nvSpPr>
              <p:cNvPr id="1893" name="Freeform 267">
                <a:extLst>
                  <a:ext uri="{FF2B5EF4-FFF2-40B4-BE49-F238E27FC236}">
                    <a16:creationId xmlns:a16="http://schemas.microsoft.com/office/drawing/2014/main" id="{8FE8289F-8128-9B4D-A826-61B6C535F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392"/>
                <a:ext cx="68" cy="81"/>
              </a:xfrm>
              <a:custGeom>
                <a:avLst/>
                <a:gdLst>
                  <a:gd name="T0" fmla="*/ 42 w 68"/>
                  <a:gd name="T1" fmla="*/ 12 h 81"/>
                  <a:gd name="T2" fmla="*/ 36 w 68"/>
                  <a:gd name="T3" fmla="*/ 17 h 81"/>
                  <a:gd name="T4" fmla="*/ 46 w 68"/>
                  <a:gd name="T5" fmla="*/ 26 h 81"/>
                  <a:gd name="T6" fmla="*/ 54 w 68"/>
                  <a:gd name="T7" fmla="*/ 21 h 81"/>
                  <a:gd name="T8" fmla="*/ 63 w 68"/>
                  <a:gd name="T9" fmla="*/ 21 h 81"/>
                  <a:gd name="T10" fmla="*/ 64 w 68"/>
                  <a:gd name="T11" fmla="*/ 27 h 81"/>
                  <a:gd name="T12" fmla="*/ 64 w 68"/>
                  <a:gd name="T13" fmla="*/ 31 h 81"/>
                  <a:gd name="T14" fmla="*/ 66 w 68"/>
                  <a:gd name="T15" fmla="*/ 36 h 81"/>
                  <a:gd name="T16" fmla="*/ 66 w 68"/>
                  <a:gd name="T17" fmla="*/ 41 h 81"/>
                  <a:gd name="T18" fmla="*/ 66 w 68"/>
                  <a:gd name="T19" fmla="*/ 46 h 81"/>
                  <a:gd name="T20" fmla="*/ 66 w 68"/>
                  <a:gd name="T21" fmla="*/ 53 h 81"/>
                  <a:gd name="T22" fmla="*/ 64 w 68"/>
                  <a:gd name="T23" fmla="*/ 59 h 81"/>
                  <a:gd name="T24" fmla="*/ 63 w 68"/>
                  <a:gd name="T25" fmla="*/ 66 h 81"/>
                  <a:gd name="T26" fmla="*/ 57 w 68"/>
                  <a:gd name="T27" fmla="*/ 66 h 81"/>
                  <a:gd name="T28" fmla="*/ 51 w 68"/>
                  <a:gd name="T29" fmla="*/ 68 h 81"/>
                  <a:gd name="T30" fmla="*/ 44 w 68"/>
                  <a:gd name="T31" fmla="*/ 70 h 81"/>
                  <a:gd name="T32" fmla="*/ 39 w 68"/>
                  <a:gd name="T33" fmla="*/ 71 h 81"/>
                  <a:gd name="T34" fmla="*/ 36 w 68"/>
                  <a:gd name="T35" fmla="*/ 75 h 81"/>
                  <a:gd name="T36" fmla="*/ 32 w 68"/>
                  <a:gd name="T37" fmla="*/ 73 h 81"/>
                  <a:gd name="T38" fmla="*/ 30 w 68"/>
                  <a:gd name="T39" fmla="*/ 76 h 81"/>
                  <a:gd name="T40" fmla="*/ 27 w 68"/>
                  <a:gd name="T41" fmla="*/ 78 h 81"/>
                  <a:gd name="T42" fmla="*/ 22 w 68"/>
                  <a:gd name="T43" fmla="*/ 80 h 81"/>
                  <a:gd name="T44" fmla="*/ 19 w 68"/>
                  <a:gd name="T45" fmla="*/ 81 h 81"/>
                  <a:gd name="T46" fmla="*/ 14 w 68"/>
                  <a:gd name="T47" fmla="*/ 80 h 81"/>
                  <a:gd name="T48" fmla="*/ 12 w 68"/>
                  <a:gd name="T49" fmla="*/ 78 h 81"/>
                  <a:gd name="T50" fmla="*/ 10 w 68"/>
                  <a:gd name="T51" fmla="*/ 78 h 81"/>
                  <a:gd name="T52" fmla="*/ 5 w 68"/>
                  <a:gd name="T53" fmla="*/ 78 h 81"/>
                  <a:gd name="T54" fmla="*/ 12 w 68"/>
                  <a:gd name="T55" fmla="*/ 75 h 81"/>
                  <a:gd name="T56" fmla="*/ 7 w 68"/>
                  <a:gd name="T57" fmla="*/ 75 h 81"/>
                  <a:gd name="T58" fmla="*/ 2 w 68"/>
                  <a:gd name="T59" fmla="*/ 75 h 81"/>
                  <a:gd name="T60" fmla="*/ 9 w 68"/>
                  <a:gd name="T61" fmla="*/ 70 h 81"/>
                  <a:gd name="T62" fmla="*/ 0 w 68"/>
                  <a:gd name="T63" fmla="*/ 68 h 81"/>
                  <a:gd name="T64" fmla="*/ 5 w 68"/>
                  <a:gd name="T65" fmla="*/ 66 h 81"/>
                  <a:gd name="T66" fmla="*/ 10 w 68"/>
                  <a:gd name="T67" fmla="*/ 63 h 81"/>
                  <a:gd name="T68" fmla="*/ 17 w 68"/>
                  <a:gd name="T69" fmla="*/ 59 h 81"/>
                  <a:gd name="T70" fmla="*/ 27 w 68"/>
                  <a:gd name="T71" fmla="*/ 56 h 81"/>
                  <a:gd name="T72" fmla="*/ 24 w 68"/>
                  <a:gd name="T73" fmla="*/ 53 h 81"/>
                  <a:gd name="T74" fmla="*/ 19 w 68"/>
                  <a:gd name="T75" fmla="*/ 58 h 81"/>
                  <a:gd name="T76" fmla="*/ 12 w 68"/>
                  <a:gd name="T77" fmla="*/ 58 h 81"/>
                  <a:gd name="T78" fmla="*/ 15 w 68"/>
                  <a:gd name="T79" fmla="*/ 54 h 81"/>
                  <a:gd name="T80" fmla="*/ 17 w 68"/>
                  <a:gd name="T81" fmla="*/ 49 h 81"/>
                  <a:gd name="T82" fmla="*/ 24 w 68"/>
                  <a:gd name="T83" fmla="*/ 46 h 81"/>
                  <a:gd name="T84" fmla="*/ 15 w 68"/>
                  <a:gd name="T85" fmla="*/ 44 h 81"/>
                  <a:gd name="T86" fmla="*/ 10 w 68"/>
                  <a:gd name="T87" fmla="*/ 43 h 81"/>
                  <a:gd name="T88" fmla="*/ 7 w 68"/>
                  <a:gd name="T89" fmla="*/ 41 h 81"/>
                  <a:gd name="T90" fmla="*/ 9 w 68"/>
                  <a:gd name="T91" fmla="*/ 36 h 81"/>
                  <a:gd name="T92" fmla="*/ 14 w 68"/>
                  <a:gd name="T93" fmla="*/ 32 h 81"/>
                  <a:gd name="T94" fmla="*/ 7 w 68"/>
                  <a:gd name="T95" fmla="*/ 31 h 81"/>
                  <a:gd name="T96" fmla="*/ 9 w 68"/>
                  <a:gd name="T97" fmla="*/ 29 h 81"/>
                  <a:gd name="T98" fmla="*/ 10 w 68"/>
                  <a:gd name="T99" fmla="*/ 22 h 81"/>
                  <a:gd name="T100" fmla="*/ 19 w 68"/>
                  <a:gd name="T101" fmla="*/ 22 h 81"/>
                  <a:gd name="T102" fmla="*/ 24 w 68"/>
                  <a:gd name="T103" fmla="*/ 22 h 81"/>
                  <a:gd name="T104" fmla="*/ 30 w 68"/>
                  <a:gd name="T105" fmla="*/ 19 h 81"/>
                  <a:gd name="T106" fmla="*/ 36 w 68"/>
                  <a:gd name="T107" fmla="*/ 16 h 81"/>
                  <a:gd name="T108" fmla="*/ 30 w 68"/>
                  <a:gd name="T109" fmla="*/ 16 h 81"/>
                  <a:gd name="T110" fmla="*/ 25 w 68"/>
                  <a:gd name="T111" fmla="*/ 14 h 81"/>
                  <a:gd name="T112" fmla="*/ 30 w 68"/>
                  <a:gd name="T113" fmla="*/ 11 h 81"/>
                  <a:gd name="T114" fmla="*/ 32 w 68"/>
                  <a:gd name="T115" fmla="*/ 5 h 81"/>
                  <a:gd name="T116" fmla="*/ 39 w 68"/>
                  <a:gd name="T117" fmla="*/ 2 h 81"/>
                  <a:gd name="T118" fmla="*/ 44 w 68"/>
                  <a:gd name="T119" fmla="*/ 0 h 81"/>
                  <a:gd name="T120" fmla="*/ 44 w 68"/>
                  <a:gd name="T121" fmla="*/ 7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8" h="81">
                    <a:moveTo>
                      <a:pt x="44" y="7"/>
                    </a:moveTo>
                    <a:lnTo>
                      <a:pt x="44" y="11"/>
                    </a:lnTo>
                    <a:lnTo>
                      <a:pt x="42" y="12"/>
                    </a:lnTo>
                    <a:lnTo>
                      <a:pt x="39" y="12"/>
                    </a:lnTo>
                    <a:lnTo>
                      <a:pt x="39" y="16"/>
                    </a:lnTo>
                    <a:lnTo>
                      <a:pt x="36" y="17"/>
                    </a:lnTo>
                    <a:lnTo>
                      <a:pt x="41" y="21"/>
                    </a:lnTo>
                    <a:lnTo>
                      <a:pt x="42" y="24"/>
                    </a:lnTo>
                    <a:lnTo>
                      <a:pt x="46" y="26"/>
                    </a:lnTo>
                    <a:lnTo>
                      <a:pt x="49" y="22"/>
                    </a:lnTo>
                    <a:lnTo>
                      <a:pt x="51" y="21"/>
                    </a:lnTo>
                    <a:lnTo>
                      <a:pt x="54" y="21"/>
                    </a:lnTo>
                    <a:lnTo>
                      <a:pt x="57" y="19"/>
                    </a:lnTo>
                    <a:lnTo>
                      <a:pt x="61" y="19"/>
                    </a:lnTo>
                    <a:lnTo>
                      <a:pt x="63" y="21"/>
                    </a:lnTo>
                    <a:lnTo>
                      <a:pt x="64" y="22"/>
                    </a:lnTo>
                    <a:lnTo>
                      <a:pt x="64" y="24"/>
                    </a:lnTo>
                    <a:lnTo>
                      <a:pt x="64" y="27"/>
                    </a:lnTo>
                    <a:lnTo>
                      <a:pt x="66" y="27"/>
                    </a:lnTo>
                    <a:lnTo>
                      <a:pt x="64" y="29"/>
                    </a:lnTo>
                    <a:lnTo>
                      <a:pt x="64" y="31"/>
                    </a:lnTo>
                    <a:lnTo>
                      <a:pt x="64" y="32"/>
                    </a:lnTo>
                    <a:lnTo>
                      <a:pt x="64" y="34"/>
                    </a:lnTo>
                    <a:lnTo>
                      <a:pt x="66" y="36"/>
                    </a:lnTo>
                    <a:lnTo>
                      <a:pt x="68" y="38"/>
                    </a:lnTo>
                    <a:lnTo>
                      <a:pt x="68" y="41"/>
                    </a:lnTo>
                    <a:lnTo>
                      <a:pt x="66" y="41"/>
                    </a:lnTo>
                    <a:lnTo>
                      <a:pt x="66" y="43"/>
                    </a:lnTo>
                    <a:lnTo>
                      <a:pt x="66" y="44"/>
                    </a:lnTo>
                    <a:lnTo>
                      <a:pt x="66" y="46"/>
                    </a:lnTo>
                    <a:lnTo>
                      <a:pt x="66" y="48"/>
                    </a:lnTo>
                    <a:lnTo>
                      <a:pt x="68" y="51"/>
                    </a:lnTo>
                    <a:lnTo>
                      <a:pt x="66" y="53"/>
                    </a:lnTo>
                    <a:lnTo>
                      <a:pt x="66" y="56"/>
                    </a:lnTo>
                    <a:lnTo>
                      <a:pt x="64" y="56"/>
                    </a:lnTo>
                    <a:lnTo>
                      <a:pt x="64" y="59"/>
                    </a:lnTo>
                    <a:lnTo>
                      <a:pt x="63" y="61"/>
                    </a:lnTo>
                    <a:lnTo>
                      <a:pt x="63" y="63"/>
                    </a:lnTo>
                    <a:lnTo>
                      <a:pt x="63" y="66"/>
                    </a:lnTo>
                    <a:lnTo>
                      <a:pt x="63" y="68"/>
                    </a:lnTo>
                    <a:lnTo>
                      <a:pt x="61" y="68"/>
                    </a:lnTo>
                    <a:lnTo>
                      <a:pt x="57" y="66"/>
                    </a:lnTo>
                    <a:lnTo>
                      <a:pt x="54" y="66"/>
                    </a:lnTo>
                    <a:lnTo>
                      <a:pt x="52" y="66"/>
                    </a:lnTo>
                    <a:lnTo>
                      <a:pt x="51" y="68"/>
                    </a:lnTo>
                    <a:lnTo>
                      <a:pt x="47" y="68"/>
                    </a:lnTo>
                    <a:lnTo>
                      <a:pt x="44" y="68"/>
                    </a:lnTo>
                    <a:lnTo>
                      <a:pt x="44" y="70"/>
                    </a:lnTo>
                    <a:lnTo>
                      <a:pt x="42" y="71"/>
                    </a:lnTo>
                    <a:lnTo>
                      <a:pt x="41" y="71"/>
                    </a:lnTo>
                    <a:lnTo>
                      <a:pt x="39" y="71"/>
                    </a:lnTo>
                    <a:lnTo>
                      <a:pt x="39" y="73"/>
                    </a:lnTo>
                    <a:lnTo>
                      <a:pt x="37" y="75"/>
                    </a:lnTo>
                    <a:lnTo>
                      <a:pt x="36" y="75"/>
                    </a:lnTo>
                    <a:lnTo>
                      <a:pt x="34" y="75"/>
                    </a:lnTo>
                    <a:lnTo>
                      <a:pt x="34" y="73"/>
                    </a:lnTo>
                    <a:lnTo>
                      <a:pt x="32" y="73"/>
                    </a:lnTo>
                    <a:lnTo>
                      <a:pt x="32" y="75"/>
                    </a:lnTo>
                    <a:lnTo>
                      <a:pt x="32" y="76"/>
                    </a:lnTo>
                    <a:lnTo>
                      <a:pt x="30" y="76"/>
                    </a:lnTo>
                    <a:lnTo>
                      <a:pt x="30" y="78"/>
                    </a:lnTo>
                    <a:lnTo>
                      <a:pt x="29" y="78"/>
                    </a:lnTo>
                    <a:lnTo>
                      <a:pt x="27" y="78"/>
                    </a:lnTo>
                    <a:lnTo>
                      <a:pt x="25" y="78"/>
                    </a:lnTo>
                    <a:lnTo>
                      <a:pt x="24" y="80"/>
                    </a:lnTo>
                    <a:lnTo>
                      <a:pt x="22" y="80"/>
                    </a:lnTo>
                    <a:lnTo>
                      <a:pt x="20" y="80"/>
                    </a:lnTo>
                    <a:lnTo>
                      <a:pt x="19" y="80"/>
                    </a:lnTo>
                    <a:lnTo>
                      <a:pt x="19" y="81"/>
                    </a:lnTo>
                    <a:lnTo>
                      <a:pt x="17" y="81"/>
                    </a:lnTo>
                    <a:lnTo>
                      <a:pt x="15" y="80"/>
                    </a:lnTo>
                    <a:lnTo>
                      <a:pt x="14" y="80"/>
                    </a:lnTo>
                    <a:lnTo>
                      <a:pt x="10" y="81"/>
                    </a:lnTo>
                    <a:lnTo>
                      <a:pt x="10" y="80"/>
                    </a:lnTo>
                    <a:lnTo>
                      <a:pt x="12" y="78"/>
                    </a:lnTo>
                    <a:lnTo>
                      <a:pt x="14" y="78"/>
                    </a:lnTo>
                    <a:lnTo>
                      <a:pt x="14" y="76"/>
                    </a:lnTo>
                    <a:lnTo>
                      <a:pt x="10" y="78"/>
                    </a:lnTo>
                    <a:lnTo>
                      <a:pt x="9" y="78"/>
                    </a:lnTo>
                    <a:lnTo>
                      <a:pt x="7" y="78"/>
                    </a:lnTo>
                    <a:lnTo>
                      <a:pt x="5" y="78"/>
                    </a:lnTo>
                    <a:lnTo>
                      <a:pt x="7" y="78"/>
                    </a:lnTo>
                    <a:lnTo>
                      <a:pt x="9" y="76"/>
                    </a:lnTo>
                    <a:lnTo>
                      <a:pt x="12" y="75"/>
                    </a:lnTo>
                    <a:lnTo>
                      <a:pt x="12" y="73"/>
                    </a:lnTo>
                    <a:lnTo>
                      <a:pt x="9" y="75"/>
                    </a:lnTo>
                    <a:lnTo>
                      <a:pt x="7" y="75"/>
                    </a:lnTo>
                    <a:lnTo>
                      <a:pt x="5" y="75"/>
                    </a:lnTo>
                    <a:lnTo>
                      <a:pt x="3" y="75"/>
                    </a:lnTo>
                    <a:lnTo>
                      <a:pt x="2" y="75"/>
                    </a:lnTo>
                    <a:lnTo>
                      <a:pt x="2" y="73"/>
                    </a:lnTo>
                    <a:lnTo>
                      <a:pt x="5" y="71"/>
                    </a:lnTo>
                    <a:lnTo>
                      <a:pt x="9" y="70"/>
                    </a:lnTo>
                    <a:lnTo>
                      <a:pt x="9" y="68"/>
                    </a:lnTo>
                    <a:lnTo>
                      <a:pt x="3" y="68"/>
                    </a:lnTo>
                    <a:lnTo>
                      <a:pt x="0" y="68"/>
                    </a:lnTo>
                    <a:lnTo>
                      <a:pt x="2" y="66"/>
                    </a:lnTo>
                    <a:lnTo>
                      <a:pt x="3" y="64"/>
                    </a:lnTo>
                    <a:lnTo>
                      <a:pt x="5" y="66"/>
                    </a:lnTo>
                    <a:lnTo>
                      <a:pt x="7" y="64"/>
                    </a:lnTo>
                    <a:lnTo>
                      <a:pt x="9" y="64"/>
                    </a:lnTo>
                    <a:lnTo>
                      <a:pt x="10" y="63"/>
                    </a:lnTo>
                    <a:lnTo>
                      <a:pt x="12" y="61"/>
                    </a:lnTo>
                    <a:lnTo>
                      <a:pt x="12" y="59"/>
                    </a:lnTo>
                    <a:lnTo>
                      <a:pt x="17" y="59"/>
                    </a:lnTo>
                    <a:lnTo>
                      <a:pt x="20" y="58"/>
                    </a:lnTo>
                    <a:lnTo>
                      <a:pt x="24" y="58"/>
                    </a:lnTo>
                    <a:lnTo>
                      <a:pt x="27" y="56"/>
                    </a:lnTo>
                    <a:lnTo>
                      <a:pt x="24" y="56"/>
                    </a:lnTo>
                    <a:lnTo>
                      <a:pt x="24" y="54"/>
                    </a:lnTo>
                    <a:lnTo>
                      <a:pt x="24" y="53"/>
                    </a:lnTo>
                    <a:lnTo>
                      <a:pt x="24" y="54"/>
                    </a:lnTo>
                    <a:lnTo>
                      <a:pt x="22" y="56"/>
                    </a:lnTo>
                    <a:lnTo>
                      <a:pt x="19" y="58"/>
                    </a:lnTo>
                    <a:lnTo>
                      <a:pt x="17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0" y="58"/>
                    </a:lnTo>
                    <a:lnTo>
                      <a:pt x="14" y="56"/>
                    </a:lnTo>
                    <a:lnTo>
                      <a:pt x="15" y="54"/>
                    </a:lnTo>
                    <a:lnTo>
                      <a:pt x="15" y="53"/>
                    </a:lnTo>
                    <a:lnTo>
                      <a:pt x="15" y="51"/>
                    </a:lnTo>
                    <a:lnTo>
                      <a:pt x="17" y="49"/>
                    </a:lnTo>
                    <a:lnTo>
                      <a:pt x="19" y="48"/>
                    </a:lnTo>
                    <a:lnTo>
                      <a:pt x="22" y="46"/>
                    </a:lnTo>
                    <a:lnTo>
                      <a:pt x="24" y="46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15" y="44"/>
                    </a:lnTo>
                    <a:lnTo>
                      <a:pt x="14" y="44"/>
                    </a:lnTo>
                    <a:lnTo>
                      <a:pt x="12" y="43"/>
                    </a:lnTo>
                    <a:lnTo>
                      <a:pt x="10" y="43"/>
                    </a:lnTo>
                    <a:lnTo>
                      <a:pt x="9" y="43"/>
                    </a:lnTo>
                    <a:lnTo>
                      <a:pt x="9" y="41"/>
                    </a:lnTo>
                    <a:lnTo>
                      <a:pt x="7" y="41"/>
                    </a:lnTo>
                    <a:lnTo>
                      <a:pt x="5" y="39"/>
                    </a:lnTo>
                    <a:lnTo>
                      <a:pt x="5" y="38"/>
                    </a:lnTo>
                    <a:lnTo>
                      <a:pt x="9" y="36"/>
                    </a:lnTo>
                    <a:lnTo>
                      <a:pt x="9" y="34"/>
                    </a:lnTo>
                    <a:lnTo>
                      <a:pt x="10" y="34"/>
                    </a:lnTo>
                    <a:lnTo>
                      <a:pt x="14" y="32"/>
                    </a:lnTo>
                    <a:lnTo>
                      <a:pt x="14" y="31"/>
                    </a:lnTo>
                    <a:lnTo>
                      <a:pt x="12" y="31"/>
                    </a:lnTo>
                    <a:lnTo>
                      <a:pt x="7" y="31"/>
                    </a:lnTo>
                    <a:lnTo>
                      <a:pt x="5" y="29"/>
                    </a:lnTo>
                    <a:lnTo>
                      <a:pt x="7" y="29"/>
                    </a:lnTo>
                    <a:lnTo>
                      <a:pt x="9" y="29"/>
                    </a:lnTo>
                    <a:lnTo>
                      <a:pt x="9" y="27"/>
                    </a:lnTo>
                    <a:lnTo>
                      <a:pt x="9" y="26"/>
                    </a:lnTo>
                    <a:lnTo>
                      <a:pt x="10" y="22"/>
                    </a:lnTo>
                    <a:lnTo>
                      <a:pt x="12" y="21"/>
                    </a:lnTo>
                    <a:lnTo>
                      <a:pt x="15" y="22"/>
                    </a:lnTo>
                    <a:lnTo>
                      <a:pt x="19" y="22"/>
                    </a:lnTo>
                    <a:lnTo>
                      <a:pt x="19" y="24"/>
                    </a:lnTo>
                    <a:lnTo>
                      <a:pt x="22" y="22"/>
                    </a:lnTo>
                    <a:lnTo>
                      <a:pt x="24" y="22"/>
                    </a:lnTo>
                    <a:lnTo>
                      <a:pt x="29" y="22"/>
                    </a:lnTo>
                    <a:lnTo>
                      <a:pt x="29" y="21"/>
                    </a:lnTo>
                    <a:lnTo>
                      <a:pt x="30" y="19"/>
                    </a:lnTo>
                    <a:lnTo>
                      <a:pt x="32" y="17"/>
                    </a:lnTo>
                    <a:lnTo>
                      <a:pt x="34" y="17"/>
                    </a:lnTo>
                    <a:lnTo>
                      <a:pt x="36" y="16"/>
                    </a:lnTo>
                    <a:lnTo>
                      <a:pt x="36" y="14"/>
                    </a:lnTo>
                    <a:lnTo>
                      <a:pt x="32" y="14"/>
                    </a:lnTo>
                    <a:lnTo>
                      <a:pt x="30" y="16"/>
                    </a:lnTo>
                    <a:lnTo>
                      <a:pt x="29" y="14"/>
                    </a:lnTo>
                    <a:lnTo>
                      <a:pt x="27" y="14"/>
                    </a:lnTo>
                    <a:lnTo>
                      <a:pt x="25" y="14"/>
                    </a:lnTo>
                    <a:lnTo>
                      <a:pt x="27" y="12"/>
                    </a:lnTo>
                    <a:lnTo>
                      <a:pt x="29" y="12"/>
                    </a:lnTo>
                    <a:lnTo>
                      <a:pt x="30" y="11"/>
                    </a:lnTo>
                    <a:lnTo>
                      <a:pt x="32" y="9"/>
                    </a:lnTo>
                    <a:lnTo>
                      <a:pt x="30" y="9"/>
                    </a:lnTo>
                    <a:lnTo>
                      <a:pt x="32" y="5"/>
                    </a:lnTo>
                    <a:lnTo>
                      <a:pt x="34" y="5"/>
                    </a:lnTo>
                    <a:lnTo>
                      <a:pt x="36" y="4"/>
                    </a:lnTo>
                    <a:lnTo>
                      <a:pt x="39" y="2"/>
                    </a:lnTo>
                    <a:lnTo>
                      <a:pt x="41" y="2"/>
                    </a:lnTo>
                    <a:lnTo>
                      <a:pt x="42" y="2"/>
                    </a:lnTo>
                    <a:lnTo>
                      <a:pt x="44" y="0"/>
                    </a:lnTo>
                    <a:lnTo>
                      <a:pt x="44" y="2"/>
                    </a:lnTo>
                    <a:lnTo>
                      <a:pt x="44" y="5"/>
                    </a:lnTo>
                    <a:lnTo>
                      <a:pt x="44" y="7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894" name="Freeform 268">
                <a:extLst>
                  <a:ext uri="{FF2B5EF4-FFF2-40B4-BE49-F238E27FC236}">
                    <a16:creationId xmlns:a16="http://schemas.microsoft.com/office/drawing/2014/main" id="{2B5A9018-BBC3-2C42-8011-67883B23D3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392"/>
                <a:ext cx="68" cy="81"/>
              </a:xfrm>
              <a:custGeom>
                <a:avLst/>
                <a:gdLst>
                  <a:gd name="T0" fmla="*/ 42 w 68"/>
                  <a:gd name="T1" fmla="*/ 12 h 81"/>
                  <a:gd name="T2" fmla="*/ 36 w 68"/>
                  <a:gd name="T3" fmla="*/ 17 h 81"/>
                  <a:gd name="T4" fmla="*/ 46 w 68"/>
                  <a:gd name="T5" fmla="*/ 26 h 81"/>
                  <a:gd name="T6" fmla="*/ 54 w 68"/>
                  <a:gd name="T7" fmla="*/ 21 h 81"/>
                  <a:gd name="T8" fmla="*/ 63 w 68"/>
                  <a:gd name="T9" fmla="*/ 21 h 81"/>
                  <a:gd name="T10" fmla="*/ 64 w 68"/>
                  <a:gd name="T11" fmla="*/ 27 h 81"/>
                  <a:gd name="T12" fmla="*/ 64 w 68"/>
                  <a:gd name="T13" fmla="*/ 31 h 81"/>
                  <a:gd name="T14" fmla="*/ 66 w 68"/>
                  <a:gd name="T15" fmla="*/ 36 h 81"/>
                  <a:gd name="T16" fmla="*/ 66 w 68"/>
                  <a:gd name="T17" fmla="*/ 41 h 81"/>
                  <a:gd name="T18" fmla="*/ 66 w 68"/>
                  <a:gd name="T19" fmla="*/ 46 h 81"/>
                  <a:gd name="T20" fmla="*/ 66 w 68"/>
                  <a:gd name="T21" fmla="*/ 53 h 81"/>
                  <a:gd name="T22" fmla="*/ 64 w 68"/>
                  <a:gd name="T23" fmla="*/ 59 h 81"/>
                  <a:gd name="T24" fmla="*/ 63 w 68"/>
                  <a:gd name="T25" fmla="*/ 66 h 81"/>
                  <a:gd name="T26" fmla="*/ 57 w 68"/>
                  <a:gd name="T27" fmla="*/ 66 h 81"/>
                  <a:gd name="T28" fmla="*/ 51 w 68"/>
                  <a:gd name="T29" fmla="*/ 68 h 81"/>
                  <a:gd name="T30" fmla="*/ 44 w 68"/>
                  <a:gd name="T31" fmla="*/ 70 h 81"/>
                  <a:gd name="T32" fmla="*/ 39 w 68"/>
                  <a:gd name="T33" fmla="*/ 71 h 81"/>
                  <a:gd name="T34" fmla="*/ 36 w 68"/>
                  <a:gd name="T35" fmla="*/ 75 h 81"/>
                  <a:gd name="T36" fmla="*/ 32 w 68"/>
                  <a:gd name="T37" fmla="*/ 73 h 81"/>
                  <a:gd name="T38" fmla="*/ 30 w 68"/>
                  <a:gd name="T39" fmla="*/ 76 h 81"/>
                  <a:gd name="T40" fmla="*/ 27 w 68"/>
                  <a:gd name="T41" fmla="*/ 78 h 81"/>
                  <a:gd name="T42" fmla="*/ 22 w 68"/>
                  <a:gd name="T43" fmla="*/ 80 h 81"/>
                  <a:gd name="T44" fmla="*/ 19 w 68"/>
                  <a:gd name="T45" fmla="*/ 81 h 81"/>
                  <a:gd name="T46" fmla="*/ 14 w 68"/>
                  <a:gd name="T47" fmla="*/ 80 h 81"/>
                  <a:gd name="T48" fmla="*/ 12 w 68"/>
                  <a:gd name="T49" fmla="*/ 78 h 81"/>
                  <a:gd name="T50" fmla="*/ 10 w 68"/>
                  <a:gd name="T51" fmla="*/ 78 h 81"/>
                  <a:gd name="T52" fmla="*/ 5 w 68"/>
                  <a:gd name="T53" fmla="*/ 78 h 81"/>
                  <a:gd name="T54" fmla="*/ 12 w 68"/>
                  <a:gd name="T55" fmla="*/ 75 h 81"/>
                  <a:gd name="T56" fmla="*/ 7 w 68"/>
                  <a:gd name="T57" fmla="*/ 75 h 81"/>
                  <a:gd name="T58" fmla="*/ 2 w 68"/>
                  <a:gd name="T59" fmla="*/ 75 h 81"/>
                  <a:gd name="T60" fmla="*/ 9 w 68"/>
                  <a:gd name="T61" fmla="*/ 70 h 81"/>
                  <a:gd name="T62" fmla="*/ 0 w 68"/>
                  <a:gd name="T63" fmla="*/ 68 h 81"/>
                  <a:gd name="T64" fmla="*/ 5 w 68"/>
                  <a:gd name="T65" fmla="*/ 66 h 81"/>
                  <a:gd name="T66" fmla="*/ 10 w 68"/>
                  <a:gd name="T67" fmla="*/ 63 h 81"/>
                  <a:gd name="T68" fmla="*/ 17 w 68"/>
                  <a:gd name="T69" fmla="*/ 59 h 81"/>
                  <a:gd name="T70" fmla="*/ 27 w 68"/>
                  <a:gd name="T71" fmla="*/ 56 h 81"/>
                  <a:gd name="T72" fmla="*/ 24 w 68"/>
                  <a:gd name="T73" fmla="*/ 53 h 81"/>
                  <a:gd name="T74" fmla="*/ 19 w 68"/>
                  <a:gd name="T75" fmla="*/ 58 h 81"/>
                  <a:gd name="T76" fmla="*/ 12 w 68"/>
                  <a:gd name="T77" fmla="*/ 58 h 81"/>
                  <a:gd name="T78" fmla="*/ 15 w 68"/>
                  <a:gd name="T79" fmla="*/ 54 h 81"/>
                  <a:gd name="T80" fmla="*/ 17 w 68"/>
                  <a:gd name="T81" fmla="*/ 49 h 81"/>
                  <a:gd name="T82" fmla="*/ 24 w 68"/>
                  <a:gd name="T83" fmla="*/ 46 h 81"/>
                  <a:gd name="T84" fmla="*/ 15 w 68"/>
                  <a:gd name="T85" fmla="*/ 44 h 81"/>
                  <a:gd name="T86" fmla="*/ 10 w 68"/>
                  <a:gd name="T87" fmla="*/ 43 h 81"/>
                  <a:gd name="T88" fmla="*/ 7 w 68"/>
                  <a:gd name="T89" fmla="*/ 41 h 81"/>
                  <a:gd name="T90" fmla="*/ 9 w 68"/>
                  <a:gd name="T91" fmla="*/ 36 h 81"/>
                  <a:gd name="T92" fmla="*/ 14 w 68"/>
                  <a:gd name="T93" fmla="*/ 32 h 81"/>
                  <a:gd name="T94" fmla="*/ 7 w 68"/>
                  <a:gd name="T95" fmla="*/ 31 h 81"/>
                  <a:gd name="T96" fmla="*/ 9 w 68"/>
                  <a:gd name="T97" fmla="*/ 29 h 81"/>
                  <a:gd name="T98" fmla="*/ 10 w 68"/>
                  <a:gd name="T99" fmla="*/ 22 h 81"/>
                  <a:gd name="T100" fmla="*/ 19 w 68"/>
                  <a:gd name="T101" fmla="*/ 22 h 81"/>
                  <a:gd name="T102" fmla="*/ 24 w 68"/>
                  <a:gd name="T103" fmla="*/ 22 h 81"/>
                  <a:gd name="T104" fmla="*/ 30 w 68"/>
                  <a:gd name="T105" fmla="*/ 19 h 81"/>
                  <a:gd name="T106" fmla="*/ 36 w 68"/>
                  <a:gd name="T107" fmla="*/ 16 h 81"/>
                  <a:gd name="T108" fmla="*/ 30 w 68"/>
                  <a:gd name="T109" fmla="*/ 16 h 81"/>
                  <a:gd name="T110" fmla="*/ 25 w 68"/>
                  <a:gd name="T111" fmla="*/ 14 h 81"/>
                  <a:gd name="T112" fmla="*/ 30 w 68"/>
                  <a:gd name="T113" fmla="*/ 11 h 81"/>
                  <a:gd name="T114" fmla="*/ 32 w 68"/>
                  <a:gd name="T115" fmla="*/ 5 h 81"/>
                  <a:gd name="T116" fmla="*/ 39 w 68"/>
                  <a:gd name="T117" fmla="*/ 2 h 81"/>
                  <a:gd name="T118" fmla="*/ 44 w 68"/>
                  <a:gd name="T119" fmla="*/ 0 h 81"/>
                  <a:gd name="T120" fmla="*/ 44 w 68"/>
                  <a:gd name="T121" fmla="*/ 7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8" h="81">
                    <a:moveTo>
                      <a:pt x="44" y="7"/>
                    </a:moveTo>
                    <a:lnTo>
                      <a:pt x="44" y="11"/>
                    </a:lnTo>
                    <a:lnTo>
                      <a:pt x="42" y="12"/>
                    </a:lnTo>
                    <a:lnTo>
                      <a:pt x="39" y="12"/>
                    </a:lnTo>
                    <a:lnTo>
                      <a:pt x="39" y="16"/>
                    </a:lnTo>
                    <a:lnTo>
                      <a:pt x="36" y="17"/>
                    </a:lnTo>
                    <a:lnTo>
                      <a:pt x="41" y="21"/>
                    </a:lnTo>
                    <a:lnTo>
                      <a:pt x="42" y="24"/>
                    </a:lnTo>
                    <a:lnTo>
                      <a:pt x="46" y="26"/>
                    </a:lnTo>
                    <a:lnTo>
                      <a:pt x="49" y="22"/>
                    </a:lnTo>
                    <a:lnTo>
                      <a:pt x="51" y="21"/>
                    </a:lnTo>
                    <a:lnTo>
                      <a:pt x="54" y="21"/>
                    </a:lnTo>
                    <a:lnTo>
                      <a:pt x="57" y="19"/>
                    </a:lnTo>
                    <a:lnTo>
                      <a:pt x="61" y="19"/>
                    </a:lnTo>
                    <a:lnTo>
                      <a:pt x="63" y="21"/>
                    </a:lnTo>
                    <a:lnTo>
                      <a:pt x="64" y="22"/>
                    </a:lnTo>
                    <a:lnTo>
                      <a:pt x="64" y="24"/>
                    </a:lnTo>
                    <a:lnTo>
                      <a:pt x="64" y="27"/>
                    </a:lnTo>
                    <a:lnTo>
                      <a:pt x="66" y="27"/>
                    </a:lnTo>
                    <a:lnTo>
                      <a:pt x="64" y="29"/>
                    </a:lnTo>
                    <a:lnTo>
                      <a:pt x="64" y="31"/>
                    </a:lnTo>
                    <a:lnTo>
                      <a:pt x="64" y="32"/>
                    </a:lnTo>
                    <a:lnTo>
                      <a:pt x="64" y="34"/>
                    </a:lnTo>
                    <a:lnTo>
                      <a:pt x="66" y="36"/>
                    </a:lnTo>
                    <a:lnTo>
                      <a:pt x="68" y="38"/>
                    </a:lnTo>
                    <a:lnTo>
                      <a:pt x="68" y="41"/>
                    </a:lnTo>
                    <a:lnTo>
                      <a:pt x="66" y="41"/>
                    </a:lnTo>
                    <a:lnTo>
                      <a:pt x="66" y="43"/>
                    </a:lnTo>
                    <a:lnTo>
                      <a:pt x="66" y="44"/>
                    </a:lnTo>
                    <a:lnTo>
                      <a:pt x="66" y="46"/>
                    </a:lnTo>
                    <a:lnTo>
                      <a:pt x="66" y="48"/>
                    </a:lnTo>
                    <a:lnTo>
                      <a:pt x="68" y="51"/>
                    </a:lnTo>
                    <a:lnTo>
                      <a:pt x="66" y="53"/>
                    </a:lnTo>
                    <a:lnTo>
                      <a:pt x="66" y="56"/>
                    </a:lnTo>
                    <a:lnTo>
                      <a:pt x="64" y="56"/>
                    </a:lnTo>
                    <a:lnTo>
                      <a:pt x="64" y="59"/>
                    </a:lnTo>
                    <a:lnTo>
                      <a:pt x="63" y="61"/>
                    </a:lnTo>
                    <a:lnTo>
                      <a:pt x="63" y="63"/>
                    </a:lnTo>
                    <a:lnTo>
                      <a:pt x="63" y="66"/>
                    </a:lnTo>
                    <a:lnTo>
                      <a:pt x="63" y="68"/>
                    </a:lnTo>
                    <a:lnTo>
                      <a:pt x="61" y="68"/>
                    </a:lnTo>
                    <a:lnTo>
                      <a:pt x="57" y="66"/>
                    </a:lnTo>
                    <a:lnTo>
                      <a:pt x="54" y="66"/>
                    </a:lnTo>
                    <a:lnTo>
                      <a:pt x="52" y="66"/>
                    </a:lnTo>
                    <a:lnTo>
                      <a:pt x="51" y="68"/>
                    </a:lnTo>
                    <a:lnTo>
                      <a:pt x="47" y="68"/>
                    </a:lnTo>
                    <a:lnTo>
                      <a:pt x="44" y="68"/>
                    </a:lnTo>
                    <a:lnTo>
                      <a:pt x="44" y="70"/>
                    </a:lnTo>
                    <a:lnTo>
                      <a:pt x="42" y="71"/>
                    </a:lnTo>
                    <a:lnTo>
                      <a:pt x="41" y="71"/>
                    </a:lnTo>
                    <a:lnTo>
                      <a:pt x="39" y="71"/>
                    </a:lnTo>
                    <a:lnTo>
                      <a:pt x="39" y="73"/>
                    </a:lnTo>
                    <a:lnTo>
                      <a:pt x="37" y="75"/>
                    </a:lnTo>
                    <a:lnTo>
                      <a:pt x="36" y="75"/>
                    </a:lnTo>
                    <a:lnTo>
                      <a:pt x="34" y="75"/>
                    </a:lnTo>
                    <a:lnTo>
                      <a:pt x="34" y="73"/>
                    </a:lnTo>
                    <a:lnTo>
                      <a:pt x="32" y="73"/>
                    </a:lnTo>
                    <a:lnTo>
                      <a:pt x="32" y="75"/>
                    </a:lnTo>
                    <a:lnTo>
                      <a:pt x="32" y="76"/>
                    </a:lnTo>
                    <a:lnTo>
                      <a:pt x="30" y="76"/>
                    </a:lnTo>
                    <a:lnTo>
                      <a:pt x="30" y="78"/>
                    </a:lnTo>
                    <a:lnTo>
                      <a:pt x="29" y="78"/>
                    </a:lnTo>
                    <a:lnTo>
                      <a:pt x="27" y="78"/>
                    </a:lnTo>
                    <a:lnTo>
                      <a:pt x="25" y="78"/>
                    </a:lnTo>
                    <a:lnTo>
                      <a:pt x="24" y="80"/>
                    </a:lnTo>
                    <a:lnTo>
                      <a:pt x="22" y="80"/>
                    </a:lnTo>
                    <a:lnTo>
                      <a:pt x="20" y="80"/>
                    </a:lnTo>
                    <a:lnTo>
                      <a:pt x="19" y="80"/>
                    </a:lnTo>
                    <a:lnTo>
                      <a:pt x="19" y="81"/>
                    </a:lnTo>
                    <a:lnTo>
                      <a:pt x="17" y="81"/>
                    </a:lnTo>
                    <a:lnTo>
                      <a:pt x="15" y="80"/>
                    </a:lnTo>
                    <a:lnTo>
                      <a:pt x="14" y="80"/>
                    </a:lnTo>
                    <a:lnTo>
                      <a:pt x="10" y="81"/>
                    </a:lnTo>
                    <a:lnTo>
                      <a:pt x="10" y="80"/>
                    </a:lnTo>
                    <a:lnTo>
                      <a:pt x="12" y="78"/>
                    </a:lnTo>
                    <a:lnTo>
                      <a:pt x="14" y="78"/>
                    </a:lnTo>
                    <a:lnTo>
                      <a:pt x="14" y="76"/>
                    </a:lnTo>
                    <a:lnTo>
                      <a:pt x="10" y="78"/>
                    </a:lnTo>
                    <a:lnTo>
                      <a:pt x="9" y="78"/>
                    </a:lnTo>
                    <a:lnTo>
                      <a:pt x="7" y="78"/>
                    </a:lnTo>
                    <a:lnTo>
                      <a:pt x="5" y="78"/>
                    </a:lnTo>
                    <a:lnTo>
                      <a:pt x="7" y="78"/>
                    </a:lnTo>
                    <a:lnTo>
                      <a:pt x="9" y="76"/>
                    </a:lnTo>
                    <a:lnTo>
                      <a:pt x="12" y="75"/>
                    </a:lnTo>
                    <a:lnTo>
                      <a:pt x="12" y="73"/>
                    </a:lnTo>
                    <a:lnTo>
                      <a:pt x="9" y="75"/>
                    </a:lnTo>
                    <a:lnTo>
                      <a:pt x="7" y="75"/>
                    </a:lnTo>
                    <a:lnTo>
                      <a:pt x="5" y="75"/>
                    </a:lnTo>
                    <a:lnTo>
                      <a:pt x="3" y="75"/>
                    </a:lnTo>
                    <a:lnTo>
                      <a:pt x="2" y="75"/>
                    </a:lnTo>
                    <a:lnTo>
                      <a:pt x="2" y="73"/>
                    </a:lnTo>
                    <a:lnTo>
                      <a:pt x="5" y="71"/>
                    </a:lnTo>
                    <a:lnTo>
                      <a:pt x="9" y="70"/>
                    </a:lnTo>
                    <a:lnTo>
                      <a:pt x="9" y="68"/>
                    </a:lnTo>
                    <a:lnTo>
                      <a:pt x="3" y="68"/>
                    </a:lnTo>
                    <a:lnTo>
                      <a:pt x="0" y="68"/>
                    </a:lnTo>
                    <a:lnTo>
                      <a:pt x="2" y="66"/>
                    </a:lnTo>
                    <a:lnTo>
                      <a:pt x="3" y="64"/>
                    </a:lnTo>
                    <a:lnTo>
                      <a:pt x="5" y="66"/>
                    </a:lnTo>
                    <a:lnTo>
                      <a:pt x="7" y="64"/>
                    </a:lnTo>
                    <a:lnTo>
                      <a:pt x="9" y="64"/>
                    </a:lnTo>
                    <a:lnTo>
                      <a:pt x="10" y="63"/>
                    </a:lnTo>
                    <a:lnTo>
                      <a:pt x="12" y="61"/>
                    </a:lnTo>
                    <a:lnTo>
                      <a:pt x="12" y="59"/>
                    </a:lnTo>
                    <a:lnTo>
                      <a:pt x="17" y="59"/>
                    </a:lnTo>
                    <a:lnTo>
                      <a:pt x="20" y="58"/>
                    </a:lnTo>
                    <a:lnTo>
                      <a:pt x="24" y="58"/>
                    </a:lnTo>
                    <a:lnTo>
                      <a:pt x="27" y="56"/>
                    </a:lnTo>
                    <a:lnTo>
                      <a:pt x="24" y="56"/>
                    </a:lnTo>
                    <a:lnTo>
                      <a:pt x="24" y="54"/>
                    </a:lnTo>
                    <a:lnTo>
                      <a:pt x="24" y="53"/>
                    </a:lnTo>
                    <a:lnTo>
                      <a:pt x="24" y="54"/>
                    </a:lnTo>
                    <a:lnTo>
                      <a:pt x="22" y="56"/>
                    </a:lnTo>
                    <a:lnTo>
                      <a:pt x="19" y="58"/>
                    </a:lnTo>
                    <a:lnTo>
                      <a:pt x="17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0" y="58"/>
                    </a:lnTo>
                    <a:lnTo>
                      <a:pt x="14" y="56"/>
                    </a:lnTo>
                    <a:lnTo>
                      <a:pt x="15" y="54"/>
                    </a:lnTo>
                    <a:lnTo>
                      <a:pt x="15" y="53"/>
                    </a:lnTo>
                    <a:lnTo>
                      <a:pt x="15" y="51"/>
                    </a:lnTo>
                    <a:lnTo>
                      <a:pt x="17" y="49"/>
                    </a:lnTo>
                    <a:lnTo>
                      <a:pt x="19" y="48"/>
                    </a:lnTo>
                    <a:lnTo>
                      <a:pt x="22" y="46"/>
                    </a:lnTo>
                    <a:lnTo>
                      <a:pt x="24" y="46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15" y="44"/>
                    </a:lnTo>
                    <a:lnTo>
                      <a:pt x="14" y="44"/>
                    </a:lnTo>
                    <a:lnTo>
                      <a:pt x="12" y="43"/>
                    </a:lnTo>
                    <a:lnTo>
                      <a:pt x="10" y="43"/>
                    </a:lnTo>
                    <a:lnTo>
                      <a:pt x="9" y="43"/>
                    </a:lnTo>
                    <a:lnTo>
                      <a:pt x="9" y="41"/>
                    </a:lnTo>
                    <a:lnTo>
                      <a:pt x="7" y="41"/>
                    </a:lnTo>
                    <a:lnTo>
                      <a:pt x="5" y="39"/>
                    </a:lnTo>
                    <a:lnTo>
                      <a:pt x="5" y="38"/>
                    </a:lnTo>
                    <a:lnTo>
                      <a:pt x="9" y="36"/>
                    </a:lnTo>
                    <a:lnTo>
                      <a:pt x="9" y="34"/>
                    </a:lnTo>
                    <a:lnTo>
                      <a:pt x="10" y="34"/>
                    </a:lnTo>
                    <a:lnTo>
                      <a:pt x="14" y="32"/>
                    </a:lnTo>
                    <a:lnTo>
                      <a:pt x="14" y="31"/>
                    </a:lnTo>
                    <a:lnTo>
                      <a:pt x="12" y="31"/>
                    </a:lnTo>
                    <a:lnTo>
                      <a:pt x="7" y="31"/>
                    </a:lnTo>
                    <a:lnTo>
                      <a:pt x="5" y="29"/>
                    </a:lnTo>
                    <a:lnTo>
                      <a:pt x="7" y="29"/>
                    </a:lnTo>
                    <a:lnTo>
                      <a:pt x="9" y="29"/>
                    </a:lnTo>
                    <a:lnTo>
                      <a:pt x="9" y="27"/>
                    </a:lnTo>
                    <a:lnTo>
                      <a:pt x="9" y="26"/>
                    </a:lnTo>
                    <a:lnTo>
                      <a:pt x="10" y="22"/>
                    </a:lnTo>
                    <a:lnTo>
                      <a:pt x="12" y="21"/>
                    </a:lnTo>
                    <a:lnTo>
                      <a:pt x="15" y="22"/>
                    </a:lnTo>
                    <a:lnTo>
                      <a:pt x="19" y="22"/>
                    </a:lnTo>
                    <a:lnTo>
                      <a:pt x="19" y="24"/>
                    </a:lnTo>
                    <a:lnTo>
                      <a:pt x="22" y="22"/>
                    </a:lnTo>
                    <a:lnTo>
                      <a:pt x="24" y="22"/>
                    </a:lnTo>
                    <a:lnTo>
                      <a:pt x="29" y="22"/>
                    </a:lnTo>
                    <a:lnTo>
                      <a:pt x="29" y="21"/>
                    </a:lnTo>
                    <a:lnTo>
                      <a:pt x="30" y="19"/>
                    </a:lnTo>
                    <a:lnTo>
                      <a:pt x="32" y="17"/>
                    </a:lnTo>
                    <a:lnTo>
                      <a:pt x="34" y="17"/>
                    </a:lnTo>
                    <a:lnTo>
                      <a:pt x="36" y="16"/>
                    </a:lnTo>
                    <a:lnTo>
                      <a:pt x="36" y="14"/>
                    </a:lnTo>
                    <a:lnTo>
                      <a:pt x="32" y="14"/>
                    </a:lnTo>
                    <a:lnTo>
                      <a:pt x="30" y="16"/>
                    </a:lnTo>
                    <a:lnTo>
                      <a:pt x="29" y="14"/>
                    </a:lnTo>
                    <a:lnTo>
                      <a:pt x="27" y="14"/>
                    </a:lnTo>
                    <a:lnTo>
                      <a:pt x="25" y="14"/>
                    </a:lnTo>
                    <a:lnTo>
                      <a:pt x="27" y="12"/>
                    </a:lnTo>
                    <a:lnTo>
                      <a:pt x="29" y="12"/>
                    </a:lnTo>
                    <a:lnTo>
                      <a:pt x="30" y="11"/>
                    </a:lnTo>
                    <a:lnTo>
                      <a:pt x="32" y="9"/>
                    </a:lnTo>
                    <a:lnTo>
                      <a:pt x="30" y="9"/>
                    </a:lnTo>
                    <a:lnTo>
                      <a:pt x="32" y="5"/>
                    </a:lnTo>
                    <a:lnTo>
                      <a:pt x="34" y="5"/>
                    </a:lnTo>
                    <a:lnTo>
                      <a:pt x="36" y="4"/>
                    </a:lnTo>
                    <a:lnTo>
                      <a:pt x="39" y="2"/>
                    </a:lnTo>
                    <a:lnTo>
                      <a:pt x="41" y="2"/>
                    </a:lnTo>
                    <a:lnTo>
                      <a:pt x="42" y="2"/>
                    </a:lnTo>
                    <a:lnTo>
                      <a:pt x="44" y="0"/>
                    </a:lnTo>
                    <a:lnTo>
                      <a:pt x="44" y="2"/>
                    </a:lnTo>
                    <a:lnTo>
                      <a:pt x="44" y="5"/>
                    </a:lnTo>
                    <a:lnTo>
                      <a:pt x="44" y="7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53" name="Group 1652">
              <a:extLst>
                <a:ext uri="{FF2B5EF4-FFF2-40B4-BE49-F238E27FC236}">
                  <a16:creationId xmlns:a16="http://schemas.microsoft.com/office/drawing/2014/main" id="{80E84D1E-3DA8-5B4A-AF8C-A386E326D95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65" y="561"/>
              <a:ext cx="184" cy="196"/>
              <a:chOff x="265" y="561"/>
              <a:chExt cx="184" cy="196"/>
            </a:xfrm>
          </p:grpSpPr>
          <p:grpSp>
            <p:nvGrpSpPr>
              <p:cNvPr id="1884" name="Group 1883">
                <a:extLst>
                  <a:ext uri="{FF2B5EF4-FFF2-40B4-BE49-F238E27FC236}">
                    <a16:creationId xmlns:a16="http://schemas.microsoft.com/office/drawing/2014/main" id="{79E755F4-89FC-B647-88B4-E0B840821B6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65" y="561"/>
                <a:ext cx="184" cy="174"/>
                <a:chOff x="265" y="561"/>
                <a:chExt cx="184" cy="174"/>
              </a:xfrm>
            </p:grpSpPr>
            <p:sp>
              <p:nvSpPr>
                <p:cNvPr id="1891" name="Freeform 265">
                  <a:extLst>
                    <a:ext uri="{FF2B5EF4-FFF2-40B4-BE49-F238E27FC236}">
                      <a16:creationId xmlns:a16="http://schemas.microsoft.com/office/drawing/2014/main" id="{1E7C9793-5EC8-B642-BF68-2008E85904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" y="561"/>
                  <a:ext cx="184" cy="174"/>
                </a:xfrm>
                <a:custGeom>
                  <a:avLst/>
                  <a:gdLst>
                    <a:gd name="T0" fmla="*/ 104 w 184"/>
                    <a:gd name="T1" fmla="*/ 27 h 174"/>
                    <a:gd name="T2" fmla="*/ 91 w 184"/>
                    <a:gd name="T3" fmla="*/ 32 h 174"/>
                    <a:gd name="T4" fmla="*/ 88 w 184"/>
                    <a:gd name="T5" fmla="*/ 39 h 174"/>
                    <a:gd name="T6" fmla="*/ 88 w 184"/>
                    <a:gd name="T7" fmla="*/ 46 h 174"/>
                    <a:gd name="T8" fmla="*/ 91 w 184"/>
                    <a:gd name="T9" fmla="*/ 57 h 174"/>
                    <a:gd name="T10" fmla="*/ 99 w 184"/>
                    <a:gd name="T11" fmla="*/ 64 h 174"/>
                    <a:gd name="T12" fmla="*/ 106 w 184"/>
                    <a:gd name="T13" fmla="*/ 67 h 174"/>
                    <a:gd name="T14" fmla="*/ 111 w 184"/>
                    <a:gd name="T15" fmla="*/ 78 h 174"/>
                    <a:gd name="T16" fmla="*/ 118 w 184"/>
                    <a:gd name="T17" fmla="*/ 89 h 174"/>
                    <a:gd name="T18" fmla="*/ 125 w 184"/>
                    <a:gd name="T19" fmla="*/ 96 h 174"/>
                    <a:gd name="T20" fmla="*/ 133 w 184"/>
                    <a:gd name="T21" fmla="*/ 99 h 174"/>
                    <a:gd name="T22" fmla="*/ 141 w 184"/>
                    <a:gd name="T23" fmla="*/ 99 h 174"/>
                    <a:gd name="T24" fmla="*/ 148 w 184"/>
                    <a:gd name="T25" fmla="*/ 101 h 174"/>
                    <a:gd name="T26" fmla="*/ 145 w 184"/>
                    <a:gd name="T27" fmla="*/ 108 h 174"/>
                    <a:gd name="T28" fmla="*/ 157 w 184"/>
                    <a:gd name="T29" fmla="*/ 113 h 174"/>
                    <a:gd name="T30" fmla="*/ 174 w 184"/>
                    <a:gd name="T31" fmla="*/ 121 h 174"/>
                    <a:gd name="T32" fmla="*/ 184 w 184"/>
                    <a:gd name="T33" fmla="*/ 132 h 174"/>
                    <a:gd name="T34" fmla="*/ 179 w 184"/>
                    <a:gd name="T35" fmla="*/ 137 h 174"/>
                    <a:gd name="T36" fmla="*/ 165 w 184"/>
                    <a:gd name="T37" fmla="*/ 126 h 174"/>
                    <a:gd name="T38" fmla="*/ 155 w 184"/>
                    <a:gd name="T39" fmla="*/ 135 h 174"/>
                    <a:gd name="T40" fmla="*/ 158 w 184"/>
                    <a:gd name="T41" fmla="*/ 143 h 174"/>
                    <a:gd name="T42" fmla="*/ 163 w 184"/>
                    <a:gd name="T43" fmla="*/ 152 h 174"/>
                    <a:gd name="T44" fmla="*/ 155 w 184"/>
                    <a:gd name="T45" fmla="*/ 157 h 174"/>
                    <a:gd name="T46" fmla="*/ 152 w 184"/>
                    <a:gd name="T47" fmla="*/ 165 h 174"/>
                    <a:gd name="T48" fmla="*/ 147 w 184"/>
                    <a:gd name="T49" fmla="*/ 172 h 174"/>
                    <a:gd name="T50" fmla="*/ 141 w 184"/>
                    <a:gd name="T51" fmla="*/ 174 h 174"/>
                    <a:gd name="T52" fmla="*/ 143 w 184"/>
                    <a:gd name="T53" fmla="*/ 160 h 174"/>
                    <a:gd name="T54" fmla="*/ 147 w 184"/>
                    <a:gd name="T55" fmla="*/ 152 h 174"/>
                    <a:gd name="T56" fmla="*/ 141 w 184"/>
                    <a:gd name="T57" fmla="*/ 138 h 174"/>
                    <a:gd name="T58" fmla="*/ 136 w 184"/>
                    <a:gd name="T59" fmla="*/ 135 h 174"/>
                    <a:gd name="T60" fmla="*/ 130 w 184"/>
                    <a:gd name="T61" fmla="*/ 128 h 174"/>
                    <a:gd name="T62" fmla="*/ 121 w 184"/>
                    <a:gd name="T63" fmla="*/ 123 h 174"/>
                    <a:gd name="T64" fmla="*/ 113 w 184"/>
                    <a:gd name="T65" fmla="*/ 115 h 174"/>
                    <a:gd name="T66" fmla="*/ 99 w 184"/>
                    <a:gd name="T67" fmla="*/ 111 h 174"/>
                    <a:gd name="T68" fmla="*/ 84 w 184"/>
                    <a:gd name="T69" fmla="*/ 98 h 174"/>
                    <a:gd name="T70" fmla="*/ 72 w 184"/>
                    <a:gd name="T71" fmla="*/ 89 h 174"/>
                    <a:gd name="T72" fmla="*/ 64 w 184"/>
                    <a:gd name="T73" fmla="*/ 83 h 174"/>
                    <a:gd name="T74" fmla="*/ 55 w 184"/>
                    <a:gd name="T75" fmla="*/ 66 h 174"/>
                    <a:gd name="T76" fmla="*/ 42 w 184"/>
                    <a:gd name="T77" fmla="*/ 54 h 174"/>
                    <a:gd name="T78" fmla="*/ 29 w 184"/>
                    <a:gd name="T79" fmla="*/ 54 h 174"/>
                    <a:gd name="T80" fmla="*/ 23 w 184"/>
                    <a:gd name="T81" fmla="*/ 62 h 174"/>
                    <a:gd name="T82" fmla="*/ 13 w 184"/>
                    <a:gd name="T83" fmla="*/ 62 h 174"/>
                    <a:gd name="T84" fmla="*/ 8 w 184"/>
                    <a:gd name="T85" fmla="*/ 57 h 174"/>
                    <a:gd name="T86" fmla="*/ 3 w 184"/>
                    <a:gd name="T87" fmla="*/ 46 h 174"/>
                    <a:gd name="T88" fmla="*/ 2 w 184"/>
                    <a:gd name="T89" fmla="*/ 39 h 174"/>
                    <a:gd name="T90" fmla="*/ 3 w 184"/>
                    <a:gd name="T91" fmla="*/ 32 h 174"/>
                    <a:gd name="T92" fmla="*/ 3 w 184"/>
                    <a:gd name="T93" fmla="*/ 24 h 174"/>
                    <a:gd name="T94" fmla="*/ 13 w 184"/>
                    <a:gd name="T95" fmla="*/ 24 h 174"/>
                    <a:gd name="T96" fmla="*/ 22 w 184"/>
                    <a:gd name="T97" fmla="*/ 17 h 174"/>
                    <a:gd name="T98" fmla="*/ 32 w 184"/>
                    <a:gd name="T99" fmla="*/ 20 h 174"/>
                    <a:gd name="T100" fmla="*/ 39 w 184"/>
                    <a:gd name="T101" fmla="*/ 17 h 174"/>
                    <a:gd name="T102" fmla="*/ 47 w 184"/>
                    <a:gd name="T103" fmla="*/ 15 h 174"/>
                    <a:gd name="T104" fmla="*/ 54 w 184"/>
                    <a:gd name="T105" fmla="*/ 10 h 174"/>
                    <a:gd name="T106" fmla="*/ 61 w 184"/>
                    <a:gd name="T107" fmla="*/ 5 h 174"/>
                    <a:gd name="T108" fmla="*/ 71 w 184"/>
                    <a:gd name="T109" fmla="*/ 3 h 174"/>
                    <a:gd name="T110" fmla="*/ 82 w 184"/>
                    <a:gd name="T111" fmla="*/ 0 h 174"/>
                    <a:gd name="T112" fmla="*/ 88 w 184"/>
                    <a:gd name="T113" fmla="*/ 7 h 174"/>
                    <a:gd name="T114" fmla="*/ 99 w 184"/>
                    <a:gd name="T115" fmla="*/ 10 h 174"/>
                    <a:gd name="T116" fmla="*/ 108 w 184"/>
                    <a:gd name="T117" fmla="*/ 12 h 174"/>
                    <a:gd name="T118" fmla="*/ 108 w 184"/>
                    <a:gd name="T119" fmla="*/ 17 h 174"/>
                    <a:gd name="T120" fmla="*/ 108 w 184"/>
                    <a:gd name="T121" fmla="*/ 25 h 174"/>
                    <a:gd name="T122" fmla="*/ 113 w 184"/>
                    <a:gd name="T123" fmla="*/ 29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84" h="174">
                      <a:moveTo>
                        <a:pt x="109" y="30"/>
                      </a:moveTo>
                      <a:lnTo>
                        <a:pt x="109" y="29"/>
                      </a:lnTo>
                      <a:lnTo>
                        <a:pt x="109" y="27"/>
                      </a:lnTo>
                      <a:lnTo>
                        <a:pt x="108" y="27"/>
                      </a:lnTo>
                      <a:lnTo>
                        <a:pt x="104" y="27"/>
                      </a:lnTo>
                      <a:lnTo>
                        <a:pt x="103" y="27"/>
                      </a:lnTo>
                      <a:lnTo>
                        <a:pt x="101" y="29"/>
                      </a:lnTo>
                      <a:lnTo>
                        <a:pt x="96" y="30"/>
                      </a:lnTo>
                      <a:lnTo>
                        <a:pt x="93" y="32"/>
                      </a:lnTo>
                      <a:lnTo>
                        <a:pt x="91" y="32"/>
                      </a:lnTo>
                      <a:lnTo>
                        <a:pt x="89" y="32"/>
                      </a:lnTo>
                      <a:lnTo>
                        <a:pt x="88" y="34"/>
                      </a:lnTo>
                      <a:lnTo>
                        <a:pt x="86" y="35"/>
                      </a:lnTo>
                      <a:lnTo>
                        <a:pt x="88" y="37"/>
                      </a:lnTo>
                      <a:lnTo>
                        <a:pt x="88" y="39"/>
                      </a:lnTo>
                      <a:lnTo>
                        <a:pt x="89" y="39"/>
                      </a:lnTo>
                      <a:lnTo>
                        <a:pt x="91" y="40"/>
                      </a:lnTo>
                      <a:lnTo>
                        <a:pt x="89" y="42"/>
                      </a:lnTo>
                      <a:lnTo>
                        <a:pt x="88" y="44"/>
                      </a:lnTo>
                      <a:lnTo>
                        <a:pt x="88" y="46"/>
                      </a:lnTo>
                      <a:lnTo>
                        <a:pt x="88" y="49"/>
                      </a:lnTo>
                      <a:lnTo>
                        <a:pt x="88" y="51"/>
                      </a:lnTo>
                      <a:lnTo>
                        <a:pt x="88" y="52"/>
                      </a:lnTo>
                      <a:lnTo>
                        <a:pt x="89" y="56"/>
                      </a:lnTo>
                      <a:lnTo>
                        <a:pt x="91" y="57"/>
                      </a:lnTo>
                      <a:lnTo>
                        <a:pt x="93" y="59"/>
                      </a:lnTo>
                      <a:lnTo>
                        <a:pt x="93" y="61"/>
                      </a:lnTo>
                      <a:lnTo>
                        <a:pt x="96" y="61"/>
                      </a:lnTo>
                      <a:lnTo>
                        <a:pt x="98" y="62"/>
                      </a:lnTo>
                      <a:lnTo>
                        <a:pt x="99" y="64"/>
                      </a:lnTo>
                      <a:lnTo>
                        <a:pt x="101" y="64"/>
                      </a:lnTo>
                      <a:lnTo>
                        <a:pt x="103" y="66"/>
                      </a:lnTo>
                      <a:lnTo>
                        <a:pt x="104" y="66"/>
                      </a:lnTo>
                      <a:lnTo>
                        <a:pt x="104" y="67"/>
                      </a:lnTo>
                      <a:lnTo>
                        <a:pt x="106" y="67"/>
                      </a:lnTo>
                      <a:lnTo>
                        <a:pt x="108" y="67"/>
                      </a:lnTo>
                      <a:lnTo>
                        <a:pt x="108" y="69"/>
                      </a:lnTo>
                      <a:lnTo>
                        <a:pt x="109" y="71"/>
                      </a:lnTo>
                      <a:lnTo>
                        <a:pt x="109" y="74"/>
                      </a:lnTo>
                      <a:lnTo>
                        <a:pt x="111" y="78"/>
                      </a:lnTo>
                      <a:lnTo>
                        <a:pt x="113" y="79"/>
                      </a:lnTo>
                      <a:lnTo>
                        <a:pt x="113" y="81"/>
                      </a:lnTo>
                      <a:lnTo>
                        <a:pt x="114" y="83"/>
                      </a:lnTo>
                      <a:lnTo>
                        <a:pt x="116" y="86"/>
                      </a:lnTo>
                      <a:lnTo>
                        <a:pt x="118" y="89"/>
                      </a:lnTo>
                      <a:lnTo>
                        <a:pt x="120" y="91"/>
                      </a:lnTo>
                      <a:lnTo>
                        <a:pt x="123" y="93"/>
                      </a:lnTo>
                      <a:lnTo>
                        <a:pt x="123" y="94"/>
                      </a:lnTo>
                      <a:lnTo>
                        <a:pt x="125" y="94"/>
                      </a:lnTo>
                      <a:lnTo>
                        <a:pt x="125" y="96"/>
                      </a:lnTo>
                      <a:lnTo>
                        <a:pt x="126" y="96"/>
                      </a:lnTo>
                      <a:lnTo>
                        <a:pt x="128" y="98"/>
                      </a:lnTo>
                      <a:lnTo>
                        <a:pt x="130" y="98"/>
                      </a:lnTo>
                      <a:lnTo>
                        <a:pt x="133" y="101"/>
                      </a:lnTo>
                      <a:lnTo>
                        <a:pt x="133" y="99"/>
                      </a:lnTo>
                      <a:lnTo>
                        <a:pt x="136" y="99"/>
                      </a:lnTo>
                      <a:lnTo>
                        <a:pt x="140" y="99"/>
                      </a:lnTo>
                      <a:lnTo>
                        <a:pt x="141" y="99"/>
                      </a:lnTo>
                      <a:lnTo>
                        <a:pt x="145" y="99"/>
                      </a:lnTo>
                      <a:lnTo>
                        <a:pt x="141" y="99"/>
                      </a:lnTo>
                      <a:lnTo>
                        <a:pt x="143" y="99"/>
                      </a:lnTo>
                      <a:lnTo>
                        <a:pt x="145" y="98"/>
                      </a:lnTo>
                      <a:lnTo>
                        <a:pt x="147" y="98"/>
                      </a:lnTo>
                      <a:lnTo>
                        <a:pt x="147" y="99"/>
                      </a:lnTo>
                      <a:lnTo>
                        <a:pt x="148" y="101"/>
                      </a:lnTo>
                      <a:lnTo>
                        <a:pt x="148" y="103"/>
                      </a:lnTo>
                      <a:lnTo>
                        <a:pt x="145" y="105"/>
                      </a:lnTo>
                      <a:lnTo>
                        <a:pt x="143" y="106"/>
                      </a:lnTo>
                      <a:lnTo>
                        <a:pt x="143" y="108"/>
                      </a:lnTo>
                      <a:lnTo>
                        <a:pt x="145" y="108"/>
                      </a:lnTo>
                      <a:lnTo>
                        <a:pt x="147" y="108"/>
                      </a:lnTo>
                      <a:lnTo>
                        <a:pt x="148" y="110"/>
                      </a:lnTo>
                      <a:lnTo>
                        <a:pt x="150" y="110"/>
                      </a:lnTo>
                      <a:lnTo>
                        <a:pt x="153" y="111"/>
                      </a:lnTo>
                      <a:lnTo>
                        <a:pt x="157" y="113"/>
                      </a:lnTo>
                      <a:lnTo>
                        <a:pt x="160" y="115"/>
                      </a:lnTo>
                      <a:lnTo>
                        <a:pt x="163" y="116"/>
                      </a:lnTo>
                      <a:lnTo>
                        <a:pt x="165" y="118"/>
                      </a:lnTo>
                      <a:lnTo>
                        <a:pt x="168" y="120"/>
                      </a:lnTo>
                      <a:lnTo>
                        <a:pt x="174" y="121"/>
                      </a:lnTo>
                      <a:lnTo>
                        <a:pt x="175" y="121"/>
                      </a:lnTo>
                      <a:lnTo>
                        <a:pt x="177" y="123"/>
                      </a:lnTo>
                      <a:lnTo>
                        <a:pt x="179" y="126"/>
                      </a:lnTo>
                      <a:lnTo>
                        <a:pt x="182" y="128"/>
                      </a:lnTo>
                      <a:lnTo>
                        <a:pt x="184" y="132"/>
                      </a:lnTo>
                      <a:lnTo>
                        <a:pt x="184" y="133"/>
                      </a:lnTo>
                      <a:lnTo>
                        <a:pt x="184" y="135"/>
                      </a:lnTo>
                      <a:lnTo>
                        <a:pt x="182" y="137"/>
                      </a:lnTo>
                      <a:lnTo>
                        <a:pt x="182" y="138"/>
                      </a:lnTo>
                      <a:lnTo>
                        <a:pt x="179" y="137"/>
                      </a:lnTo>
                      <a:lnTo>
                        <a:pt x="177" y="133"/>
                      </a:lnTo>
                      <a:lnTo>
                        <a:pt x="175" y="132"/>
                      </a:lnTo>
                      <a:lnTo>
                        <a:pt x="174" y="130"/>
                      </a:lnTo>
                      <a:lnTo>
                        <a:pt x="168" y="128"/>
                      </a:lnTo>
                      <a:lnTo>
                        <a:pt x="165" y="126"/>
                      </a:lnTo>
                      <a:lnTo>
                        <a:pt x="163" y="125"/>
                      </a:lnTo>
                      <a:lnTo>
                        <a:pt x="162" y="126"/>
                      </a:lnTo>
                      <a:lnTo>
                        <a:pt x="158" y="130"/>
                      </a:lnTo>
                      <a:lnTo>
                        <a:pt x="155" y="132"/>
                      </a:lnTo>
                      <a:lnTo>
                        <a:pt x="155" y="135"/>
                      </a:lnTo>
                      <a:lnTo>
                        <a:pt x="153" y="137"/>
                      </a:lnTo>
                      <a:lnTo>
                        <a:pt x="153" y="140"/>
                      </a:lnTo>
                      <a:lnTo>
                        <a:pt x="155" y="140"/>
                      </a:lnTo>
                      <a:lnTo>
                        <a:pt x="157" y="142"/>
                      </a:lnTo>
                      <a:lnTo>
                        <a:pt x="158" y="143"/>
                      </a:lnTo>
                      <a:lnTo>
                        <a:pt x="162" y="143"/>
                      </a:lnTo>
                      <a:lnTo>
                        <a:pt x="162" y="145"/>
                      </a:lnTo>
                      <a:lnTo>
                        <a:pt x="162" y="148"/>
                      </a:lnTo>
                      <a:lnTo>
                        <a:pt x="163" y="150"/>
                      </a:lnTo>
                      <a:lnTo>
                        <a:pt x="163" y="152"/>
                      </a:lnTo>
                      <a:lnTo>
                        <a:pt x="163" y="153"/>
                      </a:lnTo>
                      <a:lnTo>
                        <a:pt x="162" y="153"/>
                      </a:lnTo>
                      <a:lnTo>
                        <a:pt x="160" y="153"/>
                      </a:lnTo>
                      <a:lnTo>
                        <a:pt x="158" y="155"/>
                      </a:lnTo>
                      <a:lnTo>
                        <a:pt x="155" y="157"/>
                      </a:lnTo>
                      <a:lnTo>
                        <a:pt x="155" y="158"/>
                      </a:lnTo>
                      <a:lnTo>
                        <a:pt x="155" y="160"/>
                      </a:lnTo>
                      <a:lnTo>
                        <a:pt x="155" y="164"/>
                      </a:lnTo>
                      <a:lnTo>
                        <a:pt x="153" y="165"/>
                      </a:lnTo>
                      <a:lnTo>
                        <a:pt x="152" y="165"/>
                      </a:lnTo>
                      <a:lnTo>
                        <a:pt x="150" y="167"/>
                      </a:lnTo>
                      <a:lnTo>
                        <a:pt x="150" y="169"/>
                      </a:lnTo>
                      <a:lnTo>
                        <a:pt x="148" y="169"/>
                      </a:lnTo>
                      <a:lnTo>
                        <a:pt x="148" y="170"/>
                      </a:lnTo>
                      <a:lnTo>
                        <a:pt x="147" y="172"/>
                      </a:lnTo>
                      <a:lnTo>
                        <a:pt x="147" y="174"/>
                      </a:lnTo>
                      <a:lnTo>
                        <a:pt x="143" y="174"/>
                      </a:lnTo>
                      <a:lnTo>
                        <a:pt x="141" y="174"/>
                      </a:lnTo>
                      <a:lnTo>
                        <a:pt x="141" y="172"/>
                      </a:lnTo>
                      <a:lnTo>
                        <a:pt x="141" y="174"/>
                      </a:lnTo>
                      <a:lnTo>
                        <a:pt x="141" y="170"/>
                      </a:lnTo>
                      <a:lnTo>
                        <a:pt x="141" y="169"/>
                      </a:lnTo>
                      <a:lnTo>
                        <a:pt x="141" y="165"/>
                      </a:lnTo>
                      <a:lnTo>
                        <a:pt x="143" y="162"/>
                      </a:lnTo>
                      <a:lnTo>
                        <a:pt x="143" y="160"/>
                      </a:lnTo>
                      <a:lnTo>
                        <a:pt x="145" y="158"/>
                      </a:lnTo>
                      <a:lnTo>
                        <a:pt x="150" y="157"/>
                      </a:lnTo>
                      <a:lnTo>
                        <a:pt x="148" y="155"/>
                      </a:lnTo>
                      <a:lnTo>
                        <a:pt x="148" y="153"/>
                      </a:lnTo>
                      <a:lnTo>
                        <a:pt x="147" y="152"/>
                      </a:lnTo>
                      <a:lnTo>
                        <a:pt x="147" y="148"/>
                      </a:lnTo>
                      <a:lnTo>
                        <a:pt x="147" y="147"/>
                      </a:lnTo>
                      <a:lnTo>
                        <a:pt x="145" y="143"/>
                      </a:lnTo>
                      <a:lnTo>
                        <a:pt x="143" y="142"/>
                      </a:lnTo>
                      <a:lnTo>
                        <a:pt x="141" y="138"/>
                      </a:lnTo>
                      <a:lnTo>
                        <a:pt x="141" y="137"/>
                      </a:lnTo>
                      <a:lnTo>
                        <a:pt x="141" y="135"/>
                      </a:lnTo>
                      <a:lnTo>
                        <a:pt x="140" y="133"/>
                      </a:lnTo>
                      <a:lnTo>
                        <a:pt x="138" y="133"/>
                      </a:lnTo>
                      <a:lnTo>
                        <a:pt x="136" y="135"/>
                      </a:lnTo>
                      <a:lnTo>
                        <a:pt x="135" y="133"/>
                      </a:lnTo>
                      <a:lnTo>
                        <a:pt x="133" y="133"/>
                      </a:lnTo>
                      <a:lnTo>
                        <a:pt x="130" y="132"/>
                      </a:lnTo>
                      <a:lnTo>
                        <a:pt x="130" y="130"/>
                      </a:lnTo>
                      <a:lnTo>
                        <a:pt x="130" y="128"/>
                      </a:lnTo>
                      <a:lnTo>
                        <a:pt x="128" y="125"/>
                      </a:lnTo>
                      <a:lnTo>
                        <a:pt x="128" y="123"/>
                      </a:lnTo>
                      <a:lnTo>
                        <a:pt x="126" y="123"/>
                      </a:lnTo>
                      <a:lnTo>
                        <a:pt x="123" y="123"/>
                      </a:lnTo>
                      <a:lnTo>
                        <a:pt x="121" y="123"/>
                      </a:lnTo>
                      <a:lnTo>
                        <a:pt x="121" y="121"/>
                      </a:lnTo>
                      <a:lnTo>
                        <a:pt x="118" y="120"/>
                      </a:lnTo>
                      <a:lnTo>
                        <a:pt x="116" y="120"/>
                      </a:lnTo>
                      <a:lnTo>
                        <a:pt x="114" y="116"/>
                      </a:lnTo>
                      <a:lnTo>
                        <a:pt x="113" y="115"/>
                      </a:lnTo>
                      <a:lnTo>
                        <a:pt x="111" y="111"/>
                      </a:lnTo>
                      <a:lnTo>
                        <a:pt x="109" y="111"/>
                      </a:lnTo>
                      <a:lnTo>
                        <a:pt x="106" y="111"/>
                      </a:lnTo>
                      <a:lnTo>
                        <a:pt x="101" y="111"/>
                      </a:lnTo>
                      <a:lnTo>
                        <a:pt x="99" y="111"/>
                      </a:lnTo>
                      <a:lnTo>
                        <a:pt x="96" y="110"/>
                      </a:lnTo>
                      <a:lnTo>
                        <a:pt x="93" y="106"/>
                      </a:lnTo>
                      <a:lnTo>
                        <a:pt x="89" y="103"/>
                      </a:lnTo>
                      <a:lnTo>
                        <a:pt x="86" y="99"/>
                      </a:lnTo>
                      <a:lnTo>
                        <a:pt x="84" y="98"/>
                      </a:lnTo>
                      <a:lnTo>
                        <a:pt x="81" y="96"/>
                      </a:lnTo>
                      <a:lnTo>
                        <a:pt x="79" y="94"/>
                      </a:lnTo>
                      <a:lnTo>
                        <a:pt x="77" y="91"/>
                      </a:lnTo>
                      <a:lnTo>
                        <a:pt x="74" y="89"/>
                      </a:lnTo>
                      <a:lnTo>
                        <a:pt x="72" y="89"/>
                      </a:lnTo>
                      <a:lnTo>
                        <a:pt x="71" y="91"/>
                      </a:lnTo>
                      <a:lnTo>
                        <a:pt x="69" y="89"/>
                      </a:lnTo>
                      <a:lnTo>
                        <a:pt x="69" y="86"/>
                      </a:lnTo>
                      <a:lnTo>
                        <a:pt x="66" y="84"/>
                      </a:lnTo>
                      <a:lnTo>
                        <a:pt x="64" y="83"/>
                      </a:lnTo>
                      <a:lnTo>
                        <a:pt x="61" y="79"/>
                      </a:lnTo>
                      <a:lnTo>
                        <a:pt x="61" y="76"/>
                      </a:lnTo>
                      <a:lnTo>
                        <a:pt x="61" y="74"/>
                      </a:lnTo>
                      <a:lnTo>
                        <a:pt x="57" y="69"/>
                      </a:lnTo>
                      <a:lnTo>
                        <a:pt x="55" y="66"/>
                      </a:lnTo>
                      <a:lnTo>
                        <a:pt x="55" y="62"/>
                      </a:lnTo>
                      <a:lnTo>
                        <a:pt x="55" y="61"/>
                      </a:lnTo>
                      <a:lnTo>
                        <a:pt x="50" y="59"/>
                      </a:lnTo>
                      <a:lnTo>
                        <a:pt x="47" y="57"/>
                      </a:lnTo>
                      <a:lnTo>
                        <a:pt x="42" y="54"/>
                      </a:lnTo>
                      <a:lnTo>
                        <a:pt x="39" y="52"/>
                      </a:lnTo>
                      <a:lnTo>
                        <a:pt x="35" y="52"/>
                      </a:lnTo>
                      <a:lnTo>
                        <a:pt x="34" y="52"/>
                      </a:lnTo>
                      <a:lnTo>
                        <a:pt x="30" y="54"/>
                      </a:lnTo>
                      <a:lnTo>
                        <a:pt x="29" y="54"/>
                      </a:lnTo>
                      <a:lnTo>
                        <a:pt x="27" y="56"/>
                      </a:lnTo>
                      <a:lnTo>
                        <a:pt x="27" y="57"/>
                      </a:lnTo>
                      <a:lnTo>
                        <a:pt x="25" y="59"/>
                      </a:lnTo>
                      <a:lnTo>
                        <a:pt x="23" y="61"/>
                      </a:lnTo>
                      <a:lnTo>
                        <a:pt x="23" y="62"/>
                      </a:lnTo>
                      <a:lnTo>
                        <a:pt x="22" y="62"/>
                      </a:lnTo>
                      <a:lnTo>
                        <a:pt x="18" y="64"/>
                      </a:lnTo>
                      <a:lnTo>
                        <a:pt x="17" y="64"/>
                      </a:lnTo>
                      <a:lnTo>
                        <a:pt x="13" y="64"/>
                      </a:lnTo>
                      <a:lnTo>
                        <a:pt x="13" y="62"/>
                      </a:lnTo>
                      <a:lnTo>
                        <a:pt x="13" y="61"/>
                      </a:lnTo>
                      <a:lnTo>
                        <a:pt x="13" y="59"/>
                      </a:lnTo>
                      <a:lnTo>
                        <a:pt x="13" y="57"/>
                      </a:lnTo>
                      <a:lnTo>
                        <a:pt x="12" y="57"/>
                      </a:lnTo>
                      <a:lnTo>
                        <a:pt x="8" y="57"/>
                      </a:lnTo>
                      <a:lnTo>
                        <a:pt x="7" y="56"/>
                      </a:lnTo>
                      <a:lnTo>
                        <a:pt x="5" y="54"/>
                      </a:lnTo>
                      <a:lnTo>
                        <a:pt x="3" y="51"/>
                      </a:lnTo>
                      <a:lnTo>
                        <a:pt x="3" y="49"/>
                      </a:lnTo>
                      <a:lnTo>
                        <a:pt x="3" y="46"/>
                      </a:lnTo>
                      <a:lnTo>
                        <a:pt x="3" y="44"/>
                      </a:lnTo>
                      <a:lnTo>
                        <a:pt x="2" y="44"/>
                      </a:lnTo>
                      <a:lnTo>
                        <a:pt x="2" y="42"/>
                      </a:lnTo>
                      <a:lnTo>
                        <a:pt x="0" y="40"/>
                      </a:lnTo>
                      <a:lnTo>
                        <a:pt x="2" y="39"/>
                      </a:lnTo>
                      <a:lnTo>
                        <a:pt x="3" y="37"/>
                      </a:lnTo>
                      <a:lnTo>
                        <a:pt x="5" y="37"/>
                      </a:lnTo>
                      <a:lnTo>
                        <a:pt x="7" y="35"/>
                      </a:lnTo>
                      <a:lnTo>
                        <a:pt x="5" y="34"/>
                      </a:lnTo>
                      <a:lnTo>
                        <a:pt x="3" y="32"/>
                      </a:lnTo>
                      <a:lnTo>
                        <a:pt x="3" y="29"/>
                      </a:lnTo>
                      <a:lnTo>
                        <a:pt x="2" y="27"/>
                      </a:lnTo>
                      <a:lnTo>
                        <a:pt x="2" y="25"/>
                      </a:lnTo>
                      <a:lnTo>
                        <a:pt x="2" y="24"/>
                      </a:lnTo>
                      <a:lnTo>
                        <a:pt x="3" y="24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10" y="24"/>
                      </a:lnTo>
                      <a:lnTo>
                        <a:pt x="12" y="24"/>
                      </a:lnTo>
                      <a:lnTo>
                        <a:pt x="13" y="24"/>
                      </a:lnTo>
                      <a:lnTo>
                        <a:pt x="15" y="22"/>
                      </a:lnTo>
                      <a:lnTo>
                        <a:pt x="18" y="22"/>
                      </a:lnTo>
                      <a:lnTo>
                        <a:pt x="20" y="20"/>
                      </a:lnTo>
                      <a:lnTo>
                        <a:pt x="22" y="19"/>
                      </a:lnTo>
                      <a:lnTo>
                        <a:pt x="22" y="17"/>
                      </a:lnTo>
                      <a:lnTo>
                        <a:pt x="23" y="15"/>
                      </a:lnTo>
                      <a:lnTo>
                        <a:pt x="27" y="13"/>
                      </a:lnTo>
                      <a:lnTo>
                        <a:pt x="27" y="15"/>
                      </a:lnTo>
                      <a:lnTo>
                        <a:pt x="29" y="19"/>
                      </a:lnTo>
                      <a:lnTo>
                        <a:pt x="32" y="20"/>
                      </a:lnTo>
                      <a:lnTo>
                        <a:pt x="34" y="22"/>
                      </a:lnTo>
                      <a:lnTo>
                        <a:pt x="35" y="24"/>
                      </a:lnTo>
                      <a:lnTo>
                        <a:pt x="35" y="22"/>
                      </a:lnTo>
                      <a:lnTo>
                        <a:pt x="37" y="20"/>
                      </a:lnTo>
                      <a:lnTo>
                        <a:pt x="39" y="17"/>
                      </a:lnTo>
                      <a:lnTo>
                        <a:pt x="40" y="15"/>
                      </a:lnTo>
                      <a:lnTo>
                        <a:pt x="40" y="12"/>
                      </a:lnTo>
                      <a:lnTo>
                        <a:pt x="42" y="13"/>
                      </a:lnTo>
                      <a:lnTo>
                        <a:pt x="44" y="15"/>
                      </a:lnTo>
                      <a:lnTo>
                        <a:pt x="47" y="15"/>
                      </a:lnTo>
                      <a:lnTo>
                        <a:pt x="50" y="15"/>
                      </a:lnTo>
                      <a:lnTo>
                        <a:pt x="54" y="15"/>
                      </a:lnTo>
                      <a:lnTo>
                        <a:pt x="52" y="13"/>
                      </a:lnTo>
                      <a:lnTo>
                        <a:pt x="52" y="12"/>
                      </a:lnTo>
                      <a:lnTo>
                        <a:pt x="54" y="10"/>
                      </a:lnTo>
                      <a:lnTo>
                        <a:pt x="55" y="10"/>
                      </a:lnTo>
                      <a:lnTo>
                        <a:pt x="57" y="8"/>
                      </a:lnTo>
                      <a:lnTo>
                        <a:pt x="57" y="7"/>
                      </a:lnTo>
                      <a:lnTo>
                        <a:pt x="59" y="5"/>
                      </a:lnTo>
                      <a:lnTo>
                        <a:pt x="61" y="5"/>
                      </a:lnTo>
                      <a:lnTo>
                        <a:pt x="62" y="5"/>
                      </a:lnTo>
                      <a:lnTo>
                        <a:pt x="66" y="5"/>
                      </a:lnTo>
                      <a:lnTo>
                        <a:pt x="67" y="5"/>
                      </a:lnTo>
                      <a:lnTo>
                        <a:pt x="69" y="3"/>
                      </a:lnTo>
                      <a:lnTo>
                        <a:pt x="71" y="3"/>
                      </a:lnTo>
                      <a:lnTo>
                        <a:pt x="72" y="2"/>
                      </a:lnTo>
                      <a:lnTo>
                        <a:pt x="76" y="2"/>
                      </a:lnTo>
                      <a:lnTo>
                        <a:pt x="79" y="2"/>
                      </a:lnTo>
                      <a:lnTo>
                        <a:pt x="81" y="2"/>
                      </a:lnTo>
                      <a:lnTo>
                        <a:pt x="82" y="0"/>
                      </a:lnTo>
                      <a:lnTo>
                        <a:pt x="84" y="0"/>
                      </a:lnTo>
                      <a:lnTo>
                        <a:pt x="84" y="2"/>
                      </a:lnTo>
                      <a:lnTo>
                        <a:pt x="86" y="3"/>
                      </a:lnTo>
                      <a:lnTo>
                        <a:pt x="86" y="7"/>
                      </a:lnTo>
                      <a:lnTo>
                        <a:pt x="88" y="7"/>
                      </a:lnTo>
                      <a:lnTo>
                        <a:pt x="89" y="8"/>
                      </a:lnTo>
                      <a:lnTo>
                        <a:pt x="91" y="8"/>
                      </a:lnTo>
                      <a:lnTo>
                        <a:pt x="94" y="10"/>
                      </a:lnTo>
                      <a:lnTo>
                        <a:pt x="96" y="10"/>
                      </a:lnTo>
                      <a:lnTo>
                        <a:pt x="99" y="10"/>
                      </a:lnTo>
                      <a:lnTo>
                        <a:pt x="103" y="10"/>
                      </a:lnTo>
                      <a:lnTo>
                        <a:pt x="104" y="12"/>
                      </a:lnTo>
                      <a:lnTo>
                        <a:pt x="106" y="12"/>
                      </a:lnTo>
                      <a:lnTo>
                        <a:pt x="109" y="12"/>
                      </a:lnTo>
                      <a:lnTo>
                        <a:pt x="108" y="12"/>
                      </a:lnTo>
                      <a:lnTo>
                        <a:pt x="108" y="13"/>
                      </a:lnTo>
                      <a:lnTo>
                        <a:pt x="106" y="13"/>
                      </a:lnTo>
                      <a:lnTo>
                        <a:pt x="104" y="17"/>
                      </a:lnTo>
                      <a:lnTo>
                        <a:pt x="106" y="17"/>
                      </a:lnTo>
                      <a:lnTo>
                        <a:pt x="108" y="17"/>
                      </a:lnTo>
                      <a:lnTo>
                        <a:pt x="106" y="19"/>
                      </a:lnTo>
                      <a:lnTo>
                        <a:pt x="106" y="22"/>
                      </a:lnTo>
                      <a:lnTo>
                        <a:pt x="108" y="22"/>
                      </a:lnTo>
                      <a:lnTo>
                        <a:pt x="108" y="24"/>
                      </a:lnTo>
                      <a:lnTo>
                        <a:pt x="108" y="25"/>
                      </a:lnTo>
                      <a:lnTo>
                        <a:pt x="109" y="25"/>
                      </a:lnTo>
                      <a:lnTo>
                        <a:pt x="111" y="25"/>
                      </a:lnTo>
                      <a:lnTo>
                        <a:pt x="111" y="27"/>
                      </a:lnTo>
                      <a:lnTo>
                        <a:pt x="113" y="27"/>
                      </a:lnTo>
                      <a:lnTo>
                        <a:pt x="113" y="29"/>
                      </a:lnTo>
                      <a:lnTo>
                        <a:pt x="113" y="30"/>
                      </a:lnTo>
                      <a:lnTo>
                        <a:pt x="111" y="30"/>
                      </a:lnTo>
                      <a:lnTo>
                        <a:pt x="109" y="3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92" name="Freeform 266">
                  <a:extLst>
                    <a:ext uri="{FF2B5EF4-FFF2-40B4-BE49-F238E27FC236}">
                      <a16:creationId xmlns:a16="http://schemas.microsoft.com/office/drawing/2014/main" id="{4B30093A-CDE6-6F4F-A7B6-AAD67221BB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" y="561"/>
                  <a:ext cx="184" cy="174"/>
                </a:xfrm>
                <a:custGeom>
                  <a:avLst/>
                  <a:gdLst>
                    <a:gd name="T0" fmla="*/ 104 w 184"/>
                    <a:gd name="T1" fmla="*/ 27 h 174"/>
                    <a:gd name="T2" fmla="*/ 91 w 184"/>
                    <a:gd name="T3" fmla="*/ 32 h 174"/>
                    <a:gd name="T4" fmla="*/ 88 w 184"/>
                    <a:gd name="T5" fmla="*/ 39 h 174"/>
                    <a:gd name="T6" fmla="*/ 88 w 184"/>
                    <a:gd name="T7" fmla="*/ 46 h 174"/>
                    <a:gd name="T8" fmla="*/ 91 w 184"/>
                    <a:gd name="T9" fmla="*/ 57 h 174"/>
                    <a:gd name="T10" fmla="*/ 99 w 184"/>
                    <a:gd name="T11" fmla="*/ 64 h 174"/>
                    <a:gd name="T12" fmla="*/ 106 w 184"/>
                    <a:gd name="T13" fmla="*/ 67 h 174"/>
                    <a:gd name="T14" fmla="*/ 111 w 184"/>
                    <a:gd name="T15" fmla="*/ 78 h 174"/>
                    <a:gd name="T16" fmla="*/ 118 w 184"/>
                    <a:gd name="T17" fmla="*/ 89 h 174"/>
                    <a:gd name="T18" fmla="*/ 125 w 184"/>
                    <a:gd name="T19" fmla="*/ 96 h 174"/>
                    <a:gd name="T20" fmla="*/ 133 w 184"/>
                    <a:gd name="T21" fmla="*/ 99 h 174"/>
                    <a:gd name="T22" fmla="*/ 141 w 184"/>
                    <a:gd name="T23" fmla="*/ 99 h 174"/>
                    <a:gd name="T24" fmla="*/ 148 w 184"/>
                    <a:gd name="T25" fmla="*/ 101 h 174"/>
                    <a:gd name="T26" fmla="*/ 145 w 184"/>
                    <a:gd name="T27" fmla="*/ 108 h 174"/>
                    <a:gd name="T28" fmla="*/ 157 w 184"/>
                    <a:gd name="T29" fmla="*/ 113 h 174"/>
                    <a:gd name="T30" fmla="*/ 174 w 184"/>
                    <a:gd name="T31" fmla="*/ 121 h 174"/>
                    <a:gd name="T32" fmla="*/ 184 w 184"/>
                    <a:gd name="T33" fmla="*/ 132 h 174"/>
                    <a:gd name="T34" fmla="*/ 179 w 184"/>
                    <a:gd name="T35" fmla="*/ 137 h 174"/>
                    <a:gd name="T36" fmla="*/ 165 w 184"/>
                    <a:gd name="T37" fmla="*/ 126 h 174"/>
                    <a:gd name="T38" fmla="*/ 155 w 184"/>
                    <a:gd name="T39" fmla="*/ 135 h 174"/>
                    <a:gd name="T40" fmla="*/ 158 w 184"/>
                    <a:gd name="T41" fmla="*/ 143 h 174"/>
                    <a:gd name="T42" fmla="*/ 163 w 184"/>
                    <a:gd name="T43" fmla="*/ 152 h 174"/>
                    <a:gd name="T44" fmla="*/ 155 w 184"/>
                    <a:gd name="T45" fmla="*/ 157 h 174"/>
                    <a:gd name="T46" fmla="*/ 152 w 184"/>
                    <a:gd name="T47" fmla="*/ 165 h 174"/>
                    <a:gd name="T48" fmla="*/ 147 w 184"/>
                    <a:gd name="T49" fmla="*/ 172 h 174"/>
                    <a:gd name="T50" fmla="*/ 141 w 184"/>
                    <a:gd name="T51" fmla="*/ 174 h 174"/>
                    <a:gd name="T52" fmla="*/ 143 w 184"/>
                    <a:gd name="T53" fmla="*/ 160 h 174"/>
                    <a:gd name="T54" fmla="*/ 147 w 184"/>
                    <a:gd name="T55" fmla="*/ 152 h 174"/>
                    <a:gd name="T56" fmla="*/ 141 w 184"/>
                    <a:gd name="T57" fmla="*/ 138 h 174"/>
                    <a:gd name="T58" fmla="*/ 136 w 184"/>
                    <a:gd name="T59" fmla="*/ 135 h 174"/>
                    <a:gd name="T60" fmla="*/ 130 w 184"/>
                    <a:gd name="T61" fmla="*/ 128 h 174"/>
                    <a:gd name="T62" fmla="*/ 121 w 184"/>
                    <a:gd name="T63" fmla="*/ 123 h 174"/>
                    <a:gd name="T64" fmla="*/ 113 w 184"/>
                    <a:gd name="T65" fmla="*/ 115 h 174"/>
                    <a:gd name="T66" fmla="*/ 99 w 184"/>
                    <a:gd name="T67" fmla="*/ 111 h 174"/>
                    <a:gd name="T68" fmla="*/ 84 w 184"/>
                    <a:gd name="T69" fmla="*/ 98 h 174"/>
                    <a:gd name="T70" fmla="*/ 72 w 184"/>
                    <a:gd name="T71" fmla="*/ 89 h 174"/>
                    <a:gd name="T72" fmla="*/ 64 w 184"/>
                    <a:gd name="T73" fmla="*/ 83 h 174"/>
                    <a:gd name="T74" fmla="*/ 55 w 184"/>
                    <a:gd name="T75" fmla="*/ 66 h 174"/>
                    <a:gd name="T76" fmla="*/ 42 w 184"/>
                    <a:gd name="T77" fmla="*/ 54 h 174"/>
                    <a:gd name="T78" fmla="*/ 29 w 184"/>
                    <a:gd name="T79" fmla="*/ 54 h 174"/>
                    <a:gd name="T80" fmla="*/ 23 w 184"/>
                    <a:gd name="T81" fmla="*/ 62 h 174"/>
                    <a:gd name="T82" fmla="*/ 13 w 184"/>
                    <a:gd name="T83" fmla="*/ 62 h 174"/>
                    <a:gd name="T84" fmla="*/ 8 w 184"/>
                    <a:gd name="T85" fmla="*/ 57 h 174"/>
                    <a:gd name="T86" fmla="*/ 3 w 184"/>
                    <a:gd name="T87" fmla="*/ 46 h 174"/>
                    <a:gd name="T88" fmla="*/ 2 w 184"/>
                    <a:gd name="T89" fmla="*/ 39 h 174"/>
                    <a:gd name="T90" fmla="*/ 3 w 184"/>
                    <a:gd name="T91" fmla="*/ 32 h 174"/>
                    <a:gd name="T92" fmla="*/ 3 w 184"/>
                    <a:gd name="T93" fmla="*/ 24 h 174"/>
                    <a:gd name="T94" fmla="*/ 13 w 184"/>
                    <a:gd name="T95" fmla="*/ 24 h 174"/>
                    <a:gd name="T96" fmla="*/ 22 w 184"/>
                    <a:gd name="T97" fmla="*/ 17 h 174"/>
                    <a:gd name="T98" fmla="*/ 32 w 184"/>
                    <a:gd name="T99" fmla="*/ 20 h 174"/>
                    <a:gd name="T100" fmla="*/ 39 w 184"/>
                    <a:gd name="T101" fmla="*/ 17 h 174"/>
                    <a:gd name="T102" fmla="*/ 47 w 184"/>
                    <a:gd name="T103" fmla="*/ 15 h 174"/>
                    <a:gd name="T104" fmla="*/ 54 w 184"/>
                    <a:gd name="T105" fmla="*/ 10 h 174"/>
                    <a:gd name="T106" fmla="*/ 61 w 184"/>
                    <a:gd name="T107" fmla="*/ 5 h 174"/>
                    <a:gd name="T108" fmla="*/ 71 w 184"/>
                    <a:gd name="T109" fmla="*/ 3 h 174"/>
                    <a:gd name="T110" fmla="*/ 82 w 184"/>
                    <a:gd name="T111" fmla="*/ 0 h 174"/>
                    <a:gd name="T112" fmla="*/ 88 w 184"/>
                    <a:gd name="T113" fmla="*/ 7 h 174"/>
                    <a:gd name="T114" fmla="*/ 99 w 184"/>
                    <a:gd name="T115" fmla="*/ 10 h 174"/>
                    <a:gd name="T116" fmla="*/ 108 w 184"/>
                    <a:gd name="T117" fmla="*/ 12 h 174"/>
                    <a:gd name="T118" fmla="*/ 108 w 184"/>
                    <a:gd name="T119" fmla="*/ 17 h 174"/>
                    <a:gd name="T120" fmla="*/ 108 w 184"/>
                    <a:gd name="T121" fmla="*/ 25 h 174"/>
                    <a:gd name="T122" fmla="*/ 113 w 184"/>
                    <a:gd name="T123" fmla="*/ 29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84" h="174">
                      <a:moveTo>
                        <a:pt x="109" y="30"/>
                      </a:moveTo>
                      <a:lnTo>
                        <a:pt x="109" y="29"/>
                      </a:lnTo>
                      <a:lnTo>
                        <a:pt x="109" y="27"/>
                      </a:lnTo>
                      <a:lnTo>
                        <a:pt x="108" y="27"/>
                      </a:lnTo>
                      <a:lnTo>
                        <a:pt x="104" y="27"/>
                      </a:lnTo>
                      <a:lnTo>
                        <a:pt x="103" y="27"/>
                      </a:lnTo>
                      <a:lnTo>
                        <a:pt x="101" y="29"/>
                      </a:lnTo>
                      <a:lnTo>
                        <a:pt x="96" y="30"/>
                      </a:lnTo>
                      <a:lnTo>
                        <a:pt x="93" y="32"/>
                      </a:lnTo>
                      <a:lnTo>
                        <a:pt x="91" y="32"/>
                      </a:lnTo>
                      <a:lnTo>
                        <a:pt x="89" y="32"/>
                      </a:lnTo>
                      <a:lnTo>
                        <a:pt x="88" y="34"/>
                      </a:lnTo>
                      <a:lnTo>
                        <a:pt x="86" y="35"/>
                      </a:lnTo>
                      <a:lnTo>
                        <a:pt x="88" y="37"/>
                      </a:lnTo>
                      <a:lnTo>
                        <a:pt x="88" y="39"/>
                      </a:lnTo>
                      <a:lnTo>
                        <a:pt x="89" y="39"/>
                      </a:lnTo>
                      <a:lnTo>
                        <a:pt x="91" y="40"/>
                      </a:lnTo>
                      <a:lnTo>
                        <a:pt x="89" y="42"/>
                      </a:lnTo>
                      <a:lnTo>
                        <a:pt x="88" y="44"/>
                      </a:lnTo>
                      <a:lnTo>
                        <a:pt x="88" y="46"/>
                      </a:lnTo>
                      <a:lnTo>
                        <a:pt x="88" y="49"/>
                      </a:lnTo>
                      <a:lnTo>
                        <a:pt x="88" y="51"/>
                      </a:lnTo>
                      <a:lnTo>
                        <a:pt x="88" y="52"/>
                      </a:lnTo>
                      <a:lnTo>
                        <a:pt x="89" y="56"/>
                      </a:lnTo>
                      <a:lnTo>
                        <a:pt x="91" y="57"/>
                      </a:lnTo>
                      <a:lnTo>
                        <a:pt x="93" y="59"/>
                      </a:lnTo>
                      <a:lnTo>
                        <a:pt x="93" y="61"/>
                      </a:lnTo>
                      <a:lnTo>
                        <a:pt x="96" y="61"/>
                      </a:lnTo>
                      <a:lnTo>
                        <a:pt x="98" y="62"/>
                      </a:lnTo>
                      <a:lnTo>
                        <a:pt x="99" y="64"/>
                      </a:lnTo>
                      <a:lnTo>
                        <a:pt x="101" y="64"/>
                      </a:lnTo>
                      <a:lnTo>
                        <a:pt x="103" y="66"/>
                      </a:lnTo>
                      <a:lnTo>
                        <a:pt x="104" y="66"/>
                      </a:lnTo>
                      <a:lnTo>
                        <a:pt x="104" y="67"/>
                      </a:lnTo>
                      <a:lnTo>
                        <a:pt x="106" y="67"/>
                      </a:lnTo>
                      <a:lnTo>
                        <a:pt x="108" y="67"/>
                      </a:lnTo>
                      <a:lnTo>
                        <a:pt x="108" y="69"/>
                      </a:lnTo>
                      <a:lnTo>
                        <a:pt x="109" y="71"/>
                      </a:lnTo>
                      <a:lnTo>
                        <a:pt x="109" y="74"/>
                      </a:lnTo>
                      <a:lnTo>
                        <a:pt x="111" y="78"/>
                      </a:lnTo>
                      <a:lnTo>
                        <a:pt x="113" y="79"/>
                      </a:lnTo>
                      <a:lnTo>
                        <a:pt x="113" y="81"/>
                      </a:lnTo>
                      <a:lnTo>
                        <a:pt x="114" y="83"/>
                      </a:lnTo>
                      <a:lnTo>
                        <a:pt x="116" y="86"/>
                      </a:lnTo>
                      <a:lnTo>
                        <a:pt x="118" y="89"/>
                      </a:lnTo>
                      <a:lnTo>
                        <a:pt x="120" y="91"/>
                      </a:lnTo>
                      <a:lnTo>
                        <a:pt x="123" y="93"/>
                      </a:lnTo>
                      <a:lnTo>
                        <a:pt x="123" y="94"/>
                      </a:lnTo>
                      <a:lnTo>
                        <a:pt x="125" y="94"/>
                      </a:lnTo>
                      <a:lnTo>
                        <a:pt x="125" y="96"/>
                      </a:lnTo>
                      <a:lnTo>
                        <a:pt x="126" y="96"/>
                      </a:lnTo>
                      <a:lnTo>
                        <a:pt x="128" y="98"/>
                      </a:lnTo>
                      <a:lnTo>
                        <a:pt x="130" y="98"/>
                      </a:lnTo>
                      <a:lnTo>
                        <a:pt x="133" y="101"/>
                      </a:lnTo>
                      <a:lnTo>
                        <a:pt x="133" y="99"/>
                      </a:lnTo>
                      <a:lnTo>
                        <a:pt x="136" y="99"/>
                      </a:lnTo>
                      <a:lnTo>
                        <a:pt x="140" y="99"/>
                      </a:lnTo>
                      <a:lnTo>
                        <a:pt x="141" y="99"/>
                      </a:lnTo>
                      <a:lnTo>
                        <a:pt x="145" y="99"/>
                      </a:lnTo>
                      <a:lnTo>
                        <a:pt x="141" y="99"/>
                      </a:lnTo>
                      <a:lnTo>
                        <a:pt x="143" y="99"/>
                      </a:lnTo>
                      <a:lnTo>
                        <a:pt x="145" y="98"/>
                      </a:lnTo>
                      <a:lnTo>
                        <a:pt x="147" y="98"/>
                      </a:lnTo>
                      <a:lnTo>
                        <a:pt x="147" y="99"/>
                      </a:lnTo>
                      <a:lnTo>
                        <a:pt x="148" y="101"/>
                      </a:lnTo>
                      <a:lnTo>
                        <a:pt x="148" y="103"/>
                      </a:lnTo>
                      <a:lnTo>
                        <a:pt x="145" y="105"/>
                      </a:lnTo>
                      <a:lnTo>
                        <a:pt x="143" y="106"/>
                      </a:lnTo>
                      <a:lnTo>
                        <a:pt x="143" y="108"/>
                      </a:lnTo>
                      <a:lnTo>
                        <a:pt x="145" y="108"/>
                      </a:lnTo>
                      <a:lnTo>
                        <a:pt x="147" y="108"/>
                      </a:lnTo>
                      <a:lnTo>
                        <a:pt x="148" y="110"/>
                      </a:lnTo>
                      <a:lnTo>
                        <a:pt x="150" y="110"/>
                      </a:lnTo>
                      <a:lnTo>
                        <a:pt x="153" y="111"/>
                      </a:lnTo>
                      <a:lnTo>
                        <a:pt x="157" y="113"/>
                      </a:lnTo>
                      <a:lnTo>
                        <a:pt x="160" y="115"/>
                      </a:lnTo>
                      <a:lnTo>
                        <a:pt x="163" y="116"/>
                      </a:lnTo>
                      <a:lnTo>
                        <a:pt x="165" y="118"/>
                      </a:lnTo>
                      <a:lnTo>
                        <a:pt x="168" y="120"/>
                      </a:lnTo>
                      <a:lnTo>
                        <a:pt x="174" y="121"/>
                      </a:lnTo>
                      <a:lnTo>
                        <a:pt x="175" y="121"/>
                      </a:lnTo>
                      <a:lnTo>
                        <a:pt x="177" y="123"/>
                      </a:lnTo>
                      <a:lnTo>
                        <a:pt x="179" y="126"/>
                      </a:lnTo>
                      <a:lnTo>
                        <a:pt x="182" y="128"/>
                      </a:lnTo>
                      <a:lnTo>
                        <a:pt x="184" y="132"/>
                      </a:lnTo>
                      <a:lnTo>
                        <a:pt x="184" y="133"/>
                      </a:lnTo>
                      <a:lnTo>
                        <a:pt x="184" y="135"/>
                      </a:lnTo>
                      <a:lnTo>
                        <a:pt x="182" y="137"/>
                      </a:lnTo>
                      <a:lnTo>
                        <a:pt x="182" y="138"/>
                      </a:lnTo>
                      <a:lnTo>
                        <a:pt x="179" y="137"/>
                      </a:lnTo>
                      <a:lnTo>
                        <a:pt x="177" y="133"/>
                      </a:lnTo>
                      <a:lnTo>
                        <a:pt x="175" y="132"/>
                      </a:lnTo>
                      <a:lnTo>
                        <a:pt x="174" y="130"/>
                      </a:lnTo>
                      <a:lnTo>
                        <a:pt x="168" y="128"/>
                      </a:lnTo>
                      <a:lnTo>
                        <a:pt x="165" y="126"/>
                      </a:lnTo>
                      <a:lnTo>
                        <a:pt x="163" y="125"/>
                      </a:lnTo>
                      <a:lnTo>
                        <a:pt x="162" y="126"/>
                      </a:lnTo>
                      <a:lnTo>
                        <a:pt x="158" y="130"/>
                      </a:lnTo>
                      <a:lnTo>
                        <a:pt x="155" y="132"/>
                      </a:lnTo>
                      <a:lnTo>
                        <a:pt x="155" y="135"/>
                      </a:lnTo>
                      <a:lnTo>
                        <a:pt x="153" y="137"/>
                      </a:lnTo>
                      <a:lnTo>
                        <a:pt x="153" y="140"/>
                      </a:lnTo>
                      <a:lnTo>
                        <a:pt x="155" y="140"/>
                      </a:lnTo>
                      <a:lnTo>
                        <a:pt x="157" y="142"/>
                      </a:lnTo>
                      <a:lnTo>
                        <a:pt x="158" y="143"/>
                      </a:lnTo>
                      <a:lnTo>
                        <a:pt x="162" y="143"/>
                      </a:lnTo>
                      <a:lnTo>
                        <a:pt x="162" y="145"/>
                      </a:lnTo>
                      <a:lnTo>
                        <a:pt x="162" y="148"/>
                      </a:lnTo>
                      <a:lnTo>
                        <a:pt x="163" y="150"/>
                      </a:lnTo>
                      <a:lnTo>
                        <a:pt x="163" y="152"/>
                      </a:lnTo>
                      <a:lnTo>
                        <a:pt x="163" y="153"/>
                      </a:lnTo>
                      <a:lnTo>
                        <a:pt x="162" y="153"/>
                      </a:lnTo>
                      <a:lnTo>
                        <a:pt x="160" y="153"/>
                      </a:lnTo>
                      <a:lnTo>
                        <a:pt x="158" y="155"/>
                      </a:lnTo>
                      <a:lnTo>
                        <a:pt x="155" y="157"/>
                      </a:lnTo>
                      <a:lnTo>
                        <a:pt x="155" y="158"/>
                      </a:lnTo>
                      <a:lnTo>
                        <a:pt x="155" y="160"/>
                      </a:lnTo>
                      <a:lnTo>
                        <a:pt x="155" y="164"/>
                      </a:lnTo>
                      <a:lnTo>
                        <a:pt x="153" y="165"/>
                      </a:lnTo>
                      <a:lnTo>
                        <a:pt x="152" y="165"/>
                      </a:lnTo>
                      <a:lnTo>
                        <a:pt x="150" y="167"/>
                      </a:lnTo>
                      <a:lnTo>
                        <a:pt x="150" y="169"/>
                      </a:lnTo>
                      <a:lnTo>
                        <a:pt x="148" y="169"/>
                      </a:lnTo>
                      <a:lnTo>
                        <a:pt x="148" y="170"/>
                      </a:lnTo>
                      <a:lnTo>
                        <a:pt x="147" y="172"/>
                      </a:lnTo>
                      <a:lnTo>
                        <a:pt x="147" y="174"/>
                      </a:lnTo>
                      <a:lnTo>
                        <a:pt x="143" y="174"/>
                      </a:lnTo>
                      <a:lnTo>
                        <a:pt x="141" y="174"/>
                      </a:lnTo>
                      <a:lnTo>
                        <a:pt x="141" y="172"/>
                      </a:lnTo>
                      <a:lnTo>
                        <a:pt x="141" y="174"/>
                      </a:lnTo>
                      <a:lnTo>
                        <a:pt x="141" y="170"/>
                      </a:lnTo>
                      <a:lnTo>
                        <a:pt x="141" y="169"/>
                      </a:lnTo>
                      <a:lnTo>
                        <a:pt x="141" y="165"/>
                      </a:lnTo>
                      <a:lnTo>
                        <a:pt x="143" y="162"/>
                      </a:lnTo>
                      <a:lnTo>
                        <a:pt x="143" y="160"/>
                      </a:lnTo>
                      <a:lnTo>
                        <a:pt x="145" y="158"/>
                      </a:lnTo>
                      <a:lnTo>
                        <a:pt x="150" y="157"/>
                      </a:lnTo>
                      <a:lnTo>
                        <a:pt x="148" y="155"/>
                      </a:lnTo>
                      <a:lnTo>
                        <a:pt x="148" y="153"/>
                      </a:lnTo>
                      <a:lnTo>
                        <a:pt x="147" y="152"/>
                      </a:lnTo>
                      <a:lnTo>
                        <a:pt x="147" y="148"/>
                      </a:lnTo>
                      <a:lnTo>
                        <a:pt x="147" y="147"/>
                      </a:lnTo>
                      <a:lnTo>
                        <a:pt x="145" y="143"/>
                      </a:lnTo>
                      <a:lnTo>
                        <a:pt x="143" y="142"/>
                      </a:lnTo>
                      <a:lnTo>
                        <a:pt x="141" y="138"/>
                      </a:lnTo>
                      <a:lnTo>
                        <a:pt x="141" y="137"/>
                      </a:lnTo>
                      <a:lnTo>
                        <a:pt x="141" y="135"/>
                      </a:lnTo>
                      <a:lnTo>
                        <a:pt x="140" y="133"/>
                      </a:lnTo>
                      <a:lnTo>
                        <a:pt x="138" y="133"/>
                      </a:lnTo>
                      <a:lnTo>
                        <a:pt x="136" y="135"/>
                      </a:lnTo>
                      <a:lnTo>
                        <a:pt x="135" y="133"/>
                      </a:lnTo>
                      <a:lnTo>
                        <a:pt x="133" y="133"/>
                      </a:lnTo>
                      <a:lnTo>
                        <a:pt x="130" y="132"/>
                      </a:lnTo>
                      <a:lnTo>
                        <a:pt x="130" y="130"/>
                      </a:lnTo>
                      <a:lnTo>
                        <a:pt x="130" y="128"/>
                      </a:lnTo>
                      <a:lnTo>
                        <a:pt x="128" y="125"/>
                      </a:lnTo>
                      <a:lnTo>
                        <a:pt x="128" y="123"/>
                      </a:lnTo>
                      <a:lnTo>
                        <a:pt x="126" y="123"/>
                      </a:lnTo>
                      <a:lnTo>
                        <a:pt x="123" y="123"/>
                      </a:lnTo>
                      <a:lnTo>
                        <a:pt x="121" y="123"/>
                      </a:lnTo>
                      <a:lnTo>
                        <a:pt x="121" y="121"/>
                      </a:lnTo>
                      <a:lnTo>
                        <a:pt x="118" y="120"/>
                      </a:lnTo>
                      <a:lnTo>
                        <a:pt x="116" y="120"/>
                      </a:lnTo>
                      <a:lnTo>
                        <a:pt x="114" y="116"/>
                      </a:lnTo>
                      <a:lnTo>
                        <a:pt x="113" y="115"/>
                      </a:lnTo>
                      <a:lnTo>
                        <a:pt x="111" y="111"/>
                      </a:lnTo>
                      <a:lnTo>
                        <a:pt x="109" y="111"/>
                      </a:lnTo>
                      <a:lnTo>
                        <a:pt x="106" y="111"/>
                      </a:lnTo>
                      <a:lnTo>
                        <a:pt x="101" y="111"/>
                      </a:lnTo>
                      <a:lnTo>
                        <a:pt x="99" y="111"/>
                      </a:lnTo>
                      <a:lnTo>
                        <a:pt x="96" y="110"/>
                      </a:lnTo>
                      <a:lnTo>
                        <a:pt x="93" y="106"/>
                      </a:lnTo>
                      <a:lnTo>
                        <a:pt x="89" y="103"/>
                      </a:lnTo>
                      <a:lnTo>
                        <a:pt x="86" y="99"/>
                      </a:lnTo>
                      <a:lnTo>
                        <a:pt x="84" y="98"/>
                      </a:lnTo>
                      <a:lnTo>
                        <a:pt x="81" y="96"/>
                      </a:lnTo>
                      <a:lnTo>
                        <a:pt x="79" y="94"/>
                      </a:lnTo>
                      <a:lnTo>
                        <a:pt x="77" y="91"/>
                      </a:lnTo>
                      <a:lnTo>
                        <a:pt x="74" y="89"/>
                      </a:lnTo>
                      <a:lnTo>
                        <a:pt x="72" y="89"/>
                      </a:lnTo>
                      <a:lnTo>
                        <a:pt x="71" y="91"/>
                      </a:lnTo>
                      <a:lnTo>
                        <a:pt x="69" y="89"/>
                      </a:lnTo>
                      <a:lnTo>
                        <a:pt x="69" y="86"/>
                      </a:lnTo>
                      <a:lnTo>
                        <a:pt x="66" y="84"/>
                      </a:lnTo>
                      <a:lnTo>
                        <a:pt x="64" y="83"/>
                      </a:lnTo>
                      <a:lnTo>
                        <a:pt x="61" y="79"/>
                      </a:lnTo>
                      <a:lnTo>
                        <a:pt x="61" y="76"/>
                      </a:lnTo>
                      <a:lnTo>
                        <a:pt x="61" y="74"/>
                      </a:lnTo>
                      <a:lnTo>
                        <a:pt x="57" y="69"/>
                      </a:lnTo>
                      <a:lnTo>
                        <a:pt x="55" y="66"/>
                      </a:lnTo>
                      <a:lnTo>
                        <a:pt x="55" y="62"/>
                      </a:lnTo>
                      <a:lnTo>
                        <a:pt x="55" y="61"/>
                      </a:lnTo>
                      <a:lnTo>
                        <a:pt x="50" y="59"/>
                      </a:lnTo>
                      <a:lnTo>
                        <a:pt x="47" y="57"/>
                      </a:lnTo>
                      <a:lnTo>
                        <a:pt x="42" y="54"/>
                      </a:lnTo>
                      <a:lnTo>
                        <a:pt x="39" y="52"/>
                      </a:lnTo>
                      <a:lnTo>
                        <a:pt x="35" y="52"/>
                      </a:lnTo>
                      <a:lnTo>
                        <a:pt x="34" y="52"/>
                      </a:lnTo>
                      <a:lnTo>
                        <a:pt x="30" y="54"/>
                      </a:lnTo>
                      <a:lnTo>
                        <a:pt x="29" y="54"/>
                      </a:lnTo>
                      <a:lnTo>
                        <a:pt x="27" y="56"/>
                      </a:lnTo>
                      <a:lnTo>
                        <a:pt x="27" y="57"/>
                      </a:lnTo>
                      <a:lnTo>
                        <a:pt x="25" y="59"/>
                      </a:lnTo>
                      <a:lnTo>
                        <a:pt x="23" y="61"/>
                      </a:lnTo>
                      <a:lnTo>
                        <a:pt x="23" y="62"/>
                      </a:lnTo>
                      <a:lnTo>
                        <a:pt x="22" y="62"/>
                      </a:lnTo>
                      <a:lnTo>
                        <a:pt x="18" y="64"/>
                      </a:lnTo>
                      <a:lnTo>
                        <a:pt x="17" y="64"/>
                      </a:lnTo>
                      <a:lnTo>
                        <a:pt x="13" y="64"/>
                      </a:lnTo>
                      <a:lnTo>
                        <a:pt x="13" y="62"/>
                      </a:lnTo>
                      <a:lnTo>
                        <a:pt x="13" y="61"/>
                      </a:lnTo>
                      <a:lnTo>
                        <a:pt x="13" y="59"/>
                      </a:lnTo>
                      <a:lnTo>
                        <a:pt x="13" y="57"/>
                      </a:lnTo>
                      <a:lnTo>
                        <a:pt x="12" y="57"/>
                      </a:lnTo>
                      <a:lnTo>
                        <a:pt x="8" y="57"/>
                      </a:lnTo>
                      <a:lnTo>
                        <a:pt x="7" y="56"/>
                      </a:lnTo>
                      <a:lnTo>
                        <a:pt x="5" y="54"/>
                      </a:lnTo>
                      <a:lnTo>
                        <a:pt x="3" y="51"/>
                      </a:lnTo>
                      <a:lnTo>
                        <a:pt x="3" y="49"/>
                      </a:lnTo>
                      <a:lnTo>
                        <a:pt x="3" y="46"/>
                      </a:lnTo>
                      <a:lnTo>
                        <a:pt x="3" y="44"/>
                      </a:lnTo>
                      <a:lnTo>
                        <a:pt x="2" y="44"/>
                      </a:lnTo>
                      <a:lnTo>
                        <a:pt x="2" y="42"/>
                      </a:lnTo>
                      <a:lnTo>
                        <a:pt x="0" y="40"/>
                      </a:lnTo>
                      <a:lnTo>
                        <a:pt x="2" y="39"/>
                      </a:lnTo>
                      <a:lnTo>
                        <a:pt x="3" y="37"/>
                      </a:lnTo>
                      <a:lnTo>
                        <a:pt x="5" y="37"/>
                      </a:lnTo>
                      <a:lnTo>
                        <a:pt x="7" y="35"/>
                      </a:lnTo>
                      <a:lnTo>
                        <a:pt x="5" y="34"/>
                      </a:lnTo>
                      <a:lnTo>
                        <a:pt x="3" y="32"/>
                      </a:lnTo>
                      <a:lnTo>
                        <a:pt x="3" y="29"/>
                      </a:lnTo>
                      <a:lnTo>
                        <a:pt x="2" y="27"/>
                      </a:lnTo>
                      <a:lnTo>
                        <a:pt x="2" y="25"/>
                      </a:lnTo>
                      <a:lnTo>
                        <a:pt x="2" y="24"/>
                      </a:lnTo>
                      <a:lnTo>
                        <a:pt x="3" y="24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10" y="24"/>
                      </a:lnTo>
                      <a:lnTo>
                        <a:pt x="12" y="24"/>
                      </a:lnTo>
                      <a:lnTo>
                        <a:pt x="13" y="24"/>
                      </a:lnTo>
                      <a:lnTo>
                        <a:pt x="15" y="22"/>
                      </a:lnTo>
                      <a:lnTo>
                        <a:pt x="18" y="22"/>
                      </a:lnTo>
                      <a:lnTo>
                        <a:pt x="20" y="20"/>
                      </a:lnTo>
                      <a:lnTo>
                        <a:pt x="22" y="19"/>
                      </a:lnTo>
                      <a:lnTo>
                        <a:pt x="22" y="17"/>
                      </a:lnTo>
                      <a:lnTo>
                        <a:pt x="23" y="15"/>
                      </a:lnTo>
                      <a:lnTo>
                        <a:pt x="27" y="13"/>
                      </a:lnTo>
                      <a:lnTo>
                        <a:pt x="27" y="15"/>
                      </a:lnTo>
                      <a:lnTo>
                        <a:pt x="29" y="19"/>
                      </a:lnTo>
                      <a:lnTo>
                        <a:pt x="32" y="20"/>
                      </a:lnTo>
                      <a:lnTo>
                        <a:pt x="34" y="22"/>
                      </a:lnTo>
                      <a:lnTo>
                        <a:pt x="35" y="24"/>
                      </a:lnTo>
                      <a:lnTo>
                        <a:pt x="35" y="22"/>
                      </a:lnTo>
                      <a:lnTo>
                        <a:pt x="37" y="20"/>
                      </a:lnTo>
                      <a:lnTo>
                        <a:pt x="39" y="17"/>
                      </a:lnTo>
                      <a:lnTo>
                        <a:pt x="40" y="15"/>
                      </a:lnTo>
                      <a:lnTo>
                        <a:pt x="40" y="12"/>
                      </a:lnTo>
                      <a:lnTo>
                        <a:pt x="42" y="13"/>
                      </a:lnTo>
                      <a:lnTo>
                        <a:pt x="44" y="15"/>
                      </a:lnTo>
                      <a:lnTo>
                        <a:pt x="47" y="15"/>
                      </a:lnTo>
                      <a:lnTo>
                        <a:pt x="50" y="15"/>
                      </a:lnTo>
                      <a:lnTo>
                        <a:pt x="54" y="15"/>
                      </a:lnTo>
                      <a:lnTo>
                        <a:pt x="52" y="13"/>
                      </a:lnTo>
                      <a:lnTo>
                        <a:pt x="52" y="12"/>
                      </a:lnTo>
                      <a:lnTo>
                        <a:pt x="54" y="10"/>
                      </a:lnTo>
                      <a:lnTo>
                        <a:pt x="55" y="10"/>
                      </a:lnTo>
                      <a:lnTo>
                        <a:pt x="57" y="8"/>
                      </a:lnTo>
                      <a:lnTo>
                        <a:pt x="57" y="7"/>
                      </a:lnTo>
                      <a:lnTo>
                        <a:pt x="59" y="5"/>
                      </a:lnTo>
                      <a:lnTo>
                        <a:pt x="61" y="5"/>
                      </a:lnTo>
                      <a:lnTo>
                        <a:pt x="62" y="5"/>
                      </a:lnTo>
                      <a:lnTo>
                        <a:pt x="66" y="5"/>
                      </a:lnTo>
                      <a:lnTo>
                        <a:pt x="67" y="5"/>
                      </a:lnTo>
                      <a:lnTo>
                        <a:pt x="69" y="3"/>
                      </a:lnTo>
                      <a:lnTo>
                        <a:pt x="71" y="3"/>
                      </a:lnTo>
                      <a:lnTo>
                        <a:pt x="72" y="2"/>
                      </a:lnTo>
                      <a:lnTo>
                        <a:pt x="76" y="2"/>
                      </a:lnTo>
                      <a:lnTo>
                        <a:pt x="79" y="2"/>
                      </a:lnTo>
                      <a:lnTo>
                        <a:pt x="81" y="2"/>
                      </a:lnTo>
                      <a:lnTo>
                        <a:pt x="82" y="0"/>
                      </a:lnTo>
                      <a:lnTo>
                        <a:pt x="84" y="0"/>
                      </a:lnTo>
                      <a:lnTo>
                        <a:pt x="84" y="2"/>
                      </a:lnTo>
                      <a:lnTo>
                        <a:pt x="86" y="3"/>
                      </a:lnTo>
                      <a:lnTo>
                        <a:pt x="86" y="7"/>
                      </a:lnTo>
                      <a:lnTo>
                        <a:pt x="88" y="7"/>
                      </a:lnTo>
                      <a:lnTo>
                        <a:pt x="89" y="8"/>
                      </a:lnTo>
                      <a:lnTo>
                        <a:pt x="91" y="8"/>
                      </a:lnTo>
                      <a:lnTo>
                        <a:pt x="94" y="10"/>
                      </a:lnTo>
                      <a:lnTo>
                        <a:pt x="96" y="10"/>
                      </a:lnTo>
                      <a:lnTo>
                        <a:pt x="99" y="10"/>
                      </a:lnTo>
                      <a:lnTo>
                        <a:pt x="103" y="10"/>
                      </a:lnTo>
                      <a:lnTo>
                        <a:pt x="104" y="12"/>
                      </a:lnTo>
                      <a:lnTo>
                        <a:pt x="106" y="12"/>
                      </a:lnTo>
                      <a:lnTo>
                        <a:pt x="109" y="12"/>
                      </a:lnTo>
                      <a:lnTo>
                        <a:pt x="108" y="12"/>
                      </a:lnTo>
                      <a:lnTo>
                        <a:pt x="108" y="13"/>
                      </a:lnTo>
                      <a:lnTo>
                        <a:pt x="106" y="13"/>
                      </a:lnTo>
                      <a:lnTo>
                        <a:pt x="104" y="17"/>
                      </a:lnTo>
                      <a:lnTo>
                        <a:pt x="106" y="17"/>
                      </a:lnTo>
                      <a:lnTo>
                        <a:pt x="108" y="17"/>
                      </a:lnTo>
                      <a:lnTo>
                        <a:pt x="106" y="19"/>
                      </a:lnTo>
                      <a:lnTo>
                        <a:pt x="106" y="22"/>
                      </a:lnTo>
                      <a:lnTo>
                        <a:pt x="108" y="22"/>
                      </a:lnTo>
                      <a:lnTo>
                        <a:pt x="108" y="24"/>
                      </a:lnTo>
                      <a:lnTo>
                        <a:pt x="108" y="25"/>
                      </a:lnTo>
                      <a:lnTo>
                        <a:pt x="109" y="25"/>
                      </a:lnTo>
                      <a:lnTo>
                        <a:pt x="111" y="25"/>
                      </a:lnTo>
                      <a:lnTo>
                        <a:pt x="111" y="27"/>
                      </a:lnTo>
                      <a:lnTo>
                        <a:pt x="113" y="27"/>
                      </a:lnTo>
                      <a:lnTo>
                        <a:pt x="113" y="29"/>
                      </a:lnTo>
                      <a:lnTo>
                        <a:pt x="113" y="30"/>
                      </a:lnTo>
                      <a:lnTo>
                        <a:pt x="111" y="30"/>
                      </a:lnTo>
                      <a:lnTo>
                        <a:pt x="109" y="3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85" name="Group 1884">
                <a:extLst>
                  <a:ext uri="{FF2B5EF4-FFF2-40B4-BE49-F238E27FC236}">
                    <a16:creationId xmlns:a16="http://schemas.microsoft.com/office/drawing/2014/main" id="{662885D0-2EA6-7548-8913-5EC475C5606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56" y="728"/>
                <a:ext cx="49" cy="29"/>
                <a:chOff x="356" y="728"/>
                <a:chExt cx="49" cy="29"/>
              </a:xfrm>
            </p:grpSpPr>
            <p:sp>
              <p:nvSpPr>
                <p:cNvPr id="1889" name="Freeform 263">
                  <a:extLst>
                    <a:ext uri="{FF2B5EF4-FFF2-40B4-BE49-F238E27FC236}">
                      <a16:creationId xmlns:a16="http://schemas.microsoft.com/office/drawing/2014/main" id="{68F7D9EB-AFB2-8A4F-912E-FDB6C965C7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" y="728"/>
                  <a:ext cx="49" cy="29"/>
                </a:xfrm>
                <a:custGeom>
                  <a:avLst/>
                  <a:gdLst>
                    <a:gd name="T0" fmla="*/ 47 w 49"/>
                    <a:gd name="T1" fmla="*/ 0 h 29"/>
                    <a:gd name="T2" fmla="*/ 44 w 49"/>
                    <a:gd name="T3" fmla="*/ 0 h 29"/>
                    <a:gd name="T4" fmla="*/ 42 w 49"/>
                    <a:gd name="T5" fmla="*/ 2 h 29"/>
                    <a:gd name="T6" fmla="*/ 40 w 49"/>
                    <a:gd name="T7" fmla="*/ 2 h 29"/>
                    <a:gd name="T8" fmla="*/ 37 w 49"/>
                    <a:gd name="T9" fmla="*/ 2 h 29"/>
                    <a:gd name="T10" fmla="*/ 34 w 49"/>
                    <a:gd name="T11" fmla="*/ 3 h 29"/>
                    <a:gd name="T12" fmla="*/ 32 w 49"/>
                    <a:gd name="T13" fmla="*/ 3 h 29"/>
                    <a:gd name="T14" fmla="*/ 30 w 49"/>
                    <a:gd name="T15" fmla="*/ 3 h 29"/>
                    <a:gd name="T16" fmla="*/ 29 w 49"/>
                    <a:gd name="T17" fmla="*/ 3 h 29"/>
                    <a:gd name="T18" fmla="*/ 25 w 49"/>
                    <a:gd name="T19" fmla="*/ 3 h 29"/>
                    <a:gd name="T20" fmla="*/ 23 w 49"/>
                    <a:gd name="T21" fmla="*/ 5 h 29"/>
                    <a:gd name="T22" fmla="*/ 20 w 49"/>
                    <a:gd name="T23" fmla="*/ 5 h 29"/>
                    <a:gd name="T24" fmla="*/ 18 w 49"/>
                    <a:gd name="T25" fmla="*/ 5 h 29"/>
                    <a:gd name="T26" fmla="*/ 17 w 49"/>
                    <a:gd name="T27" fmla="*/ 3 h 29"/>
                    <a:gd name="T28" fmla="*/ 15 w 49"/>
                    <a:gd name="T29" fmla="*/ 2 h 29"/>
                    <a:gd name="T30" fmla="*/ 13 w 49"/>
                    <a:gd name="T31" fmla="*/ 2 h 29"/>
                    <a:gd name="T32" fmla="*/ 12 w 49"/>
                    <a:gd name="T33" fmla="*/ 0 h 29"/>
                    <a:gd name="T34" fmla="*/ 8 w 49"/>
                    <a:gd name="T35" fmla="*/ 2 h 29"/>
                    <a:gd name="T36" fmla="*/ 7 w 49"/>
                    <a:gd name="T37" fmla="*/ 3 h 29"/>
                    <a:gd name="T38" fmla="*/ 5 w 49"/>
                    <a:gd name="T39" fmla="*/ 3 h 29"/>
                    <a:gd name="T40" fmla="*/ 3 w 49"/>
                    <a:gd name="T41" fmla="*/ 2 h 29"/>
                    <a:gd name="T42" fmla="*/ 2 w 49"/>
                    <a:gd name="T43" fmla="*/ 2 h 29"/>
                    <a:gd name="T44" fmla="*/ 2 w 49"/>
                    <a:gd name="T45" fmla="*/ 3 h 29"/>
                    <a:gd name="T46" fmla="*/ 0 w 49"/>
                    <a:gd name="T47" fmla="*/ 3 h 29"/>
                    <a:gd name="T48" fmla="*/ 0 w 49"/>
                    <a:gd name="T49" fmla="*/ 7 h 29"/>
                    <a:gd name="T50" fmla="*/ 0 w 49"/>
                    <a:gd name="T51" fmla="*/ 10 h 29"/>
                    <a:gd name="T52" fmla="*/ 2 w 49"/>
                    <a:gd name="T53" fmla="*/ 12 h 29"/>
                    <a:gd name="T54" fmla="*/ 5 w 49"/>
                    <a:gd name="T55" fmla="*/ 12 h 29"/>
                    <a:gd name="T56" fmla="*/ 7 w 49"/>
                    <a:gd name="T57" fmla="*/ 13 h 29"/>
                    <a:gd name="T58" fmla="*/ 10 w 49"/>
                    <a:gd name="T59" fmla="*/ 13 h 29"/>
                    <a:gd name="T60" fmla="*/ 13 w 49"/>
                    <a:gd name="T61" fmla="*/ 17 h 29"/>
                    <a:gd name="T62" fmla="*/ 17 w 49"/>
                    <a:gd name="T63" fmla="*/ 18 h 29"/>
                    <a:gd name="T64" fmla="*/ 18 w 49"/>
                    <a:gd name="T65" fmla="*/ 20 h 29"/>
                    <a:gd name="T66" fmla="*/ 22 w 49"/>
                    <a:gd name="T67" fmla="*/ 20 h 29"/>
                    <a:gd name="T68" fmla="*/ 23 w 49"/>
                    <a:gd name="T69" fmla="*/ 22 h 29"/>
                    <a:gd name="T70" fmla="*/ 29 w 49"/>
                    <a:gd name="T71" fmla="*/ 22 h 29"/>
                    <a:gd name="T72" fmla="*/ 30 w 49"/>
                    <a:gd name="T73" fmla="*/ 25 h 29"/>
                    <a:gd name="T74" fmla="*/ 34 w 49"/>
                    <a:gd name="T75" fmla="*/ 27 h 29"/>
                    <a:gd name="T76" fmla="*/ 37 w 49"/>
                    <a:gd name="T77" fmla="*/ 29 h 29"/>
                    <a:gd name="T78" fmla="*/ 39 w 49"/>
                    <a:gd name="T79" fmla="*/ 29 h 29"/>
                    <a:gd name="T80" fmla="*/ 40 w 49"/>
                    <a:gd name="T81" fmla="*/ 29 h 29"/>
                    <a:gd name="T82" fmla="*/ 42 w 49"/>
                    <a:gd name="T83" fmla="*/ 27 h 29"/>
                    <a:gd name="T84" fmla="*/ 42 w 49"/>
                    <a:gd name="T85" fmla="*/ 24 h 29"/>
                    <a:gd name="T86" fmla="*/ 44 w 49"/>
                    <a:gd name="T87" fmla="*/ 22 h 29"/>
                    <a:gd name="T88" fmla="*/ 42 w 49"/>
                    <a:gd name="T89" fmla="*/ 20 h 29"/>
                    <a:gd name="T90" fmla="*/ 42 w 49"/>
                    <a:gd name="T91" fmla="*/ 18 h 29"/>
                    <a:gd name="T92" fmla="*/ 42 w 49"/>
                    <a:gd name="T93" fmla="*/ 17 h 29"/>
                    <a:gd name="T94" fmla="*/ 40 w 49"/>
                    <a:gd name="T95" fmla="*/ 17 h 29"/>
                    <a:gd name="T96" fmla="*/ 40 w 49"/>
                    <a:gd name="T97" fmla="*/ 15 h 29"/>
                    <a:gd name="T98" fmla="*/ 42 w 49"/>
                    <a:gd name="T99" fmla="*/ 12 h 29"/>
                    <a:gd name="T100" fmla="*/ 44 w 49"/>
                    <a:gd name="T101" fmla="*/ 8 h 29"/>
                    <a:gd name="T102" fmla="*/ 45 w 49"/>
                    <a:gd name="T103" fmla="*/ 5 h 29"/>
                    <a:gd name="T104" fmla="*/ 47 w 49"/>
                    <a:gd name="T105" fmla="*/ 3 h 29"/>
                    <a:gd name="T106" fmla="*/ 47 w 49"/>
                    <a:gd name="T107" fmla="*/ 0 h 29"/>
                    <a:gd name="T108" fmla="*/ 49 w 49"/>
                    <a:gd name="T109" fmla="*/ 0 h 29"/>
                    <a:gd name="T110" fmla="*/ 47 w 49"/>
                    <a:gd name="T111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49" h="29">
                      <a:moveTo>
                        <a:pt x="47" y="0"/>
                      </a:moveTo>
                      <a:lnTo>
                        <a:pt x="44" y="0"/>
                      </a:lnTo>
                      <a:lnTo>
                        <a:pt x="42" y="2"/>
                      </a:lnTo>
                      <a:lnTo>
                        <a:pt x="40" y="2"/>
                      </a:lnTo>
                      <a:lnTo>
                        <a:pt x="37" y="2"/>
                      </a:lnTo>
                      <a:lnTo>
                        <a:pt x="34" y="3"/>
                      </a:lnTo>
                      <a:lnTo>
                        <a:pt x="32" y="3"/>
                      </a:lnTo>
                      <a:lnTo>
                        <a:pt x="30" y="3"/>
                      </a:lnTo>
                      <a:lnTo>
                        <a:pt x="29" y="3"/>
                      </a:lnTo>
                      <a:lnTo>
                        <a:pt x="25" y="3"/>
                      </a:lnTo>
                      <a:lnTo>
                        <a:pt x="23" y="5"/>
                      </a:lnTo>
                      <a:lnTo>
                        <a:pt x="20" y="5"/>
                      </a:lnTo>
                      <a:lnTo>
                        <a:pt x="18" y="5"/>
                      </a:lnTo>
                      <a:lnTo>
                        <a:pt x="17" y="3"/>
                      </a:lnTo>
                      <a:lnTo>
                        <a:pt x="15" y="2"/>
                      </a:lnTo>
                      <a:lnTo>
                        <a:pt x="13" y="2"/>
                      </a:lnTo>
                      <a:lnTo>
                        <a:pt x="12" y="0"/>
                      </a:lnTo>
                      <a:lnTo>
                        <a:pt x="8" y="2"/>
                      </a:lnTo>
                      <a:lnTo>
                        <a:pt x="7" y="3"/>
                      </a:lnTo>
                      <a:lnTo>
                        <a:pt x="5" y="3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7"/>
                      </a:lnTo>
                      <a:lnTo>
                        <a:pt x="0" y="10"/>
                      </a:lnTo>
                      <a:lnTo>
                        <a:pt x="2" y="12"/>
                      </a:lnTo>
                      <a:lnTo>
                        <a:pt x="5" y="12"/>
                      </a:lnTo>
                      <a:lnTo>
                        <a:pt x="7" y="13"/>
                      </a:lnTo>
                      <a:lnTo>
                        <a:pt x="10" y="13"/>
                      </a:lnTo>
                      <a:lnTo>
                        <a:pt x="13" y="17"/>
                      </a:lnTo>
                      <a:lnTo>
                        <a:pt x="17" y="18"/>
                      </a:lnTo>
                      <a:lnTo>
                        <a:pt x="18" y="20"/>
                      </a:lnTo>
                      <a:lnTo>
                        <a:pt x="22" y="20"/>
                      </a:lnTo>
                      <a:lnTo>
                        <a:pt x="23" y="22"/>
                      </a:lnTo>
                      <a:lnTo>
                        <a:pt x="29" y="22"/>
                      </a:lnTo>
                      <a:lnTo>
                        <a:pt x="30" y="25"/>
                      </a:lnTo>
                      <a:lnTo>
                        <a:pt x="34" y="27"/>
                      </a:lnTo>
                      <a:lnTo>
                        <a:pt x="37" y="29"/>
                      </a:lnTo>
                      <a:lnTo>
                        <a:pt x="39" y="29"/>
                      </a:lnTo>
                      <a:lnTo>
                        <a:pt x="40" y="29"/>
                      </a:lnTo>
                      <a:lnTo>
                        <a:pt x="42" y="27"/>
                      </a:lnTo>
                      <a:lnTo>
                        <a:pt x="42" y="24"/>
                      </a:lnTo>
                      <a:lnTo>
                        <a:pt x="44" y="22"/>
                      </a:lnTo>
                      <a:lnTo>
                        <a:pt x="42" y="20"/>
                      </a:lnTo>
                      <a:lnTo>
                        <a:pt x="42" y="18"/>
                      </a:lnTo>
                      <a:lnTo>
                        <a:pt x="42" y="17"/>
                      </a:lnTo>
                      <a:lnTo>
                        <a:pt x="40" y="17"/>
                      </a:lnTo>
                      <a:lnTo>
                        <a:pt x="40" y="15"/>
                      </a:lnTo>
                      <a:lnTo>
                        <a:pt x="42" y="12"/>
                      </a:lnTo>
                      <a:lnTo>
                        <a:pt x="44" y="8"/>
                      </a:lnTo>
                      <a:lnTo>
                        <a:pt x="45" y="5"/>
                      </a:lnTo>
                      <a:lnTo>
                        <a:pt x="47" y="3"/>
                      </a:lnTo>
                      <a:lnTo>
                        <a:pt x="47" y="0"/>
                      </a:lnTo>
                      <a:lnTo>
                        <a:pt x="49" y="0"/>
                      </a:lnTo>
                      <a:lnTo>
                        <a:pt x="47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90" name="Freeform 264">
                  <a:extLst>
                    <a:ext uri="{FF2B5EF4-FFF2-40B4-BE49-F238E27FC236}">
                      <a16:creationId xmlns:a16="http://schemas.microsoft.com/office/drawing/2014/main" id="{9F3F9F4E-54EA-F145-AC70-B3FEF5896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" y="728"/>
                  <a:ext cx="49" cy="29"/>
                </a:xfrm>
                <a:custGeom>
                  <a:avLst/>
                  <a:gdLst>
                    <a:gd name="T0" fmla="*/ 47 w 49"/>
                    <a:gd name="T1" fmla="*/ 0 h 29"/>
                    <a:gd name="T2" fmla="*/ 44 w 49"/>
                    <a:gd name="T3" fmla="*/ 0 h 29"/>
                    <a:gd name="T4" fmla="*/ 42 w 49"/>
                    <a:gd name="T5" fmla="*/ 2 h 29"/>
                    <a:gd name="T6" fmla="*/ 40 w 49"/>
                    <a:gd name="T7" fmla="*/ 2 h 29"/>
                    <a:gd name="T8" fmla="*/ 37 w 49"/>
                    <a:gd name="T9" fmla="*/ 2 h 29"/>
                    <a:gd name="T10" fmla="*/ 34 w 49"/>
                    <a:gd name="T11" fmla="*/ 3 h 29"/>
                    <a:gd name="T12" fmla="*/ 32 w 49"/>
                    <a:gd name="T13" fmla="*/ 3 h 29"/>
                    <a:gd name="T14" fmla="*/ 30 w 49"/>
                    <a:gd name="T15" fmla="*/ 3 h 29"/>
                    <a:gd name="T16" fmla="*/ 29 w 49"/>
                    <a:gd name="T17" fmla="*/ 3 h 29"/>
                    <a:gd name="T18" fmla="*/ 25 w 49"/>
                    <a:gd name="T19" fmla="*/ 3 h 29"/>
                    <a:gd name="T20" fmla="*/ 23 w 49"/>
                    <a:gd name="T21" fmla="*/ 5 h 29"/>
                    <a:gd name="T22" fmla="*/ 20 w 49"/>
                    <a:gd name="T23" fmla="*/ 5 h 29"/>
                    <a:gd name="T24" fmla="*/ 18 w 49"/>
                    <a:gd name="T25" fmla="*/ 5 h 29"/>
                    <a:gd name="T26" fmla="*/ 17 w 49"/>
                    <a:gd name="T27" fmla="*/ 3 h 29"/>
                    <a:gd name="T28" fmla="*/ 15 w 49"/>
                    <a:gd name="T29" fmla="*/ 2 h 29"/>
                    <a:gd name="T30" fmla="*/ 13 w 49"/>
                    <a:gd name="T31" fmla="*/ 2 h 29"/>
                    <a:gd name="T32" fmla="*/ 12 w 49"/>
                    <a:gd name="T33" fmla="*/ 0 h 29"/>
                    <a:gd name="T34" fmla="*/ 8 w 49"/>
                    <a:gd name="T35" fmla="*/ 2 h 29"/>
                    <a:gd name="T36" fmla="*/ 7 w 49"/>
                    <a:gd name="T37" fmla="*/ 3 h 29"/>
                    <a:gd name="T38" fmla="*/ 5 w 49"/>
                    <a:gd name="T39" fmla="*/ 3 h 29"/>
                    <a:gd name="T40" fmla="*/ 3 w 49"/>
                    <a:gd name="T41" fmla="*/ 2 h 29"/>
                    <a:gd name="T42" fmla="*/ 2 w 49"/>
                    <a:gd name="T43" fmla="*/ 2 h 29"/>
                    <a:gd name="T44" fmla="*/ 2 w 49"/>
                    <a:gd name="T45" fmla="*/ 3 h 29"/>
                    <a:gd name="T46" fmla="*/ 0 w 49"/>
                    <a:gd name="T47" fmla="*/ 3 h 29"/>
                    <a:gd name="T48" fmla="*/ 0 w 49"/>
                    <a:gd name="T49" fmla="*/ 7 h 29"/>
                    <a:gd name="T50" fmla="*/ 0 w 49"/>
                    <a:gd name="T51" fmla="*/ 10 h 29"/>
                    <a:gd name="T52" fmla="*/ 2 w 49"/>
                    <a:gd name="T53" fmla="*/ 12 h 29"/>
                    <a:gd name="T54" fmla="*/ 5 w 49"/>
                    <a:gd name="T55" fmla="*/ 12 h 29"/>
                    <a:gd name="T56" fmla="*/ 7 w 49"/>
                    <a:gd name="T57" fmla="*/ 13 h 29"/>
                    <a:gd name="T58" fmla="*/ 10 w 49"/>
                    <a:gd name="T59" fmla="*/ 13 h 29"/>
                    <a:gd name="T60" fmla="*/ 13 w 49"/>
                    <a:gd name="T61" fmla="*/ 17 h 29"/>
                    <a:gd name="T62" fmla="*/ 17 w 49"/>
                    <a:gd name="T63" fmla="*/ 18 h 29"/>
                    <a:gd name="T64" fmla="*/ 18 w 49"/>
                    <a:gd name="T65" fmla="*/ 20 h 29"/>
                    <a:gd name="T66" fmla="*/ 22 w 49"/>
                    <a:gd name="T67" fmla="*/ 20 h 29"/>
                    <a:gd name="T68" fmla="*/ 23 w 49"/>
                    <a:gd name="T69" fmla="*/ 22 h 29"/>
                    <a:gd name="T70" fmla="*/ 29 w 49"/>
                    <a:gd name="T71" fmla="*/ 22 h 29"/>
                    <a:gd name="T72" fmla="*/ 30 w 49"/>
                    <a:gd name="T73" fmla="*/ 25 h 29"/>
                    <a:gd name="T74" fmla="*/ 34 w 49"/>
                    <a:gd name="T75" fmla="*/ 27 h 29"/>
                    <a:gd name="T76" fmla="*/ 37 w 49"/>
                    <a:gd name="T77" fmla="*/ 29 h 29"/>
                    <a:gd name="T78" fmla="*/ 39 w 49"/>
                    <a:gd name="T79" fmla="*/ 29 h 29"/>
                    <a:gd name="T80" fmla="*/ 40 w 49"/>
                    <a:gd name="T81" fmla="*/ 29 h 29"/>
                    <a:gd name="T82" fmla="*/ 42 w 49"/>
                    <a:gd name="T83" fmla="*/ 27 h 29"/>
                    <a:gd name="T84" fmla="*/ 42 w 49"/>
                    <a:gd name="T85" fmla="*/ 24 h 29"/>
                    <a:gd name="T86" fmla="*/ 44 w 49"/>
                    <a:gd name="T87" fmla="*/ 22 h 29"/>
                    <a:gd name="T88" fmla="*/ 42 w 49"/>
                    <a:gd name="T89" fmla="*/ 20 h 29"/>
                    <a:gd name="T90" fmla="*/ 42 w 49"/>
                    <a:gd name="T91" fmla="*/ 18 h 29"/>
                    <a:gd name="T92" fmla="*/ 42 w 49"/>
                    <a:gd name="T93" fmla="*/ 17 h 29"/>
                    <a:gd name="T94" fmla="*/ 40 w 49"/>
                    <a:gd name="T95" fmla="*/ 17 h 29"/>
                    <a:gd name="T96" fmla="*/ 40 w 49"/>
                    <a:gd name="T97" fmla="*/ 15 h 29"/>
                    <a:gd name="T98" fmla="*/ 42 w 49"/>
                    <a:gd name="T99" fmla="*/ 12 h 29"/>
                    <a:gd name="T100" fmla="*/ 44 w 49"/>
                    <a:gd name="T101" fmla="*/ 8 h 29"/>
                    <a:gd name="T102" fmla="*/ 45 w 49"/>
                    <a:gd name="T103" fmla="*/ 5 h 29"/>
                    <a:gd name="T104" fmla="*/ 47 w 49"/>
                    <a:gd name="T105" fmla="*/ 3 h 29"/>
                    <a:gd name="T106" fmla="*/ 47 w 49"/>
                    <a:gd name="T107" fmla="*/ 0 h 29"/>
                    <a:gd name="T108" fmla="*/ 49 w 49"/>
                    <a:gd name="T109" fmla="*/ 0 h 29"/>
                    <a:gd name="T110" fmla="*/ 47 w 49"/>
                    <a:gd name="T111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49" h="29">
                      <a:moveTo>
                        <a:pt x="47" y="0"/>
                      </a:moveTo>
                      <a:lnTo>
                        <a:pt x="44" y="0"/>
                      </a:lnTo>
                      <a:lnTo>
                        <a:pt x="42" y="2"/>
                      </a:lnTo>
                      <a:lnTo>
                        <a:pt x="40" y="2"/>
                      </a:lnTo>
                      <a:lnTo>
                        <a:pt x="37" y="2"/>
                      </a:lnTo>
                      <a:lnTo>
                        <a:pt x="34" y="3"/>
                      </a:lnTo>
                      <a:lnTo>
                        <a:pt x="32" y="3"/>
                      </a:lnTo>
                      <a:lnTo>
                        <a:pt x="30" y="3"/>
                      </a:lnTo>
                      <a:lnTo>
                        <a:pt x="29" y="3"/>
                      </a:lnTo>
                      <a:lnTo>
                        <a:pt x="25" y="3"/>
                      </a:lnTo>
                      <a:lnTo>
                        <a:pt x="23" y="5"/>
                      </a:lnTo>
                      <a:lnTo>
                        <a:pt x="20" y="5"/>
                      </a:lnTo>
                      <a:lnTo>
                        <a:pt x="18" y="5"/>
                      </a:lnTo>
                      <a:lnTo>
                        <a:pt x="17" y="3"/>
                      </a:lnTo>
                      <a:lnTo>
                        <a:pt x="15" y="2"/>
                      </a:lnTo>
                      <a:lnTo>
                        <a:pt x="13" y="2"/>
                      </a:lnTo>
                      <a:lnTo>
                        <a:pt x="12" y="0"/>
                      </a:lnTo>
                      <a:lnTo>
                        <a:pt x="8" y="2"/>
                      </a:lnTo>
                      <a:lnTo>
                        <a:pt x="7" y="3"/>
                      </a:lnTo>
                      <a:lnTo>
                        <a:pt x="5" y="3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7"/>
                      </a:lnTo>
                      <a:lnTo>
                        <a:pt x="0" y="10"/>
                      </a:lnTo>
                      <a:lnTo>
                        <a:pt x="2" y="12"/>
                      </a:lnTo>
                      <a:lnTo>
                        <a:pt x="5" y="12"/>
                      </a:lnTo>
                      <a:lnTo>
                        <a:pt x="7" y="13"/>
                      </a:lnTo>
                      <a:lnTo>
                        <a:pt x="10" y="13"/>
                      </a:lnTo>
                      <a:lnTo>
                        <a:pt x="13" y="17"/>
                      </a:lnTo>
                      <a:lnTo>
                        <a:pt x="17" y="18"/>
                      </a:lnTo>
                      <a:lnTo>
                        <a:pt x="18" y="20"/>
                      </a:lnTo>
                      <a:lnTo>
                        <a:pt x="22" y="20"/>
                      </a:lnTo>
                      <a:lnTo>
                        <a:pt x="23" y="22"/>
                      </a:lnTo>
                      <a:lnTo>
                        <a:pt x="29" y="22"/>
                      </a:lnTo>
                      <a:lnTo>
                        <a:pt x="30" y="25"/>
                      </a:lnTo>
                      <a:lnTo>
                        <a:pt x="34" y="27"/>
                      </a:lnTo>
                      <a:lnTo>
                        <a:pt x="37" y="29"/>
                      </a:lnTo>
                      <a:lnTo>
                        <a:pt x="39" y="29"/>
                      </a:lnTo>
                      <a:lnTo>
                        <a:pt x="40" y="29"/>
                      </a:lnTo>
                      <a:lnTo>
                        <a:pt x="42" y="27"/>
                      </a:lnTo>
                      <a:lnTo>
                        <a:pt x="42" y="24"/>
                      </a:lnTo>
                      <a:lnTo>
                        <a:pt x="44" y="22"/>
                      </a:lnTo>
                      <a:lnTo>
                        <a:pt x="42" y="20"/>
                      </a:lnTo>
                      <a:lnTo>
                        <a:pt x="42" y="18"/>
                      </a:lnTo>
                      <a:lnTo>
                        <a:pt x="42" y="17"/>
                      </a:lnTo>
                      <a:lnTo>
                        <a:pt x="40" y="17"/>
                      </a:lnTo>
                      <a:lnTo>
                        <a:pt x="40" y="15"/>
                      </a:lnTo>
                      <a:lnTo>
                        <a:pt x="42" y="12"/>
                      </a:lnTo>
                      <a:lnTo>
                        <a:pt x="44" y="8"/>
                      </a:lnTo>
                      <a:lnTo>
                        <a:pt x="45" y="5"/>
                      </a:lnTo>
                      <a:lnTo>
                        <a:pt x="47" y="3"/>
                      </a:lnTo>
                      <a:lnTo>
                        <a:pt x="47" y="0"/>
                      </a:lnTo>
                      <a:lnTo>
                        <a:pt x="49" y="0"/>
                      </a:lnTo>
                      <a:lnTo>
                        <a:pt x="47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86" name="Group 1885">
                <a:extLst>
                  <a:ext uri="{FF2B5EF4-FFF2-40B4-BE49-F238E27FC236}">
                    <a16:creationId xmlns:a16="http://schemas.microsoft.com/office/drawing/2014/main" id="{FE1AC772-DB01-6C41-9880-10F42B2B4B0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88" y="672"/>
                <a:ext cx="24" cy="44"/>
                <a:chOff x="288" y="672"/>
                <a:chExt cx="24" cy="44"/>
              </a:xfrm>
            </p:grpSpPr>
            <p:sp>
              <p:nvSpPr>
                <p:cNvPr id="1887" name="Freeform 261">
                  <a:extLst>
                    <a:ext uri="{FF2B5EF4-FFF2-40B4-BE49-F238E27FC236}">
                      <a16:creationId xmlns:a16="http://schemas.microsoft.com/office/drawing/2014/main" id="{26F0A146-6657-E840-874A-7BF4A476D6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" y="672"/>
                  <a:ext cx="24" cy="44"/>
                </a:xfrm>
                <a:custGeom>
                  <a:avLst/>
                  <a:gdLst>
                    <a:gd name="T0" fmla="*/ 16 w 24"/>
                    <a:gd name="T1" fmla="*/ 2 h 44"/>
                    <a:gd name="T2" fmla="*/ 14 w 24"/>
                    <a:gd name="T3" fmla="*/ 2 h 44"/>
                    <a:gd name="T4" fmla="*/ 12 w 24"/>
                    <a:gd name="T5" fmla="*/ 4 h 44"/>
                    <a:gd name="T6" fmla="*/ 11 w 24"/>
                    <a:gd name="T7" fmla="*/ 5 h 44"/>
                    <a:gd name="T8" fmla="*/ 9 w 24"/>
                    <a:gd name="T9" fmla="*/ 7 h 44"/>
                    <a:gd name="T10" fmla="*/ 7 w 24"/>
                    <a:gd name="T11" fmla="*/ 9 h 44"/>
                    <a:gd name="T12" fmla="*/ 4 w 24"/>
                    <a:gd name="T13" fmla="*/ 9 h 44"/>
                    <a:gd name="T14" fmla="*/ 2 w 24"/>
                    <a:gd name="T15" fmla="*/ 7 h 44"/>
                    <a:gd name="T16" fmla="*/ 0 w 24"/>
                    <a:gd name="T17" fmla="*/ 7 h 44"/>
                    <a:gd name="T18" fmla="*/ 0 w 24"/>
                    <a:gd name="T19" fmla="*/ 9 h 44"/>
                    <a:gd name="T20" fmla="*/ 0 w 24"/>
                    <a:gd name="T21" fmla="*/ 10 h 44"/>
                    <a:gd name="T22" fmla="*/ 0 w 24"/>
                    <a:gd name="T23" fmla="*/ 12 h 44"/>
                    <a:gd name="T24" fmla="*/ 2 w 24"/>
                    <a:gd name="T25" fmla="*/ 14 h 44"/>
                    <a:gd name="T26" fmla="*/ 4 w 24"/>
                    <a:gd name="T27" fmla="*/ 14 h 44"/>
                    <a:gd name="T28" fmla="*/ 4 w 24"/>
                    <a:gd name="T29" fmla="*/ 15 h 44"/>
                    <a:gd name="T30" fmla="*/ 6 w 24"/>
                    <a:gd name="T31" fmla="*/ 19 h 44"/>
                    <a:gd name="T32" fmla="*/ 6 w 24"/>
                    <a:gd name="T33" fmla="*/ 21 h 44"/>
                    <a:gd name="T34" fmla="*/ 6 w 24"/>
                    <a:gd name="T35" fmla="*/ 22 h 44"/>
                    <a:gd name="T36" fmla="*/ 6 w 24"/>
                    <a:gd name="T37" fmla="*/ 26 h 44"/>
                    <a:gd name="T38" fmla="*/ 6 w 24"/>
                    <a:gd name="T39" fmla="*/ 27 h 44"/>
                    <a:gd name="T40" fmla="*/ 6 w 24"/>
                    <a:gd name="T41" fmla="*/ 29 h 44"/>
                    <a:gd name="T42" fmla="*/ 4 w 24"/>
                    <a:gd name="T43" fmla="*/ 31 h 44"/>
                    <a:gd name="T44" fmla="*/ 4 w 24"/>
                    <a:gd name="T45" fmla="*/ 32 h 44"/>
                    <a:gd name="T46" fmla="*/ 4 w 24"/>
                    <a:gd name="T47" fmla="*/ 34 h 44"/>
                    <a:gd name="T48" fmla="*/ 6 w 24"/>
                    <a:gd name="T49" fmla="*/ 36 h 44"/>
                    <a:gd name="T50" fmla="*/ 6 w 24"/>
                    <a:gd name="T51" fmla="*/ 37 h 44"/>
                    <a:gd name="T52" fmla="*/ 6 w 24"/>
                    <a:gd name="T53" fmla="*/ 39 h 44"/>
                    <a:gd name="T54" fmla="*/ 7 w 24"/>
                    <a:gd name="T55" fmla="*/ 41 h 44"/>
                    <a:gd name="T56" fmla="*/ 7 w 24"/>
                    <a:gd name="T57" fmla="*/ 42 h 44"/>
                    <a:gd name="T58" fmla="*/ 9 w 24"/>
                    <a:gd name="T59" fmla="*/ 44 h 44"/>
                    <a:gd name="T60" fmla="*/ 11 w 24"/>
                    <a:gd name="T61" fmla="*/ 44 h 44"/>
                    <a:gd name="T62" fmla="*/ 12 w 24"/>
                    <a:gd name="T63" fmla="*/ 44 h 44"/>
                    <a:gd name="T64" fmla="*/ 14 w 24"/>
                    <a:gd name="T65" fmla="*/ 42 h 44"/>
                    <a:gd name="T66" fmla="*/ 16 w 24"/>
                    <a:gd name="T67" fmla="*/ 41 h 44"/>
                    <a:gd name="T68" fmla="*/ 17 w 24"/>
                    <a:gd name="T69" fmla="*/ 39 h 44"/>
                    <a:gd name="T70" fmla="*/ 19 w 24"/>
                    <a:gd name="T71" fmla="*/ 39 h 44"/>
                    <a:gd name="T72" fmla="*/ 21 w 24"/>
                    <a:gd name="T73" fmla="*/ 39 h 44"/>
                    <a:gd name="T74" fmla="*/ 22 w 24"/>
                    <a:gd name="T75" fmla="*/ 39 h 44"/>
                    <a:gd name="T76" fmla="*/ 22 w 24"/>
                    <a:gd name="T77" fmla="*/ 37 h 44"/>
                    <a:gd name="T78" fmla="*/ 24 w 24"/>
                    <a:gd name="T79" fmla="*/ 36 h 44"/>
                    <a:gd name="T80" fmla="*/ 24 w 24"/>
                    <a:gd name="T81" fmla="*/ 34 h 44"/>
                    <a:gd name="T82" fmla="*/ 24 w 24"/>
                    <a:gd name="T83" fmla="*/ 31 h 44"/>
                    <a:gd name="T84" fmla="*/ 24 w 24"/>
                    <a:gd name="T85" fmla="*/ 29 h 44"/>
                    <a:gd name="T86" fmla="*/ 24 w 24"/>
                    <a:gd name="T87" fmla="*/ 24 h 44"/>
                    <a:gd name="T88" fmla="*/ 24 w 24"/>
                    <a:gd name="T89" fmla="*/ 22 h 44"/>
                    <a:gd name="T90" fmla="*/ 24 w 24"/>
                    <a:gd name="T91" fmla="*/ 21 h 44"/>
                    <a:gd name="T92" fmla="*/ 24 w 24"/>
                    <a:gd name="T93" fmla="*/ 19 h 44"/>
                    <a:gd name="T94" fmla="*/ 24 w 24"/>
                    <a:gd name="T95" fmla="*/ 15 h 44"/>
                    <a:gd name="T96" fmla="*/ 24 w 24"/>
                    <a:gd name="T97" fmla="*/ 10 h 44"/>
                    <a:gd name="T98" fmla="*/ 22 w 24"/>
                    <a:gd name="T99" fmla="*/ 7 h 44"/>
                    <a:gd name="T100" fmla="*/ 22 w 24"/>
                    <a:gd name="T101" fmla="*/ 5 h 44"/>
                    <a:gd name="T102" fmla="*/ 21 w 24"/>
                    <a:gd name="T103" fmla="*/ 4 h 44"/>
                    <a:gd name="T104" fmla="*/ 21 w 24"/>
                    <a:gd name="T105" fmla="*/ 2 h 44"/>
                    <a:gd name="T106" fmla="*/ 19 w 24"/>
                    <a:gd name="T107" fmla="*/ 2 h 44"/>
                    <a:gd name="T108" fmla="*/ 17 w 24"/>
                    <a:gd name="T109" fmla="*/ 0 h 44"/>
                    <a:gd name="T110" fmla="*/ 16 w 24"/>
                    <a:gd name="T111" fmla="*/ 0 h 44"/>
                    <a:gd name="T112" fmla="*/ 16 w 24"/>
                    <a:gd name="T113" fmla="*/ 2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4" h="44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4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7" y="9"/>
                      </a:lnTo>
                      <a:lnTo>
                        <a:pt x="4" y="9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2" y="14"/>
                      </a:lnTo>
                      <a:lnTo>
                        <a:pt x="4" y="14"/>
                      </a:lnTo>
                      <a:lnTo>
                        <a:pt x="4" y="15"/>
                      </a:lnTo>
                      <a:lnTo>
                        <a:pt x="6" y="19"/>
                      </a:lnTo>
                      <a:lnTo>
                        <a:pt x="6" y="21"/>
                      </a:lnTo>
                      <a:lnTo>
                        <a:pt x="6" y="22"/>
                      </a:lnTo>
                      <a:lnTo>
                        <a:pt x="6" y="26"/>
                      </a:lnTo>
                      <a:lnTo>
                        <a:pt x="6" y="27"/>
                      </a:lnTo>
                      <a:lnTo>
                        <a:pt x="6" y="29"/>
                      </a:lnTo>
                      <a:lnTo>
                        <a:pt x="4" y="31"/>
                      </a:lnTo>
                      <a:lnTo>
                        <a:pt x="4" y="32"/>
                      </a:lnTo>
                      <a:lnTo>
                        <a:pt x="4" y="34"/>
                      </a:lnTo>
                      <a:lnTo>
                        <a:pt x="6" y="36"/>
                      </a:lnTo>
                      <a:lnTo>
                        <a:pt x="6" y="37"/>
                      </a:lnTo>
                      <a:lnTo>
                        <a:pt x="6" y="39"/>
                      </a:lnTo>
                      <a:lnTo>
                        <a:pt x="7" y="41"/>
                      </a:lnTo>
                      <a:lnTo>
                        <a:pt x="7" y="42"/>
                      </a:lnTo>
                      <a:lnTo>
                        <a:pt x="9" y="44"/>
                      </a:lnTo>
                      <a:lnTo>
                        <a:pt x="11" y="44"/>
                      </a:lnTo>
                      <a:lnTo>
                        <a:pt x="12" y="44"/>
                      </a:lnTo>
                      <a:lnTo>
                        <a:pt x="14" y="42"/>
                      </a:lnTo>
                      <a:lnTo>
                        <a:pt x="16" y="41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21" y="39"/>
                      </a:lnTo>
                      <a:lnTo>
                        <a:pt x="22" y="39"/>
                      </a:lnTo>
                      <a:lnTo>
                        <a:pt x="22" y="37"/>
                      </a:lnTo>
                      <a:lnTo>
                        <a:pt x="24" y="36"/>
                      </a:lnTo>
                      <a:lnTo>
                        <a:pt x="24" y="34"/>
                      </a:lnTo>
                      <a:lnTo>
                        <a:pt x="24" y="31"/>
                      </a:lnTo>
                      <a:lnTo>
                        <a:pt x="24" y="29"/>
                      </a:lnTo>
                      <a:lnTo>
                        <a:pt x="24" y="24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4" y="19"/>
                      </a:lnTo>
                      <a:lnTo>
                        <a:pt x="24" y="15"/>
                      </a:lnTo>
                      <a:lnTo>
                        <a:pt x="24" y="10"/>
                      </a:lnTo>
                      <a:lnTo>
                        <a:pt x="22" y="7"/>
                      </a:lnTo>
                      <a:lnTo>
                        <a:pt x="22" y="5"/>
                      </a:lnTo>
                      <a:lnTo>
                        <a:pt x="21" y="4"/>
                      </a:lnTo>
                      <a:lnTo>
                        <a:pt x="21" y="2"/>
                      </a:lnTo>
                      <a:lnTo>
                        <a:pt x="19" y="2"/>
                      </a:lnTo>
                      <a:lnTo>
                        <a:pt x="17" y="0"/>
                      </a:lnTo>
                      <a:lnTo>
                        <a:pt x="16" y="0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88" name="Freeform 262">
                  <a:extLst>
                    <a:ext uri="{FF2B5EF4-FFF2-40B4-BE49-F238E27FC236}">
                      <a16:creationId xmlns:a16="http://schemas.microsoft.com/office/drawing/2014/main" id="{2ABFB626-03CB-8A46-B45E-574A606FE7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" y="672"/>
                  <a:ext cx="24" cy="44"/>
                </a:xfrm>
                <a:custGeom>
                  <a:avLst/>
                  <a:gdLst>
                    <a:gd name="T0" fmla="*/ 16 w 24"/>
                    <a:gd name="T1" fmla="*/ 2 h 44"/>
                    <a:gd name="T2" fmla="*/ 14 w 24"/>
                    <a:gd name="T3" fmla="*/ 2 h 44"/>
                    <a:gd name="T4" fmla="*/ 12 w 24"/>
                    <a:gd name="T5" fmla="*/ 4 h 44"/>
                    <a:gd name="T6" fmla="*/ 11 w 24"/>
                    <a:gd name="T7" fmla="*/ 5 h 44"/>
                    <a:gd name="T8" fmla="*/ 9 w 24"/>
                    <a:gd name="T9" fmla="*/ 7 h 44"/>
                    <a:gd name="T10" fmla="*/ 7 w 24"/>
                    <a:gd name="T11" fmla="*/ 9 h 44"/>
                    <a:gd name="T12" fmla="*/ 4 w 24"/>
                    <a:gd name="T13" fmla="*/ 9 h 44"/>
                    <a:gd name="T14" fmla="*/ 2 w 24"/>
                    <a:gd name="T15" fmla="*/ 7 h 44"/>
                    <a:gd name="T16" fmla="*/ 0 w 24"/>
                    <a:gd name="T17" fmla="*/ 7 h 44"/>
                    <a:gd name="T18" fmla="*/ 0 w 24"/>
                    <a:gd name="T19" fmla="*/ 9 h 44"/>
                    <a:gd name="T20" fmla="*/ 0 w 24"/>
                    <a:gd name="T21" fmla="*/ 10 h 44"/>
                    <a:gd name="T22" fmla="*/ 0 w 24"/>
                    <a:gd name="T23" fmla="*/ 12 h 44"/>
                    <a:gd name="T24" fmla="*/ 2 w 24"/>
                    <a:gd name="T25" fmla="*/ 14 h 44"/>
                    <a:gd name="T26" fmla="*/ 4 w 24"/>
                    <a:gd name="T27" fmla="*/ 14 h 44"/>
                    <a:gd name="T28" fmla="*/ 4 w 24"/>
                    <a:gd name="T29" fmla="*/ 15 h 44"/>
                    <a:gd name="T30" fmla="*/ 6 w 24"/>
                    <a:gd name="T31" fmla="*/ 19 h 44"/>
                    <a:gd name="T32" fmla="*/ 6 w 24"/>
                    <a:gd name="T33" fmla="*/ 21 h 44"/>
                    <a:gd name="T34" fmla="*/ 6 w 24"/>
                    <a:gd name="T35" fmla="*/ 22 h 44"/>
                    <a:gd name="T36" fmla="*/ 6 w 24"/>
                    <a:gd name="T37" fmla="*/ 26 h 44"/>
                    <a:gd name="T38" fmla="*/ 6 w 24"/>
                    <a:gd name="T39" fmla="*/ 27 h 44"/>
                    <a:gd name="T40" fmla="*/ 6 w 24"/>
                    <a:gd name="T41" fmla="*/ 29 h 44"/>
                    <a:gd name="T42" fmla="*/ 4 w 24"/>
                    <a:gd name="T43" fmla="*/ 31 h 44"/>
                    <a:gd name="T44" fmla="*/ 4 w 24"/>
                    <a:gd name="T45" fmla="*/ 32 h 44"/>
                    <a:gd name="T46" fmla="*/ 4 w 24"/>
                    <a:gd name="T47" fmla="*/ 34 h 44"/>
                    <a:gd name="T48" fmla="*/ 6 w 24"/>
                    <a:gd name="T49" fmla="*/ 36 h 44"/>
                    <a:gd name="T50" fmla="*/ 6 w 24"/>
                    <a:gd name="T51" fmla="*/ 37 h 44"/>
                    <a:gd name="T52" fmla="*/ 6 w 24"/>
                    <a:gd name="T53" fmla="*/ 39 h 44"/>
                    <a:gd name="T54" fmla="*/ 7 w 24"/>
                    <a:gd name="T55" fmla="*/ 41 h 44"/>
                    <a:gd name="T56" fmla="*/ 7 w 24"/>
                    <a:gd name="T57" fmla="*/ 42 h 44"/>
                    <a:gd name="T58" fmla="*/ 9 w 24"/>
                    <a:gd name="T59" fmla="*/ 44 h 44"/>
                    <a:gd name="T60" fmla="*/ 11 w 24"/>
                    <a:gd name="T61" fmla="*/ 44 h 44"/>
                    <a:gd name="T62" fmla="*/ 12 w 24"/>
                    <a:gd name="T63" fmla="*/ 44 h 44"/>
                    <a:gd name="T64" fmla="*/ 14 w 24"/>
                    <a:gd name="T65" fmla="*/ 42 h 44"/>
                    <a:gd name="T66" fmla="*/ 16 w 24"/>
                    <a:gd name="T67" fmla="*/ 41 h 44"/>
                    <a:gd name="T68" fmla="*/ 17 w 24"/>
                    <a:gd name="T69" fmla="*/ 39 h 44"/>
                    <a:gd name="T70" fmla="*/ 19 w 24"/>
                    <a:gd name="T71" fmla="*/ 39 h 44"/>
                    <a:gd name="T72" fmla="*/ 21 w 24"/>
                    <a:gd name="T73" fmla="*/ 39 h 44"/>
                    <a:gd name="T74" fmla="*/ 22 w 24"/>
                    <a:gd name="T75" fmla="*/ 39 h 44"/>
                    <a:gd name="T76" fmla="*/ 22 w 24"/>
                    <a:gd name="T77" fmla="*/ 37 h 44"/>
                    <a:gd name="T78" fmla="*/ 24 w 24"/>
                    <a:gd name="T79" fmla="*/ 36 h 44"/>
                    <a:gd name="T80" fmla="*/ 24 w 24"/>
                    <a:gd name="T81" fmla="*/ 34 h 44"/>
                    <a:gd name="T82" fmla="*/ 24 w 24"/>
                    <a:gd name="T83" fmla="*/ 31 h 44"/>
                    <a:gd name="T84" fmla="*/ 24 w 24"/>
                    <a:gd name="T85" fmla="*/ 29 h 44"/>
                    <a:gd name="T86" fmla="*/ 24 w 24"/>
                    <a:gd name="T87" fmla="*/ 24 h 44"/>
                    <a:gd name="T88" fmla="*/ 24 w 24"/>
                    <a:gd name="T89" fmla="*/ 22 h 44"/>
                    <a:gd name="T90" fmla="*/ 24 w 24"/>
                    <a:gd name="T91" fmla="*/ 21 h 44"/>
                    <a:gd name="T92" fmla="*/ 24 w 24"/>
                    <a:gd name="T93" fmla="*/ 19 h 44"/>
                    <a:gd name="T94" fmla="*/ 24 w 24"/>
                    <a:gd name="T95" fmla="*/ 15 h 44"/>
                    <a:gd name="T96" fmla="*/ 24 w 24"/>
                    <a:gd name="T97" fmla="*/ 10 h 44"/>
                    <a:gd name="T98" fmla="*/ 22 w 24"/>
                    <a:gd name="T99" fmla="*/ 7 h 44"/>
                    <a:gd name="T100" fmla="*/ 22 w 24"/>
                    <a:gd name="T101" fmla="*/ 5 h 44"/>
                    <a:gd name="T102" fmla="*/ 21 w 24"/>
                    <a:gd name="T103" fmla="*/ 4 h 44"/>
                    <a:gd name="T104" fmla="*/ 21 w 24"/>
                    <a:gd name="T105" fmla="*/ 2 h 44"/>
                    <a:gd name="T106" fmla="*/ 19 w 24"/>
                    <a:gd name="T107" fmla="*/ 2 h 44"/>
                    <a:gd name="T108" fmla="*/ 17 w 24"/>
                    <a:gd name="T109" fmla="*/ 0 h 44"/>
                    <a:gd name="T110" fmla="*/ 16 w 24"/>
                    <a:gd name="T111" fmla="*/ 0 h 44"/>
                    <a:gd name="T112" fmla="*/ 16 w 24"/>
                    <a:gd name="T113" fmla="*/ 2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4" h="44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4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7" y="9"/>
                      </a:lnTo>
                      <a:lnTo>
                        <a:pt x="4" y="9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2" y="14"/>
                      </a:lnTo>
                      <a:lnTo>
                        <a:pt x="4" y="14"/>
                      </a:lnTo>
                      <a:lnTo>
                        <a:pt x="4" y="15"/>
                      </a:lnTo>
                      <a:lnTo>
                        <a:pt x="6" y="19"/>
                      </a:lnTo>
                      <a:lnTo>
                        <a:pt x="6" y="21"/>
                      </a:lnTo>
                      <a:lnTo>
                        <a:pt x="6" y="22"/>
                      </a:lnTo>
                      <a:lnTo>
                        <a:pt x="6" y="26"/>
                      </a:lnTo>
                      <a:lnTo>
                        <a:pt x="6" y="27"/>
                      </a:lnTo>
                      <a:lnTo>
                        <a:pt x="6" y="29"/>
                      </a:lnTo>
                      <a:lnTo>
                        <a:pt x="4" y="31"/>
                      </a:lnTo>
                      <a:lnTo>
                        <a:pt x="4" y="32"/>
                      </a:lnTo>
                      <a:lnTo>
                        <a:pt x="4" y="34"/>
                      </a:lnTo>
                      <a:lnTo>
                        <a:pt x="6" y="36"/>
                      </a:lnTo>
                      <a:lnTo>
                        <a:pt x="6" y="37"/>
                      </a:lnTo>
                      <a:lnTo>
                        <a:pt x="6" y="39"/>
                      </a:lnTo>
                      <a:lnTo>
                        <a:pt x="7" y="41"/>
                      </a:lnTo>
                      <a:lnTo>
                        <a:pt x="7" y="42"/>
                      </a:lnTo>
                      <a:lnTo>
                        <a:pt x="9" y="44"/>
                      </a:lnTo>
                      <a:lnTo>
                        <a:pt x="11" y="44"/>
                      </a:lnTo>
                      <a:lnTo>
                        <a:pt x="12" y="44"/>
                      </a:lnTo>
                      <a:lnTo>
                        <a:pt x="14" y="42"/>
                      </a:lnTo>
                      <a:lnTo>
                        <a:pt x="16" y="41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21" y="39"/>
                      </a:lnTo>
                      <a:lnTo>
                        <a:pt x="22" y="39"/>
                      </a:lnTo>
                      <a:lnTo>
                        <a:pt x="22" y="37"/>
                      </a:lnTo>
                      <a:lnTo>
                        <a:pt x="24" y="36"/>
                      </a:lnTo>
                      <a:lnTo>
                        <a:pt x="24" y="34"/>
                      </a:lnTo>
                      <a:lnTo>
                        <a:pt x="24" y="31"/>
                      </a:lnTo>
                      <a:lnTo>
                        <a:pt x="24" y="29"/>
                      </a:lnTo>
                      <a:lnTo>
                        <a:pt x="24" y="24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4" y="19"/>
                      </a:lnTo>
                      <a:lnTo>
                        <a:pt x="24" y="15"/>
                      </a:lnTo>
                      <a:lnTo>
                        <a:pt x="24" y="10"/>
                      </a:lnTo>
                      <a:lnTo>
                        <a:pt x="22" y="7"/>
                      </a:lnTo>
                      <a:lnTo>
                        <a:pt x="22" y="5"/>
                      </a:lnTo>
                      <a:lnTo>
                        <a:pt x="21" y="4"/>
                      </a:lnTo>
                      <a:lnTo>
                        <a:pt x="21" y="2"/>
                      </a:lnTo>
                      <a:lnTo>
                        <a:pt x="19" y="2"/>
                      </a:lnTo>
                      <a:lnTo>
                        <a:pt x="17" y="0"/>
                      </a:lnTo>
                      <a:lnTo>
                        <a:pt x="16" y="0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654" name="Group 1653">
              <a:extLst>
                <a:ext uri="{FF2B5EF4-FFF2-40B4-BE49-F238E27FC236}">
                  <a16:creationId xmlns:a16="http://schemas.microsoft.com/office/drawing/2014/main" id="{DC843F12-B39A-7446-96C0-598BDB87CFC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81" y="325"/>
              <a:ext cx="118" cy="56"/>
              <a:chOff x="481" y="325"/>
              <a:chExt cx="118" cy="56"/>
            </a:xfrm>
          </p:grpSpPr>
          <p:sp>
            <p:nvSpPr>
              <p:cNvPr id="1882" name="Freeform 256">
                <a:extLst>
                  <a:ext uri="{FF2B5EF4-FFF2-40B4-BE49-F238E27FC236}">
                    <a16:creationId xmlns:a16="http://schemas.microsoft.com/office/drawing/2014/main" id="{3C872DF3-69E0-EA49-815C-CAE8F4C5A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" y="325"/>
                <a:ext cx="118" cy="56"/>
              </a:xfrm>
              <a:custGeom>
                <a:avLst/>
                <a:gdLst>
                  <a:gd name="T0" fmla="*/ 103 w 118"/>
                  <a:gd name="T1" fmla="*/ 10 h 56"/>
                  <a:gd name="T2" fmla="*/ 97 w 118"/>
                  <a:gd name="T3" fmla="*/ 12 h 56"/>
                  <a:gd name="T4" fmla="*/ 87 w 118"/>
                  <a:gd name="T5" fmla="*/ 12 h 56"/>
                  <a:gd name="T6" fmla="*/ 81 w 118"/>
                  <a:gd name="T7" fmla="*/ 5 h 56"/>
                  <a:gd name="T8" fmla="*/ 72 w 118"/>
                  <a:gd name="T9" fmla="*/ 3 h 56"/>
                  <a:gd name="T10" fmla="*/ 67 w 118"/>
                  <a:gd name="T11" fmla="*/ 2 h 56"/>
                  <a:gd name="T12" fmla="*/ 59 w 118"/>
                  <a:gd name="T13" fmla="*/ 5 h 56"/>
                  <a:gd name="T14" fmla="*/ 52 w 118"/>
                  <a:gd name="T15" fmla="*/ 7 h 56"/>
                  <a:gd name="T16" fmla="*/ 54 w 118"/>
                  <a:gd name="T17" fmla="*/ 13 h 56"/>
                  <a:gd name="T18" fmla="*/ 52 w 118"/>
                  <a:gd name="T19" fmla="*/ 22 h 56"/>
                  <a:gd name="T20" fmla="*/ 52 w 118"/>
                  <a:gd name="T21" fmla="*/ 29 h 56"/>
                  <a:gd name="T22" fmla="*/ 45 w 118"/>
                  <a:gd name="T23" fmla="*/ 27 h 56"/>
                  <a:gd name="T24" fmla="*/ 37 w 118"/>
                  <a:gd name="T25" fmla="*/ 24 h 56"/>
                  <a:gd name="T26" fmla="*/ 30 w 118"/>
                  <a:gd name="T27" fmla="*/ 19 h 56"/>
                  <a:gd name="T28" fmla="*/ 28 w 118"/>
                  <a:gd name="T29" fmla="*/ 13 h 56"/>
                  <a:gd name="T30" fmla="*/ 20 w 118"/>
                  <a:gd name="T31" fmla="*/ 10 h 56"/>
                  <a:gd name="T32" fmla="*/ 11 w 118"/>
                  <a:gd name="T33" fmla="*/ 13 h 56"/>
                  <a:gd name="T34" fmla="*/ 5 w 118"/>
                  <a:gd name="T35" fmla="*/ 20 h 56"/>
                  <a:gd name="T36" fmla="*/ 5 w 118"/>
                  <a:gd name="T37" fmla="*/ 27 h 56"/>
                  <a:gd name="T38" fmla="*/ 0 w 118"/>
                  <a:gd name="T39" fmla="*/ 35 h 56"/>
                  <a:gd name="T40" fmla="*/ 1 w 118"/>
                  <a:gd name="T41" fmla="*/ 42 h 56"/>
                  <a:gd name="T42" fmla="*/ 0 w 118"/>
                  <a:gd name="T43" fmla="*/ 47 h 56"/>
                  <a:gd name="T44" fmla="*/ 5 w 118"/>
                  <a:gd name="T45" fmla="*/ 47 h 56"/>
                  <a:gd name="T46" fmla="*/ 11 w 118"/>
                  <a:gd name="T47" fmla="*/ 42 h 56"/>
                  <a:gd name="T48" fmla="*/ 18 w 118"/>
                  <a:gd name="T49" fmla="*/ 39 h 56"/>
                  <a:gd name="T50" fmla="*/ 25 w 118"/>
                  <a:gd name="T51" fmla="*/ 39 h 56"/>
                  <a:gd name="T52" fmla="*/ 33 w 118"/>
                  <a:gd name="T53" fmla="*/ 39 h 56"/>
                  <a:gd name="T54" fmla="*/ 40 w 118"/>
                  <a:gd name="T55" fmla="*/ 39 h 56"/>
                  <a:gd name="T56" fmla="*/ 50 w 118"/>
                  <a:gd name="T57" fmla="*/ 39 h 56"/>
                  <a:gd name="T58" fmla="*/ 60 w 118"/>
                  <a:gd name="T59" fmla="*/ 37 h 56"/>
                  <a:gd name="T60" fmla="*/ 65 w 118"/>
                  <a:gd name="T61" fmla="*/ 39 h 56"/>
                  <a:gd name="T62" fmla="*/ 67 w 118"/>
                  <a:gd name="T63" fmla="*/ 44 h 56"/>
                  <a:gd name="T64" fmla="*/ 72 w 118"/>
                  <a:gd name="T65" fmla="*/ 46 h 56"/>
                  <a:gd name="T66" fmla="*/ 77 w 118"/>
                  <a:gd name="T67" fmla="*/ 49 h 56"/>
                  <a:gd name="T68" fmla="*/ 84 w 118"/>
                  <a:gd name="T69" fmla="*/ 52 h 56"/>
                  <a:gd name="T70" fmla="*/ 89 w 118"/>
                  <a:gd name="T71" fmla="*/ 56 h 56"/>
                  <a:gd name="T72" fmla="*/ 96 w 118"/>
                  <a:gd name="T73" fmla="*/ 54 h 56"/>
                  <a:gd name="T74" fmla="*/ 103 w 118"/>
                  <a:gd name="T75" fmla="*/ 56 h 56"/>
                  <a:gd name="T76" fmla="*/ 109 w 118"/>
                  <a:gd name="T77" fmla="*/ 52 h 56"/>
                  <a:gd name="T78" fmla="*/ 113 w 118"/>
                  <a:gd name="T79" fmla="*/ 47 h 56"/>
                  <a:gd name="T80" fmla="*/ 118 w 118"/>
                  <a:gd name="T81" fmla="*/ 46 h 56"/>
                  <a:gd name="T82" fmla="*/ 116 w 118"/>
                  <a:gd name="T83" fmla="*/ 37 h 56"/>
                  <a:gd name="T84" fmla="*/ 111 w 118"/>
                  <a:gd name="T85" fmla="*/ 30 h 56"/>
                  <a:gd name="T86" fmla="*/ 111 w 118"/>
                  <a:gd name="T87" fmla="*/ 24 h 56"/>
                  <a:gd name="T88" fmla="*/ 109 w 118"/>
                  <a:gd name="T89" fmla="*/ 22 h 56"/>
                  <a:gd name="T90" fmla="*/ 109 w 118"/>
                  <a:gd name="T91" fmla="*/ 17 h 56"/>
                  <a:gd name="T92" fmla="*/ 104 w 118"/>
                  <a:gd name="T93" fmla="*/ 15 h 56"/>
                  <a:gd name="T94" fmla="*/ 104 w 118"/>
                  <a:gd name="T95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8" h="56">
                    <a:moveTo>
                      <a:pt x="106" y="12"/>
                    </a:moveTo>
                    <a:lnTo>
                      <a:pt x="104" y="12"/>
                    </a:lnTo>
                    <a:lnTo>
                      <a:pt x="104" y="10"/>
                    </a:lnTo>
                    <a:lnTo>
                      <a:pt x="103" y="10"/>
                    </a:lnTo>
                    <a:lnTo>
                      <a:pt x="101" y="10"/>
                    </a:lnTo>
                    <a:lnTo>
                      <a:pt x="99" y="10"/>
                    </a:lnTo>
                    <a:lnTo>
                      <a:pt x="99" y="12"/>
                    </a:lnTo>
                    <a:lnTo>
                      <a:pt x="97" y="12"/>
                    </a:lnTo>
                    <a:lnTo>
                      <a:pt x="96" y="12"/>
                    </a:lnTo>
                    <a:lnTo>
                      <a:pt x="92" y="12"/>
                    </a:lnTo>
                    <a:lnTo>
                      <a:pt x="89" y="12"/>
                    </a:lnTo>
                    <a:lnTo>
                      <a:pt x="87" y="12"/>
                    </a:lnTo>
                    <a:lnTo>
                      <a:pt x="86" y="10"/>
                    </a:lnTo>
                    <a:lnTo>
                      <a:pt x="82" y="8"/>
                    </a:lnTo>
                    <a:lnTo>
                      <a:pt x="82" y="7"/>
                    </a:lnTo>
                    <a:lnTo>
                      <a:pt x="81" y="5"/>
                    </a:lnTo>
                    <a:lnTo>
                      <a:pt x="77" y="5"/>
                    </a:lnTo>
                    <a:lnTo>
                      <a:pt x="76" y="3"/>
                    </a:lnTo>
                    <a:lnTo>
                      <a:pt x="74" y="3"/>
                    </a:lnTo>
                    <a:lnTo>
                      <a:pt x="72" y="3"/>
                    </a:lnTo>
                    <a:lnTo>
                      <a:pt x="72" y="2"/>
                    </a:lnTo>
                    <a:lnTo>
                      <a:pt x="70" y="2"/>
                    </a:lnTo>
                    <a:lnTo>
                      <a:pt x="70" y="0"/>
                    </a:lnTo>
                    <a:lnTo>
                      <a:pt x="67" y="2"/>
                    </a:lnTo>
                    <a:lnTo>
                      <a:pt x="65" y="2"/>
                    </a:lnTo>
                    <a:lnTo>
                      <a:pt x="64" y="3"/>
                    </a:lnTo>
                    <a:lnTo>
                      <a:pt x="62" y="5"/>
                    </a:lnTo>
                    <a:lnTo>
                      <a:pt x="59" y="5"/>
                    </a:lnTo>
                    <a:lnTo>
                      <a:pt x="57" y="5"/>
                    </a:lnTo>
                    <a:lnTo>
                      <a:pt x="55" y="7"/>
                    </a:lnTo>
                    <a:lnTo>
                      <a:pt x="54" y="7"/>
                    </a:lnTo>
                    <a:lnTo>
                      <a:pt x="52" y="7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4" y="12"/>
                    </a:lnTo>
                    <a:lnTo>
                      <a:pt x="54" y="13"/>
                    </a:lnTo>
                    <a:lnTo>
                      <a:pt x="54" y="15"/>
                    </a:lnTo>
                    <a:lnTo>
                      <a:pt x="52" y="17"/>
                    </a:lnTo>
                    <a:lnTo>
                      <a:pt x="52" y="19"/>
                    </a:lnTo>
                    <a:lnTo>
                      <a:pt x="52" y="22"/>
                    </a:lnTo>
                    <a:lnTo>
                      <a:pt x="52" y="25"/>
                    </a:lnTo>
                    <a:lnTo>
                      <a:pt x="50" y="27"/>
                    </a:lnTo>
                    <a:lnTo>
                      <a:pt x="50" y="29"/>
                    </a:lnTo>
                    <a:lnTo>
                      <a:pt x="52" y="29"/>
                    </a:lnTo>
                    <a:lnTo>
                      <a:pt x="50" y="29"/>
                    </a:lnTo>
                    <a:lnTo>
                      <a:pt x="49" y="27"/>
                    </a:lnTo>
                    <a:lnTo>
                      <a:pt x="47" y="27"/>
                    </a:lnTo>
                    <a:lnTo>
                      <a:pt x="45" y="27"/>
                    </a:lnTo>
                    <a:lnTo>
                      <a:pt x="42" y="27"/>
                    </a:lnTo>
                    <a:lnTo>
                      <a:pt x="40" y="25"/>
                    </a:lnTo>
                    <a:lnTo>
                      <a:pt x="38" y="25"/>
                    </a:lnTo>
                    <a:lnTo>
                      <a:pt x="37" y="24"/>
                    </a:lnTo>
                    <a:lnTo>
                      <a:pt x="37" y="22"/>
                    </a:lnTo>
                    <a:lnTo>
                      <a:pt x="35" y="22"/>
                    </a:lnTo>
                    <a:lnTo>
                      <a:pt x="32" y="20"/>
                    </a:lnTo>
                    <a:lnTo>
                      <a:pt x="30" y="19"/>
                    </a:lnTo>
                    <a:lnTo>
                      <a:pt x="30" y="17"/>
                    </a:lnTo>
                    <a:lnTo>
                      <a:pt x="30" y="15"/>
                    </a:lnTo>
                    <a:lnTo>
                      <a:pt x="28" y="15"/>
                    </a:lnTo>
                    <a:lnTo>
                      <a:pt x="28" y="13"/>
                    </a:lnTo>
                    <a:lnTo>
                      <a:pt x="27" y="13"/>
                    </a:lnTo>
                    <a:lnTo>
                      <a:pt x="25" y="12"/>
                    </a:lnTo>
                    <a:lnTo>
                      <a:pt x="23" y="10"/>
                    </a:lnTo>
                    <a:lnTo>
                      <a:pt x="20" y="10"/>
                    </a:lnTo>
                    <a:lnTo>
                      <a:pt x="17" y="12"/>
                    </a:lnTo>
                    <a:lnTo>
                      <a:pt x="15" y="12"/>
                    </a:lnTo>
                    <a:lnTo>
                      <a:pt x="13" y="12"/>
                    </a:lnTo>
                    <a:lnTo>
                      <a:pt x="11" y="13"/>
                    </a:lnTo>
                    <a:lnTo>
                      <a:pt x="10" y="15"/>
                    </a:lnTo>
                    <a:lnTo>
                      <a:pt x="8" y="17"/>
                    </a:lnTo>
                    <a:lnTo>
                      <a:pt x="6" y="19"/>
                    </a:lnTo>
                    <a:lnTo>
                      <a:pt x="5" y="20"/>
                    </a:lnTo>
                    <a:lnTo>
                      <a:pt x="5" y="22"/>
                    </a:lnTo>
                    <a:lnTo>
                      <a:pt x="5" y="24"/>
                    </a:lnTo>
                    <a:lnTo>
                      <a:pt x="5" y="25"/>
                    </a:lnTo>
                    <a:lnTo>
                      <a:pt x="5" y="27"/>
                    </a:lnTo>
                    <a:lnTo>
                      <a:pt x="3" y="29"/>
                    </a:lnTo>
                    <a:lnTo>
                      <a:pt x="1" y="30"/>
                    </a:lnTo>
                    <a:lnTo>
                      <a:pt x="1" y="32"/>
                    </a:lnTo>
                    <a:lnTo>
                      <a:pt x="0" y="35"/>
                    </a:lnTo>
                    <a:lnTo>
                      <a:pt x="0" y="37"/>
                    </a:lnTo>
                    <a:lnTo>
                      <a:pt x="0" y="39"/>
                    </a:lnTo>
                    <a:lnTo>
                      <a:pt x="1" y="40"/>
                    </a:lnTo>
                    <a:lnTo>
                      <a:pt x="1" y="42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0" y="47"/>
                    </a:lnTo>
                    <a:lnTo>
                      <a:pt x="1" y="47"/>
                    </a:lnTo>
                    <a:lnTo>
                      <a:pt x="1" y="49"/>
                    </a:lnTo>
                    <a:lnTo>
                      <a:pt x="3" y="47"/>
                    </a:lnTo>
                    <a:lnTo>
                      <a:pt x="5" y="47"/>
                    </a:lnTo>
                    <a:lnTo>
                      <a:pt x="6" y="46"/>
                    </a:lnTo>
                    <a:lnTo>
                      <a:pt x="8" y="44"/>
                    </a:lnTo>
                    <a:lnTo>
                      <a:pt x="10" y="42"/>
                    </a:lnTo>
                    <a:lnTo>
                      <a:pt x="11" y="42"/>
                    </a:lnTo>
                    <a:lnTo>
                      <a:pt x="11" y="40"/>
                    </a:lnTo>
                    <a:lnTo>
                      <a:pt x="13" y="40"/>
                    </a:lnTo>
                    <a:lnTo>
                      <a:pt x="17" y="40"/>
                    </a:lnTo>
                    <a:lnTo>
                      <a:pt x="18" y="39"/>
                    </a:lnTo>
                    <a:lnTo>
                      <a:pt x="20" y="37"/>
                    </a:lnTo>
                    <a:lnTo>
                      <a:pt x="22" y="37"/>
                    </a:lnTo>
                    <a:lnTo>
                      <a:pt x="23" y="37"/>
                    </a:lnTo>
                    <a:lnTo>
                      <a:pt x="25" y="39"/>
                    </a:lnTo>
                    <a:lnTo>
                      <a:pt x="27" y="39"/>
                    </a:lnTo>
                    <a:lnTo>
                      <a:pt x="28" y="40"/>
                    </a:lnTo>
                    <a:lnTo>
                      <a:pt x="30" y="39"/>
                    </a:lnTo>
                    <a:lnTo>
                      <a:pt x="33" y="39"/>
                    </a:lnTo>
                    <a:lnTo>
                      <a:pt x="35" y="39"/>
                    </a:lnTo>
                    <a:lnTo>
                      <a:pt x="37" y="39"/>
                    </a:lnTo>
                    <a:lnTo>
                      <a:pt x="38" y="39"/>
                    </a:lnTo>
                    <a:lnTo>
                      <a:pt x="40" y="39"/>
                    </a:lnTo>
                    <a:lnTo>
                      <a:pt x="42" y="39"/>
                    </a:lnTo>
                    <a:lnTo>
                      <a:pt x="45" y="39"/>
                    </a:lnTo>
                    <a:lnTo>
                      <a:pt x="49" y="39"/>
                    </a:lnTo>
                    <a:lnTo>
                      <a:pt x="50" y="39"/>
                    </a:lnTo>
                    <a:lnTo>
                      <a:pt x="52" y="39"/>
                    </a:lnTo>
                    <a:lnTo>
                      <a:pt x="55" y="39"/>
                    </a:lnTo>
                    <a:lnTo>
                      <a:pt x="57" y="39"/>
                    </a:lnTo>
                    <a:lnTo>
                      <a:pt x="60" y="37"/>
                    </a:lnTo>
                    <a:lnTo>
                      <a:pt x="62" y="37"/>
                    </a:lnTo>
                    <a:lnTo>
                      <a:pt x="64" y="37"/>
                    </a:lnTo>
                    <a:lnTo>
                      <a:pt x="65" y="37"/>
                    </a:lnTo>
                    <a:lnTo>
                      <a:pt x="65" y="39"/>
                    </a:lnTo>
                    <a:lnTo>
                      <a:pt x="65" y="40"/>
                    </a:lnTo>
                    <a:lnTo>
                      <a:pt x="65" y="42"/>
                    </a:lnTo>
                    <a:lnTo>
                      <a:pt x="65" y="44"/>
                    </a:lnTo>
                    <a:lnTo>
                      <a:pt x="67" y="44"/>
                    </a:lnTo>
                    <a:lnTo>
                      <a:pt x="67" y="46"/>
                    </a:lnTo>
                    <a:lnTo>
                      <a:pt x="69" y="46"/>
                    </a:lnTo>
                    <a:lnTo>
                      <a:pt x="70" y="46"/>
                    </a:lnTo>
                    <a:lnTo>
                      <a:pt x="72" y="46"/>
                    </a:lnTo>
                    <a:lnTo>
                      <a:pt x="74" y="46"/>
                    </a:lnTo>
                    <a:lnTo>
                      <a:pt x="76" y="47"/>
                    </a:lnTo>
                    <a:lnTo>
                      <a:pt x="77" y="47"/>
                    </a:lnTo>
                    <a:lnTo>
                      <a:pt x="77" y="49"/>
                    </a:lnTo>
                    <a:lnTo>
                      <a:pt x="79" y="49"/>
                    </a:lnTo>
                    <a:lnTo>
                      <a:pt x="81" y="51"/>
                    </a:lnTo>
                    <a:lnTo>
                      <a:pt x="82" y="52"/>
                    </a:lnTo>
                    <a:lnTo>
                      <a:pt x="84" y="52"/>
                    </a:lnTo>
                    <a:lnTo>
                      <a:pt x="84" y="54"/>
                    </a:lnTo>
                    <a:lnTo>
                      <a:pt x="86" y="54"/>
                    </a:lnTo>
                    <a:lnTo>
                      <a:pt x="87" y="56"/>
                    </a:lnTo>
                    <a:lnTo>
                      <a:pt x="89" y="56"/>
                    </a:lnTo>
                    <a:lnTo>
                      <a:pt x="91" y="56"/>
                    </a:lnTo>
                    <a:lnTo>
                      <a:pt x="92" y="56"/>
                    </a:lnTo>
                    <a:lnTo>
                      <a:pt x="94" y="56"/>
                    </a:lnTo>
                    <a:lnTo>
                      <a:pt x="96" y="54"/>
                    </a:lnTo>
                    <a:lnTo>
                      <a:pt x="97" y="54"/>
                    </a:lnTo>
                    <a:lnTo>
                      <a:pt x="99" y="54"/>
                    </a:lnTo>
                    <a:lnTo>
                      <a:pt x="101" y="54"/>
                    </a:lnTo>
                    <a:lnTo>
                      <a:pt x="103" y="56"/>
                    </a:lnTo>
                    <a:lnTo>
                      <a:pt x="106" y="56"/>
                    </a:lnTo>
                    <a:lnTo>
                      <a:pt x="108" y="54"/>
                    </a:lnTo>
                    <a:lnTo>
                      <a:pt x="109" y="54"/>
                    </a:lnTo>
                    <a:lnTo>
                      <a:pt x="109" y="52"/>
                    </a:lnTo>
                    <a:lnTo>
                      <a:pt x="109" y="51"/>
                    </a:lnTo>
                    <a:lnTo>
                      <a:pt x="109" y="49"/>
                    </a:lnTo>
                    <a:lnTo>
                      <a:pt x="109" y="47"/>
                    </a:lnTo>
                    <a:lnTo>
                      <a:pt x="113" y="47"/>
                    </a:lnTo>
                    <a:lnTo>
                      <a:pt x="114" y="47"/>
                    </a:lnTo>
                    <a:lnTo>
                      <a:pt x="116" y="47"/>
                    </a:lnTo>
                    <a:lnTo>
                      <a:pt x="118" y="47"/>
                    </a:lnTo>
                    <a:lnTo>
                      <a:pt x="118" y="46"/>
                    </a:lnTo>
                    <a:lnTo>
                      <a:pt x="118" y="44"/>
                    </a:lnTo>
                    <a:lnTo>
                      <a:pt x="116" y="42"/>
                    </a:lnTo>
                    <a:lnTo>
                      <a:pt x="116" y="40"/>
                    </a:lnTo>
                    <a:lnTo>
                      <a:pt x="116" y="37"/>
                    </a:lnTo>
                    <a:lnTo>
                      <a:pt x="114" y="35"/>
                    </a:lnTo>
                    <a:lnTo>
                      <a:pt x="113" y="34"/>
                    </a:lnTo>
                    <a:lnTo>
                      <a:pt x="113" y="32"/>
                    </a:lnTo>
                    <a:lnTo>
                      <a:pt x="111" y="30"/>
                    </a:lnTo>
                    <a:lnTo>
                      <a:pt x="109" y="29"/>
                    </a:lnTo>
                    <a:lnTo>
                      <a:pt x="109" y="27"/>
                    </a:lnTo>
                    <a:lnTo>
                      <a:pt x="111" y="25"/>
                    </a:lnTo>
                    <a:lnTo>
                      <a:pt x="111" y="24"/>
                    </a:lnTo>
                    <a:lnTo>
                      <a:pt x="113" y="24"/>
                    </a:lnTo>
                    <a:lnTo>
                      <a:pt x="113" y="22"/>
                    </a:lnTo>
                    <a:lnTo>
                      <a:pt x="111" y="22"/>
                    </a:lnTo>
                    <a:lnTo>
                      <a:pt x="109" y="22"/>
                    </a:lnTo>
                    <a:lnTo>
                      <a:pt x="109" y="20"/>
                    </a:lnTo>
                    <a:lnTo>
                      <a:pt x="109" y="19"/>
                    </a:lnTo>
                    <a:lnTo>
                      <a:pt x="111" y="17"/>
                    </a:lnTo>
                    <a:lnTo>
                      <a:pt x="109" y="17"/>
                    </a:lnTo>
                    <a:lnTo>
                      <a:pt x="108" y="17"/>
                    </a:lnTo>
                    <a:lnTo>
                      <a:pt x="106" y="17"/>
                    </a:lnTo>
                    <a:lnTo>
                      <a:pt x="106" y="15"/>
                    </a:lnTo>
                    <a:lnTo>
                      <a:pt x="104" y="15"/>
                    </a:lnTo>
                    <a:lnTo>
                      <a:pt x="103" y="15"/>
                    </a:lnTo>
                    <a:lnTo>
                      <a:pt x="103" y="13"/>
                    </a:lnTo>
                    <a:lnTo>
                      <a:pt x="104" y="13"/>
                    </a:lnTo>
                    <a:lnTo>
                      <a:pt x="104" y="12"/>
                    </a:lnTo>
                    <a:lnTo>
                      <a:pt x="106" y="12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883" name="Freeform 257">
                <a:extLst>
                  <a:ext uri="{FF2B5EF4-FFF2-40B4-BE49-F238E27FC236}">
                    <a16:creationId xmlns:a16="http://schemas.microsoft.com/office/drawing/2014/main" id="{27B79AA0-E8BD-3C49-82B9-2CF12110C3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" y="325"/>
                <a:ext cx="118" cy="56"/>
              </a:xfrm>
              <a:custGeom>
                <a:avLst/>
                <a:gdLst>
                  <a:gd name="T0" fmla="*/ 103 w 118"/>
                  <a:gd name="T1" fmla="*/ 10 h 56"/>
                  <a:gd name="T2" fmla="*/ 97 w 118"/>
                  <a:gd name="T3" fmla="*/ 12 h 56"/>
                  <a:gd name="T4" fmla="*/ 87 w 118"/>
                  <a:gd name="T5" fmla="*/ 12 h 56"/>
                  <a:gd name="T6" fmla="*/ 81 w 118"/>
                  <a:gd name="T7" fmla="*/ 5 h 56"/>
                  <a:gd name="T8" fmla="*/ 72 w 118"/>
                  <a:gd name="T9" fmla="*/ 3 h 56"/>
                  <a:gd name="T10" fmla="*/ 67 w 118"/>
                  <a:gd name="T11" fmla="*/ 2 h 56"/>
                  <a:gd name="T12" fmla="*/ 59 w 118"/>
                  <a:gd name="T13" fmla="*/ 5 h 56"/>
                  <a:gd name="T14" fmla="*/ 52 w 118"/>
                  <a:gd name="T15" fmla="*/ 7 h 56"/>
                  <a:gd name="T16" fmla="*/ 54 w 118"/>
                  <a:gd name="T17" fmla="*/ 13 h 56"/>
                  <a:gd name="T18" fmla="*/ 52 w 118"/>
                  <a:gd name="T19" fmla="*/ 22 h 56"/>
                  <a:gd name="T20" fmla="*/ 52 w 118"/>
                  <a:gd name="T21" fmla="*/ 29 h 56"/>
                  <a:gd name="T22" fmla="*/ 45 w 118"/>
                  <a:gd name="T23" fmla="*/ 27 h 56"/>
                  <a:gd name="T24" fmla="*/ 37 w 118"/>
                  <a:gd name="T25" fmla="*/ 24 h 56"/>
                  <a:gd name="T26" fmla="*/ 30 w 118"/>
                  <a:gd name="T27" fmla="*/ 19 h 56"/>
                  <a:gd name="T28" fmla="*/ 28 w 118"/>
                  <a:gd name="T29" fmla="*/ 13 h 56"/>
                  <a:gd name="T30" fmla="*/ 20 w 118"/>
                  <a:gd name="T31" fmla="*/ 10 h 56"/>
                  <a:gd name="T32" fmla="*/ 11 w 118"/>
                  <a:gd name="T33" fmla="*/ 13 h 56"/>
                  <a:gd name="T34" fmla="*/ 5 w 118"/>
                  <a:gd name="T35" fmla="*/ 20 h 56"/>
                  <a:gd name="T36" fmla="*/ 5 w 118"/>
                  <a:gd name="T37" fmla="*/ 27 h 56"/>
                  <a:gd name="T38" fmla="*/ 0 w 118"/>
                  <a:gd name="T39" fmla="*/ 35 h 56"/>
                  <a:gd name="T40" fmla="*/ 1 w 118"/>
                  <a:gd name="T41" fmla="*/ 42 h 56"/>
                  <a:gd name="T42" fmla="*/ 0 w 118"/>
                  <a:gd name="T43" fmla="*/ 47 h 56"/>
                  <a:gd name="T44" fmla="*/ 5 w 118"/>
                  <a:gd name="T45" fmla="*/ 47 h 56"/>
                  <a:gd name="T46" fmla="*/ 11 w 118"/>
                  <a:gd name="T47" fmla="*/ 42 h 56"/>
                  <a:gd name="T48" fmla="*/ 18 w 118"/>
                  <a:gd name="T49" fmla="*/ 39 h 56"/>
                  <a:gd name="T50" fmla="*/ 25 w 118"/>
                  <a:gd name="T51" fmla="*/ 39 h 56"/>
                  <a:gd name="T52" fmla="*/ 33 w 118"/>
                  <a:gd name="T53" fmla="*/ 39 h 56"/>
                  <a:gd name="T54" fmla="*/ 40 w 118"/>
                  <a:gd name="T55" fmla="*/ 39 h 56"/>
                  <a:gd name="T56" fmla="*/ 50 w 118"/>
                  <a:gd name="T57" fmla="*/ 39 h 56"/>
                  <a:gd name="T58" fmla="*/ 60 w 118"/>
                  <a:gd name="T59" fmla="*/ 37 h 56"/>
                  <a:gd name="T60" fmla="*/ 65 w 118"/>
                  <a:gd name="T61" fmla="*/ 39 h 56"/>
                  <a:gd name="T62" fmla="*/ 67 w 118"/>
                  <a:gd name="T63" fmla="*/ 44 h 56"/>
                  <a:gd name="T64" fmla="*/ 72 w 118"/>
                  <a:gd name="T65" fmla="*/ 46 h 56"/>
                  <a:gd name="T66" fmla="*/ 77 w 118"/>
                  <a:gd name="T67" fmla="*/ 49 h 56"/>
                  <a:gd name="T68" fmla="*/ 84 w 118"/>
                  <a:gd name="T69" fmla="*/ 52 h 56"/>
                  <a:gd name="T70" fmla="*/ 89 w 118"/>
                  <a:gd name="T71" fmla="*/ 56 h 56"/>
                  <a:gd name="T72" fmla="*/ 96 w 118"/>
                  <a:gd name="T73" fmla="*/ 54 h 56"/>
                  <a:gd name="T74" fmla="*/ 103 w 118"/>
                  <a:gd name="T75" fmla="*/ 56 h 56"/>
                  <a:gd name="T76" fmla="*/ 109 w 118"/>
                  <a:gd name="T77" fmla="*/ 52 h 56"/>
                  <a:gd name="T78" fmla="*/ 113 w 118"/>
                  <a:gd name="T79" fmla="*/ 47 h 56"/>
                  <a:gd name="T80" fmla="*/ 118 w 118"/>
                  <a:gd name="T81" fmla="*/ 46 h 56"/>
                  <a:gd name="T82" fmla="*/ 116 w 118"/>
                  <a:gd name="T83" fmla="*/ 37 h 56"/>
                  <a:gd name="T84" fmla="*/ 111 w 118"/>
                  <a:gd name="T85" fmla="*/ 30 h 56"/>
                  <a:gd name="T86" fmla="*/ 111 w 118"/>
                  <a:gd name="T87" fmla="*/ 24 h 56"/>
                  <a:gd name="T88" fmla="*/ 109 w 118"/>
                  <a:gd name="T89" fmla="*/ 22 h 56"/>
                  <a:gd name="T90" fmla="*/ 109 w 118"/>
                  <a:gd name="T91" fmla="*/ 17 h 56"/>
                  <a:gd name="T92" fmla="*/ 104 w 118"/>
                  <a:gd name="T93" fmla="*/ 15 h 56"/>
                  <a:gd name="T94" fmla="*/ 104 w 118"/>
                  <a:gd name="T95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8" h="56">
                    <a:moveTo>
                      <a:pt x="106" y="12"/>
                    </a:moveTo>
                    <a:lnTo>
                      <a:pt x="104" y="12"/>
                    </a:lnTo>
                    <a:lnTo>
                      <a:pt x="104" y="10"/>
                    </a:lnTo>
                    <a:lnTo>
                      <a:pt x="103" y="10"/>
                    </a:lnTo>
                    <a:lnTo>
                      <a:pt x="101" y="10"/>
                    </a:lnTo>
                    <a:lnTo>
                      <a:pt x="99" y="10"/>
                    </a:lnTo>
                    <a:lnTo>
                      <a:pt x="99" y="12"/>
                    </a:lnTo>
                    <a:lnTo>
                      <a:pt x="97" y="12"/>
                    </a:lnTo>
                    <a:lnTo>
                      <a:pt x="96" y="12"/>
                    </a:lnTo>
                    <a:lnTo>
                      <a:pt x="92" y="12"/>
                    </a:lnTo>
                    <a:lnTo>
                      <a:pt x="89" y="12"/>
                    </a:lnTo>
                    <a:lnTo>
                      <a:pt x="87" y="12"/>
                    </a:lnTo>
                    <a:lnTo>
                      <a:pt x="86" y="10"/>
                    </a:lnTo>
                    <a:lnTo>
                      <a:pt x="82" y="8"/>
                    </a:lnTo>
                    <a:lnTo>
                      <a:pt x="82" y="7"/>
                    </a:lnTo>
                    <a:lnTo>
                      <a:pt x="81" y="5"/>
                    </a:lnTo>
                    <a:lnTo>
                      <a:pt x="77" y="5"/>
                    </a:lnTo>
                    <a:lnTo>
                      <a:pt x="76" y="3"/>
                    </a:lnTo>
                    <a:lnTo>
                      <a:pt x="74" y="3"/>
                    </a:lnTo>
                    <a:lnTo>
                      <a:pt x="72" y="3"/>
                    </a:lnTo>
                    <a:lnTo>
                      <a:pt x="72" y="2"/>
                    </a:lnTo>
                    <a:lnTo>
                      <a:pt x="70" y="2"/>
                    </a:lnTo>
                    <a:lnTo>
                      <a:pt x="70" y="0"/>
                    </a:lnTo>
                    <a:lnTo>
                      <a:pt x="67" y="2"/>
                    </a:lnTo>
                    <a:lnTo>
                      <a:pt x="65" y="2"/>
                    </a:lnTo>
                    <a:lnTo>
                      <a:pt x="64" y="3"/>
                    </a:lnTo>
                    <a:lnTo>
                      <a:pt x="62" y="5"/>
                    </a:lnTo>
                    <a:lnTo>
                      <a:pt x="59" y="5"/>
                    </a:lnTo>
                    <a:lnTo>
                      <a:pt x="57" y="5"/>
                    </a:lnTo>
                    <a:lnTo>
                      <a:pt x="55" y="7"/>
                    </a:lnTo>
                    <a:lnTo>
                      <a:pt x="54" y="7"/>
                    </a:lnTo>
                    <a:lnTo>
                      <a:pt x="52" y="7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4" y="12"/>
                    </a:lnTo>
                    <a:lnTo>
                      <a:pt x="54" y="13"/>
                    </a:lnTo>
                    <a:lnTo>
                      <a:pt x="54" y="15"/>
                    </a:lnTo>
                    <a:lnTo>
                      <a:pt x="52" y="17"/>
                    </a:lnTo>
                    <a:lnTo>
                      <a:pt x="52" y="19"/>
                    </a:lnTo>
                    <a:lnTo>
                      <a:pt x="52" y="22"/>
                    </a:lnTo>
                    <a:lnTo>
                      <a:pt x="52" y="25"/>
                    </a:lnTo>
                    <a:lnTo>
                      <a:pt x="50" y="27"/>
                    </a:lnTo>
                    <a:lnTo>
                      <a:pt x="50" y="29"/>
                    </a:lnTo>
                    <a:lnTo>
                      <a:pt x="52" y="29"/>
                    </a:lnTo>
                    <a:lnTo>
                      <a:pt x="50" y="29"/>
                    </a:lnTo>
                    <a:lnTo>
                      <a:pt x="49" y="27"/>
                    </a:lnTo>
                    <a:lnTo>
                      <a:pt x="47" y="27"/>
                    </a:lnTo>
                    <a:lnTo>
                      <a:pt x="45" y="27"/>
                    </a:lnTo>
                    <a:lnTo>
                      <a:pt x="42" y="27"/>
                    </a:lnTo>
                    <a:lnTo>
                      <a:pt x="40" y="25"/>
                    </a:lnTo>
                    <a:lnTo>
                      <a:pt x="38" y="25"/>
                    </a:lnTo>
                    <a:lnTo>
                      <a:pt x="37" y="24"/>
                    </a:lnTo>
                    <a:lnTo>
                      <a:pt x="37" y="22"/>
                    </a:lnTo>
                    <a:lnTo>
                      <a:pt x="35" y="22"/>
                    </a:lnTo>
                    <a:lnTo>
                      <a:pt x="32" y="20"/>
                    </a:lnTo>
                    <a:lnTo>
                      <a:pt x="30" y="19"/>
                    </a:lnTo>
                    <a:lnTo>
                      <a:pt x="30" y="17"/>
                    </a:lnTo>
                    <a:lnTo>
                      <a:pt x="30" y="15"/>
                    </a:lnTo>
                    <a:lnTo>
                      <a:pt x="28" y="15"/>
                    </a:lnTo>
                    <a:lnTo>
                      <a:pt x="28" y="13"/>
                    </a:lnTo>
                    <a:lnTo>
                      <a:pt x="27" y="13"/>
                    </a:lnTo>
                    <a:lnTo>
                      <a:pt x="25" y="12"/>
                    </a:lnTo>
                    <a:lnTo>
                      <a:pt x="23" y="10"/>
                    </a:lnTo>
                    <a:lnTo>
                      <a:pt x="20" y="10"/>
                    </a:lnTo>
                    <a:lnTo>
                      <a:pt x="17" y="12"/>
                    </a:lnTo>
                    <a:lnTo>
                      <a:pt x="15" y="12"/>
                    </a:lnTo>
                    <a:lnTo>
                      <a:pt x="13" y="12"/>
                    </a:lnTo>
                    <a:lnTo>
                      <a:pt x="11" y="13"/>
                    </a:lnTo>
                    <a:lnTo>
                      <a:pt x="10" y="15"/>
                    </a:lnTo>
                    <a:lnTo>
                      <a:pt x="8" y="17"/>
                    </a:lnTo>
                    <a:lnTo>
                      <a:pt x="6" y="19"/>
                    </a:lnTo>
                    <a:lnTo>
                      <a:pt x="5" y="20"/>
                    </a:lnTo>
                    <a:lnTo>
                      <a:pt x="5" y="22"/>
                    </a:lnTo>
                    <a:lnTo>
                      <a:pt x="5" y="24"/>
                    </a:lnTo>
                    <a:lnTo>
                      <a:pt x="5" y="25"/>
                    </a:lnTo>
                    <a:lnTo>
                      <a:pt x="5" y="27"/>
                    </a:lnTo>
                    <a:lnTo>
                      <a:pt x="3" y="29"/>
                    </a:lnTo>
                    <a:lnTo>
                      <a:pt x="1" y="30"/>
                    </a:lnTo>
                    <a:lnTo>
                      <a:pt x="1" y="32"/>
                    </a:lnTo>
                    <a:lnTo>
                      <a:pt x="0" y="35"/>
                    </a:lnTo>
                    <a:lnTo>
                      <a:pt x="0" y="37"/>
                    </a:lnTo>
                    <a:lnTo>
                      <a:pt x="0" y="39"/>
                    </a:lnTo>
                    <a:lnTo>
                      <a:pt x="1" y="40"/>
                    </a:lnTo>
                    <a:lnTo>
                      <a:pt x="1" y="42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0" y="47"/>
                    </a:lnTo>
                    <a:lnTo>
                      <a:pt x="1" y="47"/>
                    </a:lnTo>
                    <a:lnTo>
                      <a:pt x="1" y="49"/>
                    </a:lnTo>
                    <a:lnTo>
                      <a:pt x="3" y="47"/>
                    </a:lnTo>
                    <a:lnTo>
                      <a:pt x="5" y="47"/>
                    </a:lnTo>
                    <a:lnTo>
                      <a:pt x="6" y="46"/>
                    </a:lnTo>
                    <a:lnTo>
                      <a:pt x="8" y="44"/>
                    </a:lnTo>
                    <a:lnTo>
                      <a:pt x="10" y="42"/>
                    </a:lnTo>
                    <a:lnTo>
                      <a:pt x="11" y="42"/>
                    </a:lnTo>
                    <a:lnTo>
                      <a:pt x="11" y="40"/>
                    </a:lnTo>
                    <a:lnTo>
                      <a:pt x="13" y="40"/>
                    </a:lnTo>
                    <a:lnTo>
                      <a:pt x="17" y="40"/>
                    </a:lnTo>
                    <a:lnTo>
                      <a:pt x="18" y="39"/>
                    </a:lnTo>
                    <a:lnTo>
                      <a:pt x="20" y="37"/>
                    </a:lnTo>
                    <a:lnTo>
                      <a:pt x="22" y="37"/>
                    </a:lnTo>
                    <a:lnTo>
                      <a:pt x="23" y="37"/>
                    </a:lnTo>
                    <a:lnTo>
                      <a:pt x="25" y="39"/>
                    </a:lnTo>
                    <a:lnTo>
                      <a:pt x="27" y="39"/>
                    </a:lnTo>
                    <a:lnTo>
                      <a:pt x="28" y="40"/>
                    </a:lnTo>
                    <a:lnTo>
                      <a:pt x="30" y="39"/>
                    </a:lnTo>
                    <a:lnTo>
                      <a:pt x="33" y="39"/>
                    </a:lnTo>
                    <a:lnTo>
                      <a:pt x="35" y="39"/>
                    </a:lnTo>
                    <a:lnTo>
                      <a:pt x="37" y="39"/>
                    </a:lnTo>
                    <a:lnTo>
                      <a:pt x="38" y="39"/>
                    </a:lnTo>
                    <a:lnTo>
                      <a:pt x="40" y="39"/>
                    </a:lnTo>
                    <a:lnTo>
                      <a:pt x="42" y="39"/>
                    </a:lnTo>
                    <a:lnTo>
                      <a:pt x="45" y="39"/>
                    </a:lnTo>
                    <a:lnTo>
                      <a:pt x="49" y="39"/>
                    </a:lnTo>
                    <a:lnTo>
                      <a:pt x="50" y="39"/>
                    </a:lnTo>
                    <a:lnTo>
                      <a:pt x="52" y="39"/>
                    </a:lnTo>
                    <a:lnTo>
                      <a:pt x="55" y="39"/>
                    </a:lnTo>
                    <a:lnTo>
                      <a:pt x="57" y="39"/>
                    </a:lnTo>
                    <a:lnTo>
                      <a:pt x="60" y="37"/>
                    </a:lnTo>
                    <a:lnTo>
                      <a:pt x="62" y="37"/>
                    </a:lnTo>
                    <a:lnTo>
                      <a:pt x="64" y="37"/>
                    </a:lnTo>
                    <a:lnTo>
                      <a:pt x="65" y="37"/>
                    </a:lnTo>
                    <a:lnTo>
                      <a:pt x="65" y="39"/>
                    </a:lnTo>
                    <a:lnTo>
                      <a:pt x="65" y="40"/>
                    </a:lnTo>
                    <a:lnTo>
                      <a:pt x="65" y="42"/>
                    </a:lnTo>
                    <a:lnTo>
                      <a:pt x="65" y="44"/>
                    </a:lnTo>
                    <a:lnTo>
                      <a:pt x="67" y="44"/>
                    </a:lnTo>
                    <a:lnTo>
                      <a:pt x="67" y="46"/>
                    </a:lnTo>
                    <a:lnTo>
                      <a:pt x="69" y="46"/>
                    </a:lnTo>
                    <a:lnTo>
                      <a:pt x="70" y="46"/>
                    </a:lnTo>
                    <a:lnTo>
                      <a:pt x="72" y="46"/>
                    </a:lnTo>
                    <a:lnTo>
                      <a:pt x="74" y="46"/>
                    </a:lnTo>
                    <a:lnTo>
                      <a:pt x="76" y="47"/>
                    </a:lnTo>
                    <a:lnTo>
                      <a:pt x="77" y="47"/>
                    </a:lnTo>
                    <a:lnTo>
                      <a:pt x="77" y="49"/>
                    </a:lnTo>
                    <a:lnTo>
                      <a:pt x="79" y="49"/>
                    </a:lnTo>
                    <a:lnTo>
                      <a:pt x="81" y="51"/>
                    </a:lnTo>
                    <a:lnTo>
                      <a:pt x="82" y="52"/>
                    </a:lnTo>
                    <a:lnTo>
                      <a:pt x="84" y="52"/>
                    </a:lnTo>
                    <a:lnTo>
                      <a:pt x="84" y="54"/>
                    </a:lnTo>
                    <a:lnTo>
                      <a:pt x="86" y="54"/>
                    </a:lnTo>
                    <a:lnTo>
                      <a:pt x="87" y="56"/>
                    </a:lnTo>
                    <a:lnTo>
                      <a:pt x="89" y="56"/>
                    </a:lnTo>
                    <a:lnTo>
                      <a:pt x="91" y="56"/>
                    </a:lnTo>
                    <a:lnTo>
                      <a:pt x="92" y="56"/>
                    </a:lnTo>
                    <a:lnTo>
                      <a:pt x="94" y="56"/>
                    </a:lnTo>
                    <a:lnTo>
                      <a:pt x="96" y="54"/>
                    </a:lnTo>
                    <a:lnTo>
                      <a:pt x="97" y="54"/>
                    </a:lnTo>
                    <a:lnTo>
                      <a:pt x="99" y="54"/>
                    </a:lnTo>
                    <a:lnTo>
                      <a:pt x="101" y="54"/>
                    </a:lnTo>
                    <a:lnTo>
                      <a:pt x="103" y="56"/>
                    </a:lnTo>
                    <a:lnTo>
                      <a:pt x="106" y="56"/>
                    </a:lnTo>
                    <a:lnTo>
                      <a:pt x="108" y="54"/>
                    </a:lnTo>
                    <a:lnTo>
                      <a:pt x="109" y="54"/>
                    </a:lnTo>
                    <a:lnTo>
                      <a:pt x="109" y="52"/>
                    </a:lnTo>
                    <a:lnTo>
                      <a:pt x="109" y="51"/>
                    </a:lnTo>
                    <a:lnTo>
                      <a:pt x="109" y="49"/>
                    </a:lnTo>
                    <a:lnTo>
                      <a:pt x="109" y="47"/>
                    </a:lnTo>
                    <a:lnTo>
                      <a:pt x="113" y="47"/>
                    </a:lnTo>
                    <a:lnTo>
                      <a:pt x="114" y="47"/>
                    </a:lnTo>
                    <a:lnTo>
                      <a:pt x="116" y="47"/>
                    </a:lnTo>
                    <a:lnTo>
                      <a:pt x="118" y="47"/>
                    </a:lnTo>
                    <a:lnTo>
                      <a:pt x="118" y="46"/>
                    </a:lnTo>
                    <a:lnTo>
                      <a:pt x="118" y="44"/>
                    </a:lnTo>
                    <a:lnTo>
                      <a:pt x="116" y="42"/>
                    </a:lnTo>
                    <a:lnTo>
                      <a:pt x="116" y="40"/>
                    </a:lnTo>
                    <a:lnTo>
                      <a:pt x="116" y="37"/>
                    </a:lnTo>
                    <a:lnTo>
                      <a:pt x="114" y="35"/>
                    </a:lnTo>
                    <a:lnTo>
                      <a:pt x="113" y="34"/>
                    </a:lnTo>
                    <a:lnTo>
                      <a:pt x="113" y="32"/>
                    </a:lnTo>
                    <a:lnTo>
                      <a:pt x="111" y="30"/>
                    </a:lnTo>
                    <a:lnTo>
                      <a:pt x="109" y="29"/>
                    </a:lnTo>
                    <a:lnTo>
                      <a:pt x="109" y="27"/>
                    </a:lnTo>
                    <a:lnTo>
                      <a:pt x="111" y="25"/>
                    </a:lnTo>
                    <a:lnTo>
                      <a:pt x="111" y="24"/>
                    </a:lnTo>
                    <a:lnTo>
                      <a:pt x="113" y="24"/>
                    </a:lnTo>
                    <a:lnTo>
                      <a:pt x="113" y="22"/>
                    </a:lnTo>
                    <a:lnTo>
                      <a:pt x="111" y="22"/>
                    </a:lnTo>
                    <a:lnTo>
                      <a:pt x="109" y="22"/>
                    </a:lnTo>
                    <a:lnTo>
                      <a:pt x="109" y="20"/>
                    </a:lnTo>
                    <a:lnTo>
                      <a:pt x="109" y="19"/>
                    </a:lnTo>
                    <a:lnTo>
                      <a:pt x="111" y="17"/>
                    </a:lnTo>
                    <a:lnTo>
                      <a:pt x="109" y="17"/>
                    </a:lnTo>
                    <a:lnTo>
                      <a:pt x="108" y="17"/>
                    </a:lnTo>
                    <a:lnTo>
                      <a:pt x="106" y="17"/>
                    </a:lnTo>
                    <a:lnTo>
                      <a:pt x="106" y="15"/>
                    </a:lnTo>
                    <a:lnTo>
                      <a:pt x="104" y="15"/>
                    </a:lnTo>
                    <a:lnTo>
                      <a:pt x="103" y="15"/>
                    </a:lnTo>
                    <a:lnTo>
                      <a:pt x="103" y="13"/>
                    </a:lnTo>
                    <a:lnTo>
                      <a:pt x="104" y="13"/>
                    </a:lnTo>
                    <a:lnTo>
                      <a:pt x="104" y="12"/>
                    </a:lnTo>
                    <a:lnTo>
                      <a:pt x="106" y="12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55" name="Group 1654">
              <a:extLst>
                <a:ext uri="{FF2B5EF4-FFF2-40B4-BE49-F238E27FC236}">
                  <a16:creationId xmlns:a16="http://schemas.microsoft.com/office/drawing/2014/main" id="{5ACC8B5F-FE57-C542-BA61-C5ACE429931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72" y="362"/>
              <a:ext cx="103" cy="57"/>
              <a:chOff x="472" y="362"/>
              <a:chExt cx="103" cy="57"/>
            </a:xfrm>
          </p:grpSpPr>
          <p:sp>
            <p:nvSpPr>
              <p:cNvPr id="1880" name="Freeform 254">
                <a:extLst>
                  <a:ext uri="{FF2B5EF4-FFF2-40B4-BE49-F238E27FC236}">
                    <a16:creationId xmlns:a16="http://schemas.microsoft.com/office/drawing/2014/main" id="{5668B631-7A9A-C248-B896-194EA127CE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" y="362"/>
                <a:ext cx="103" cy="57"/>
              </a:xfrm>
              <a:custGeom>
                <a:avLst/>
                <a:gdLst>
                  <a:gd name="T0" fmla="*/ 95 w 103"/>
                  <a:gd name="T1" fmla="*/ 17 h 57"/>
                  <a:gd name="T2" fmla="*/ 91 w 103"/>
                  <a:gd name="T3" fmla="*/ 15 h 57"/>
                  <a:gd name="T4" fmla="*/ 86 w 103"/>
                  <a:gd name="T5" fmla="*/ 12 h 57"/>
                  <a:gd name="T6" fmla="*/ 83 w 103"/>
                  <a:gd name="T7" fmla="*/ 9 h 57"/>
                  <a:gd name="T8" fmla="*/ 78 w 103"/>
                  <a:gd name="T9" fmla="*/ 9 h 57"/>
                  <a:gd name="T10" fmla="*/ 74 w 103"/>
                  <a:gd name="T11" fmla="*/ 7 h 57"/>
                  <a:gd name="T12" fmla="*/ 74 w 103"/>
                  <a:gd name="T13" fmla="*/ 2 h 57"/>
                  <a:gd name="T14" fmla="*/ 71 w 103"/>
                  <a:gd name="T15" fmla="*/ 0 h 57"/>
                  <a:gd name="T16" fmla="*/ 64 w 103"/>
                  <a:gd name="T17" fmla="*/ 2 h 57"/>
                  <a:gd name="T18" fmla="*/ 58 w 103"/>
                  <a:gd name="T19" fmla="*/ 2 h 57"/>
                  <a:gd name="T20" fmla="*/ 49 w 103"/>
                  <a:gd name="T21" fmla="*/ 2 h 57"/>
                  <a:gd name="T22" fmla="*/ 44 w 103"/>
                  <a:gd name="T23" fmla="*/ 2 h 57"/>
                  <a:gd name="T24" fmla="*/ 37 w 103"/>
                  <a:gd name="T25" fmla="*/ 3 h 57"/>
                  <a:gd name="T26" fmla="*/ 32 w 103"/>
                  <a:gd name="T27" fmla="*/ 0 h 57"/>
                  <a:gd name="T28" fmla="*/ 27 w 103"/>
                  <a:gd name="T29" fmla="*/ 2 h 57"/>
                  <a:gd name="T30" fmla="*/ 20 w 103"/>
                  <a:gd name="T31" fmla="*/ 3 h 57"/>
                  <a:gd name="T32" fmla="*/ 17 w 103"/>
                  <a:gd name="T33" fmla="*/ 7 h 57"/>
                  <a:gd name="T34" fmla="*/ 12 w 103"/>
                  <a:gd name="T35" fmla="*/ 10 h 57"/>
                  <a:gd name="T36" fmla="*/ 7 w 103"/>
                  <a:gd name="T37" fmla="*/ 14 h 57"/>
                  <a:gd name="T38" fmla="*/ 4 w 103"/>
                  <a:gd name="T39" fmla="*/ 19 h 57"/>
                  <a:gd name="T40" fmla="*/ 0 w 103"/>
                  <a:gd name="T41" fmla="*/ 24 h 57"/>
                  <a:gd name="T42" fmla="*/ 2 w 103"/>
                  <a:gd name="T43" fmla="*/ 29 h 57"/>
                  <a:gd name="T44" fmla="*/ 0 w 103"/>
                  <a:gd name="T45" fmla="*/ 32 h 57"/>
                  <a:gd name="T46" fmla="*/ 2 w 103"/>
                  <a:gd name="T47" fmla="*/ 37 h 57"/>
                  <a:gd name="T48" fmla="*/ 7 w 103"/>
                  <a:gd name="T49" fmla="*/ 35 h 57"/>
                  <a:gd name="T50" fmla="*/ 14 w 103"/>
                  <a:gd name="T51" fmla="*/ 32 h 57"/>
                  <a:gd name="T52" fmla="*/ 20 w 103"/>
                  <a:gd name="T53" fmla="*/ 32 h 57"/>
                  <a:gd name="T54" fmla="*/ 26 w 103"/>
                  <a:gd name="T55" fmla="*/ 34 h 57"/>
                  <a:gd name="T56" fmla="*/ 39 w 103"/>
                  <a:gd name="T57" fmla="*/ 34 h 57"/>
                  <a:gd name="T58" fmla="*/ 42 w 103"/>
                  <a:gd name="T59" fmla="*/ 37 h 57"/>
                  <a:gd name="T60" fmla="*/ 41 w 103"/>
                  <a:gd name="T61" fmla="*/ 41 h 57"/>
                  <a:gd name="T62" fmla="*/ 41 w 103"/>
                  <a:gd name="T63" fmla="*/ 44 h 57"/>
                  <a:gd name="T64" fmla="*/ 41 w 103"/>
                  <a:gd name="T65" fmla="*/ 49 h 57"/>
                  <a:gd name="T66" fmla="*/ 46 w 103"/>
                  <a:gd name="T67" fmla="*/ 49 h 57"/>
                  <a:gd name="T68" fmla="*/ 51 w 103"/>
                  <a:gd name="T69" fmla="*/ 51 h 57"/>
                  <a:gd name="T70" fmla="*/ 52 w 103"/>
                  <a:gd name="T71" fmla="*/ 56 h 57"/>
                  <a:gd name="T72" fmla="*/ 58 w 103"/>
                  <a:gd name="T73" fmla="*/ 56 h 57"/>
                  <a:gd name="T74" fmla="*/ 63 w 103"/>
                  <a:gd name="T75" fmla="*/ 56 h 57"/>
                  <a:gd name="T76" fmla="*/ 66 w 103"/>
                  <a:gd name="T77" fmla="*/ 54 h 57"/>
                  <a:gd name="T78" fmla="*/ 73 w 103"/>
                  <a:gd name="T79" fmla="*/ 52 h 57"/>
                  <a:gd name="T80" fmla="*/ 81 w 103"/>
                  <a:gd name="T81" fmla="*/ 52 h 57"/>
                  <a:gd name="T82" fmla="*/ 85 w 103"/>
                  <a:gd name="T83" fmla="*/ 47 h 57"/>
                  <a:gd name="T84" fmla="*/ 85 w 103"/>
                  <a:gd name="T85" fmla="*/ 42 h 57"/>
                  <a:gd name="T86" fmla="*/ 86 w 103"/>
                  <a:gd name="T87" fmla="*/ 37 h 57"/>
                  <a:gd name="T88" fmla="*/ 91 w 103"/>
                  <a:gd name="T89" fmla="*/ 34 h 57"/>
                  <a:gd name="T90" fmla="*/ 101 w 103"/>
                  <a:gd name="T91" fmla="*/ 30 h 57"/>
                  <a:gd name="T92" fmla="*/ 101 w 103"/>
                  <a:gd name="T93" fmla="*/ 27 h 57"/>
                  <a:gd name="T94" fmla="*/ 98 w 103"/>
                  <a:gd name="T95" fmla="*/ 25 h 57"/>
                  <a:gd name="T96" fmla="*/ 95 w 103"/>
                  <a:gd name="T97" fmla="*/ 24 h 57"/>
                  <a:gd name="T98" fmla="*/ 96 w 103"/>
                  <a:gd name="T99" fmla="*/ 2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3" h="57">
                    <a:moveTo>
                      <a:pt x="98" y="19"/>
                    </a:moveTo>
                    <a:lnTo>
                      <a:pt x="96" y="19"/>
                    </a:lnTo>
                    <a:lnTo>
                      <a:pt x="95" y="17"/>
                    </a:lnTo>
                    <a:lnTo>
                      <a:pt x="93" y="17"/>
                    </a:lnTo>
                    <a:lnTo>
                      <a:pt x="93" y="15"/>
                    </a:lnTo>
                    <a:lnTo>
                      <a:pt x="91" y="15"/>
                    </a:lnTo>
                    <a:lnTo>
                      <a:pt x="90" y="14"/>
                    </a:lnTo>
                    <a:lnTo>
                      <a:pt x="88" y="12"/>
                    </a:lnTo>
                    <a:lnTo>
                      <a:pt x="86" y="12"/>
                    </a:lnTo>
                    <a:lnTo>
                      <a:pt x="86" y="10"/>
                    </a:lnTo>
                    <a:lnTo>
                      <a:pt x="85" y="10"/>
                    </a:lnTo>
                    <a:lnTo>
                      <a:pt x="83" y="9"/>
                    </a:lnTo>
                    <a:lnTo>
                      <a:pt x="81" y="9"/>
                    </a:lnTo>
                    <a:lnTo>
                      <a:pt x="79" y="9"/>
                    </a:lnTo>
                    <a:lnTo>
                      <a:pt x="78" y="9"/>
                    </a:lnTo>
                    <a:lnTo>
                      <a:pt x="76" y="9"/>
                    </a:lnTo>
                    <a:lnTo>
                      <a:pt x="76" y="7"/>
                    </a:lnTo>
                    <a:lnTo>
                      <a:pt x="74" y="7"/>
                    </a:lnTo>
                    <a:lnTo>
                      <a:pt x="74" y="5"/>
                    </a:lnTo>
                    <a:lnTo>
                      <a:pt x="74" y="3"/>
                    </a:lnTo>
                    <a:lnTo>
                      <a:pt x="74" y="2"/>
                    </a:lnTo>
                    <a:lnTo>
                      <a:pt x="74" y="0"/>
                    </a:lnTo>
                    <a:lnTo>
                      <a:pt x="73" y="0"/>
                    </a:lnTo>
                    <a:lnTo>
                      <a:pt x="71" y="0"/>
                    </a:lnTo>
                    <a:lnTo>
                      <a:pt x="69" y="0"/>
                    </a:lnTo>
                    <a:lnTo>
                      <a:pt x="66" y="2"/>
                    </a:lnTo>
                    <a:lnTo>
                      <a:pt x="64" y="2"/>
                    </a:lnTo>
                    <a:lnTo>
                      <a:pt x="61" y="2"/>
                    </a:lnTo>
                    <a:lnTo>
                      <a:pt x="59" y="2"/>
                    </a:lnTo>
                    <a:lnTo>
                      <a:pt x="58" y="2"/>
                    </a:lnTo>
                    <a:lnTo>
                      <a:pt x="54" y="2"/>
                    </a:lnTo>
                    <a:lnTo>
                      <a:pt x="51" y="2"/>
                    </a:lnTo>
                    <a:lnTo>
                      <a:pt x="49" y="2"/>
                    </a:lnTo>
                    <a:lnTo>
                      <a:pt x="47" y="2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2" y="2"/>
                    </a:lnTo>
                    <a:lnTo>
                      <a:pt x="39" y="2"/>
                    </a:lnTo>
                    <a:lnTo>
                      <a:pt x="37" y="3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29" y="0"/>
                    </a:lnTo>
                    <a:lnTo>
                      <a:pt x="27" y="2"/>
                    </a:lnTo>
                    <a:lnTo>
                      <a:pt x="26" y="3"/>
                    </a:lnTo>
                    <a:lnTo>
                      <a:pt x="22" y="3"/>
                    </a:lnTo>
                    <a:lnTo>
                      <a:pt x="20" y="3"/>
                    </a:lnTo>
                    <a:lnTo>
                      <a:pt x="20" y="5"/>
                    </a:lnTo>
                    <a:lnTo>
                      <a:pt x="19" y="5"/>
                    </a:lnTo>
                    <a:lnTo>
                      <a:pt x="17" y="7"/>
                    </a:lnTo>
                    <a:lnTo>
                      <a:pt x="15" y="9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0" y="12"/>
                    </a:lnTo>
                    <a:lnTo>
                      <a:pt x="9" y="12"/>
                    </a:lnTo>
                    <a:lnTo>
                      <a:pt x="7" y="14"/>
                    </a:lnTo>
                    <a:lnTo>
                      <a:pt x="5" y="15"/>
                    </a:lnTo>
                    <a:lnTo>
                      <a:pt x="4" y="17"/>
                    </a:lnTo>
                    <a:lnTo>
                      <a:pt x="4" y="19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2" y="29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5"/>
                    </a:lnTo>
                    <a:lnTo>
                      <a:pt x="2" y="37"/>
                    </a:lnTo>
                    <a:lnTo>
                      <a:pt x="4" y="37"/>
                    </a:lnTo>
                    <a:lnTo>
                      <a:pt x="5" y="37"/>
                    </a:lnTo>
                    <a:lnTo>
                      <a:pt x="7" y="35"/>
                    </a:lnTo>
                    <a:lnTo>
                      <a:pt x="10" y="35"/>
                    </a:lnTo>
                    <a:lnTo>
                      <a:pt x="12" y="34"/>
                    </a:lnTo>
                    <a:lnTo>
                      <a:pt x="14" y="32"/>
                    </a:lnTo>
                    <a:lnTo>
                      <a:pt x="15" y="32"/>
                    </a:lnTo>
                    <a:lnTo>
                      <a:pt x="19" y="32"/>
                    </a:lnTo>
                    <a:lnTo>
                      <a:pt x="20" y="32"/>
                    </a:lnTo>
                    <a:lnTo>
                      <a:pt x="22" y="32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9" y="34"/>
                    </a:lnTo>
                    <a:lnTo>
                      <a:pt x="36" y="34"/>
                    </a:lnTo>
                    <a:lnTo>
                      <a:pt x="39" y="34"/>
                    </a:lnTo>
                    <a:lnTo>
                      <a:pt x="41" y="35"/>
                    </a:lnTo>
                    <a:lnTo>
                      <a:pt x="42" y="35"/>
                    </a:lnTo>
                    <a:lnTo>
                      <a:pt x="42" y="37"/>
                    </a:lnTo>
                    <a:lnTo>
                      <a:pt x="44" y="37"/>
                    </a:lnTo>
                    <a:lnTo>
                      <a:pt x="42" y="39"/>
                    </a:lnTo>
                    <a:lnTo>
                      <a:pt x="41" y="41"/>
                    </a:lnTo>
                    <a:lnTo>
                      <a:pt x="39" y="42"/>
                    </a:lnTo>
                    <a:lnTo>
                      <a:pt x="39" y="44"/>
                    </a:lnTo>
                    <a:lnTo>
                      <a:pt x="41" y="44"/>
                    </a:lnTo>
                    <a:lnTo>
                      <a:pt x="41" y="46"/>
                    </a:lnTo>
                    <a:lnTo>
                      <a:pt x="42" y="47"/>
                    </a:lnTo>
                    <a:lnTo>
                      <a:pt x="41" y="49"/>
                    </a:lnTo>
                    <a:lnTo>
                      <a:pt x="42" y="49"/>
                    </a:lnTo>
                    <a:lnTo>
                      <a:pt x="44" y="49"/>
                    </a:lnTo>
                    <a:lnTo>
                      <a:pt x="46" y="49"/>
                    </a:lnTo>
                    <a:lnTo>
                      <a:pt x="49" y="49"/>
                    </a:lnTo>
                    <a:lnTo>
                      <a:pt x="51" y="49"/>
                    </a:lnTo>
                    <a:lnTo>
                      <a:pt x="51" y="51"/>
                    </a:lnTo>
                    <a:lnTo>
                      <a:pt x="52" y="51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4" y="54"/>
                    </a:lnTo>
                    <a:lnTo>
                      <a:pt x="56" y="54"/>
                    </a:lnTo>
                    <a:lnTo>
                      <a:pt x="58" y="56"/>
                    </a:lnTo>
                    <a:lnTo>
                      <a:pt x="59" y="56"/>
                    </a:lnTo>
                    <a:lnTo>
                      <a:pt x="61" y="57"/>
                    </a:lnTo>
                    <a:lnTo>
                      <a:pt x="63" y="56"/>
                    </a:lnTo>
                    <a:lnTo>
                      <a:pt x="64" y="56"/>
                    </a:lnTo>
                    <a:lnTo>
                      <a:pt x="66" y="56"/>
                    </a:lnTo>
                    <a:lnTo>
                      <a:pt x="66" y="54"/>
                    </a:lnTo>
                    <a:lnTo>
                      <a:pt x="69" y="52"/>
                    </a:lnTo>
                    <a:lnTo>
                      <a:pt x="71" y="52"/>
                    </a:lnTo>
                    <a:lnTo>
                      <a:pt x="73" y="52"/>
                    </a:lnTo>
                    <a:lnTo>
                      <a:pt x="76" y="52"/>
                    </a:lnTo>
                    <a:lnTo>
                      <a:pt x="79" y="52"/>
                    </a:lnTo>
                    <a:lnTo>
                      <a:pt x="81" y="52"/>
                    </a:lnTo>
                    <a:lnTo>
                      <a:pt x="85" y="51"/>
                    </a:lnTo>
                    <a:lnTo>
                      <a:pt x="86" y="49"/>
                    </a:lnTo>
                    <a:lnTo>
                      <a:pt x="85" y="47"/>
                    </a:lnTo>
                    <a:lnTo>
                      <a:pt x="85" y="46"/>
                    </a:lnTo>
                    <a:lnTo>
                      <a:pt x="85" y="44"/>
                    </a:lnTo>
                    <a:lnTo>
                      <a:pt x="85" y="42"/>
                    </a:lnTo>
                    <a:lnTo>
                      <a:pt x="86" y="41"/>
                    </a:lnTo>
                    <a:lnTo>
                      <a:pt x="86" y="39"/>
                    </a:lnTo>
                    <a:lnTo>
                      <a:pt x="86" y="37"/>
                    </a:lnTo>
                    <a:lnTo>
                      <a:pt x="88" y="35"/>
                    </a:lnTo>
                    <a:lnTo>
                      <a:pt x="90" y="34"/>
                    </a:lnTo>
                    <a:lnTo>
                      <a:pt x="91" y="34"/>
                    </a:lnTo>
                    <a:lnTo>
                      <a:pt x="93" y="34"/>
                    </a:lnTo>
                    <a:lnTo>
                      <a:pt x="98" y="32"/>
                    </a:lnTo>
                    <a:lnTo>
                      <a:pt x="101" y="30"/>
                    </a:lnTo>
                    <a:lnTo>
                      <a:pt x="103" y="30"/>
                    </a:lnTo>
                    <a:lnTo>
                      <a:pt x="103" y="29"/>
                    </a:lnTo>
                    <a:lnTo>
                      <a:pt x="101" y="27"/>
                    </a:lnTo>
                    <a:lnTo>
                      <a:pt x="100" y="27"/>
                    </a:lnTo>
                    <a:lnTo>
                      <a:pt x="98" y="27"/>
                    </a:lnTo>
                    <a:lnTo>
                      <a:pt x="98" y="25"/>
                    </a:lnTo>
                    <a:lnTo>
                      <a:pt x="96" y="25"/>
                    </a:lnTo>
                    <a:lnTo>
                      <a:pt x="95" y="25"/>
                    </a:lnTo>
                    <a:lnTo>
                      <a:pt x="95" y="24"/>
                    </a:lnTo>
                    <a:lnTo>
                      <a:pt x="96" y="24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8" y="20"/>
                    </a:lnTo>
                    <a:lnTo>
                      <a:pt x="98" y="19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881" name="Freeform 255">
                <a:extLst>
                  <a:ext uri="{FF2B5EF4-FFF2-40B4-BE49-F238E27FC236}">
                    <a16:creationId xmlns:a16="http://schemas.microsoft.com/office/drawing/2014/main" id="{B9F4F6DC-81C6-F14A-AC1C-9623DC890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" y="362"/>
                <a:ext cx="103" cy="57"/>
              </a:xfrm>
              <a:custGeom>
                <a:avLst/>
                <a:gdLst>
                  <a:gd name="T0" fmla="*/ 95 w 103"/>
                  <a:gd name="T1" fmla="*/ 17 h 57"/>
                  <a:gd name="T2" fmla="*/ 91 w 103"/>
                  <a:gd name="T3" fmla="*/ 15 h 57"/>
                  <a:gd name="T4" fmla="*/ 86 w 103"/>
                  <a:gd name="T5" fmla="*/ 12 h 57"/>
                  <a:gd name="T6" fmla="*/ 83 w 103"/>
                  <a:gd name="T7" fmla="*/ 9 h 57"/>
                  <a:gd name="T8" fmla="*/ 78 w 103"/>
                  <a:gd name="T9" fmla="*/ 9 h 57"/>
                  <a:gd name="T10" fmla="*/ 74 w 103"/>
                  <a:gd name="T11" fmla="*/ 7 h 57"/>
                  <a:gd name="T12" fmla="*/ 74 w 103"/>
                  <a:gd name="T13" fmla="*/ 2 h 57"/>
                  <a:gd name="T14" fmla="*/ 71 w 103"/>
                  <a:gd name="T15" fmla="*/ 0 h 57"/>
                  <a:gd name="T16" fmla="*/ 64 w 103"/>
                  <a:gd name="T17" fmla="*/ 2 h 57"/>
                  <a:gd name="T18" fmla="*/ 58 w 103"/>
                  <a:gd name="T19" fmla="*/ 2 h 57"/>
                  <a:gd name="T20" fmla="*/ 49 w 103"/>
                  <a:gd name="T21" fmla="*/ 2 h 57"/>
                  <a:gd name="T22" fmla="*/ 44 w 103"/>
                  <a:gd name="T23" fmla="*/ 2 h 57"/>
                  <a:gd name="T24" fmla="*/ 37 w 103"/>
                  <a:gd name="T25" fmla="*/ 3 h 57"/>
                  <a:gd name="T26" fmla="*/ 32 w 103"/>
                  <a:gd name="T27" fmla="*/ 0 h 57"/>
                  <a:gd name="T28" fmla="*/ 27 w 103"/>
                  <a:gd name="T29" fmla="*/ 2 h 57"/>
                  <a:gd name="T30" fmla="*/ 20 w 103"/>
                  <a:gd name="T31" fmla="*/ 3 h 57"/>
                  <a:gd name="T32" fmla="*/ 17 w 103"/>
                  <a:gd name="T33" fmla="*/ 7 h 57"/>
                  <a:gd name="T34" fmla="*/ 12 w 103"/>
                  <a:gd name="T35" fmla="*/ 10 h 57"/>
                  <a:gd name="T36" fmla="*/ 7 w 103"/>
                  <a:gd name="T37" fmla="*/ 14 h 57"/>
                  <a:gd name="T38" fmla="*/ 4 w 103"/>
                  <a:gd name="T39" fmla="*/ 19 h 57"/>
                  <a:gd name="T40" fmla="*/ 0 w 103"/>
                  <a:gd name="T41" fmla="*/ 24 h 57"/>
                  <a:gd name="T42" fmla="*/ 2 w 103"/>
                  <a:gd name="T43" fmla="*/ 29 h 57"/>
                  <a:gd name="T44" fmla="*/ 0 w 103"/>
                  <a:gd name="T45" fmla="*/ 32 h 57"/>
                  <a:gd name="T46" fmla="*/ 2 w 103"/>
                  <a:gd name="T47" fmla="*/ 37 h 57"/>
                  <a:gd name="T48" fmla="*/ 7 w 103"/>
                  <a:gd name="T49" fmla="*/ 35 h 57"/>
                  <a:gd name="T50" fmla="*/ 14 w 103"/>
                  <a:gd name="T51" fmla="*/ 32 h 57"/>
                  <a:gd name="T52" fmla="*/ 20 w 103"/>
                  <a:gd name="T53" fmla="*/ 32 h 57"/>
                  <a:gd name="T54" fmla="*/ 26 w 103"/>
                  <a:gd name="T55" fmla="*/ 34 h 57"/>
                  <a:gd name="T56" fmla="*/ 39 w 103"/>
                  <a:gd name="T57" fmla="*/ 34 h 57"/>
                  <a:gd name="T58" fmla="*/ 42 w 103"/>
                  <a:gd name="T59" fmla="*/ 37 h 57"/>
                  <a:gd name="T60" fmla="*/ 41 w 103"/>
                  <a:gd name="T61" fmla="*/ 41 h 57"/>
                  <a:gd name="T62" fmla="*/ 41 w 103"/>
                  <a:gd name="T63" fmla="*/ 44 h 57"/>
                  <a:gd name="T64" fmla="*/ 41 w 103"/>
                  <a:gd name="T65" fmla="*/ 49 h 57"/>
                  <a:gd name="T66" fmla="*/ 46 w 103"/>
                  <a:gd name="T67" fmla="*/ 49 h 57"/>
                  <a:gd name="T68" fmla="*/ 51 w 103"/>
                  <a:gd name="T69" fmla="*/ 51 h 57"/>
                  <a:gd name="T70" fmla="*/ 52 w 103"/>
                  <a:gd name="T71" fmla="*/ 56 h 57"/>
                  <a:gd name="T72" fmla="*/ 58 w 103"/>
                  <a:gd name="T73" fmla="*/ 56 h 57"/>
                  <a:gd name="T74" fmla="*/ 63 w 103"/>
                  <a:gd name="T75" fmla="*/ 56 h 57"/>
                  <a:gd name="T76" fmla="*/ 66 w 103"/>
                  <a:gd name="T77" fmla="*/ 54 h 57"/>
                  <a:gd name="T78" fmla="*/ 73 w 103"/>
                  <a:gd name="T79" fmla="*/ 52 h 57"/>
                  <a:gd name="T80" fmla="*/ 81 w 103"/>
                  <a:gd name="T81" fmla="*/ 52 h 57"/>
                  <a:gd name="T82" fmla="*/ 85 w 103"/>
                  <a:gd name="T83" fmla="*/ 47 h 57"/>
                  <a:gd name="T84" fmla="*/ 85 w 103"/>
                  <a:gd name="T85" fmla="*/ 42 h 57"/>
                  <a:gd name="T86" fmla="*/ 86 w 103"/>
                  <a:gd name="T87" fmla="*/ 37 h 57"/>
                  <a:gd name="T88" fmla="*/ 91 w 103"/>
                  <a:gd name="T89" fmla="*/ 34 h 57"/>
                  <a:gd name="T90" fmla="*/ 101 w 103"/>
                  <a:gd name="T91" fmla="*/ 30 h 57"/>
                  <a:gd name="T92" fmla="*/ 101 w 103"/>
                  <a:gd name="T93" fmla="*/ 27 h 57"/>
                  <a:gd name="T94" fmla="*/ 98 w 103"/>
                  <a:gd name="T95" fmla="*/ 25 h 57"/>
                  <a:gd name="T96" fmla="*/ 95 w 103"/>
                  <a:gd name="T97" fmla="*/ 24 h 57"/>
                  <a:gd name="T98" fmla="*/ 96 w 103"/>
                  <a:gd name="T99" fmla="*/ 2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3" h="57">
                    <a:moveTo>
                      <a:pt x="98" y="19"/>
                    </a:moveTo>
                    <a:lnTo>
                      <a:pt x="96" y="19"/>
                    </a:lnTo>
                    <a:lnTo>
                      <a:pt x="95" y="17"/>
                    </a:lnTo>
                    <a:lnTo>
                      <a:pt x="93" y="17"/>
                    </a:lnTo>
                    <a:lnTo>
                      <a:pt x="93" y="15"/>
                    </a:lnTo>
                    <a:lnTo>
                      <a:pt x="91" y="15"/>
                    </a:lnTo>
                    <a:lnTo>
                      <a:pt x="90" y="14"/>
                    </a:lnTo>
                    <a:lnTo>
                      <a:pt x="88" y="12"/>
                    </a:lnTo>
                    <a:lnTo>
                      <a:pt x="86" y="12"/>
                    </a:lnTo>
                    <a:lnTo>
                      <a:pt x="86" y="10"/>
                    </a:lnTo>
                    <a:lnTo>
                      <a:pt x="85" y="10"/>
                    </a:lnTo>
                    <a:lnTo>
                      <a:pt x="83" y="9"/>
                    </a:lnTo>
                    <a:lnTo>
                      <a:pt x="81" y="9"/>
                    </a:lnTo>
                    <a:lnTo>
                      <a:pt x="79" y="9"/>
                    </a:lnTo>
                    <a:lnTo>
                      <a:pt x="78" y="9"/>
                    </a:lnTo>
                    <a:lnTo>
                      <a:pt x="76" y="9"/>
                    </a:lnTo>
                    <a:lnTo>
                      <a:pt x="76" y="7"/>
                    </a:lnTo>
                    <a:lnTo>
                      <a:pt x="74" y="7"/>
                    </a:lnTo>
                    <a:lnTo>
                      <a:pt x="74" y="5"/>
                    </a:lnTo>
                    <a:lnTo>
                      <a:pt x="74" y="3"/>
                    </a:lnTo>
                    <a:lnTo>
                      <a:pt x="74" y="2"/>
                    </a:lnTo>
                    <a:lnTo>
                      <a:pt x="74" y="0"/>
                    </a:lnTo>
                    <a:lnTo>
                      <a:pt x="73" y="0"/>
                    </a:lnTo>
                    <a:lnTo>
                      <a:pt x="71" y="0"/>
                    </a:lnTo>
                    <a:lnTo>
                      <a:pt x="69" y="0"/>
                    </a:lnTo>
                    <a:lnTo>
                      <a:pt x="66" y="2"/>
                    </a:lnTo>
                    <a:lnTo>
                      <a:pt x="64" y="2"/>
                    </a:lnTo>
                    <a:lnTo>
                      <a:pt x="61" y="2"/>
                    </a:lnTo>
                    <a:lnTo>
                      <a:pt x="59" y="2"/>
                    </a:lnTo>
                    <a:lnTo>
                      <a:pt x="58" y="2"/>
                    </a:lnTo>
                    <a:lnTo>
                      <a:pt x="54" y="2"/>
                    </a:lnTo>
                    <a:lnTo>
                      <a:pt x="51" y="2"/>
                    </a:lnTo>
                    <a:lnTo>
                      <a:pt x="49" y="2"/>
                    </a:lnTo>
                    <a:lnTo>
                      <a:pt x="47" y="2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2" y="2"/>
                    </a:lnTo>
                    <a:lnTo>
                      <a:pt x="39" y="2"/>
                    </a:lnTo>
                    <a:lnTo>
                      <a:pt x="37" y="3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29" y="0"/>
                    </a:lnTo>
                    <a:lnTo>
                      <a:pt x="27" y="2"/>
                    </a:lnTo>
                    <a:lnTo>
                      <a:pt x="26" y="3"/>
                    </a:lnTo>
                    <a:lnTo>
                      <a:pt x="22" y="3"/>
                    </a:lnTo>
                    <a:lnTo>
                      <a:pt x="20" y="3"/>
                    </a:lnTo>
                    <a:lnTo>
                      <a:pt x="20" y="5"/>
                    </a:lnTo>
                    <a:lnTo>
                      <a:pt x="19" y="5"/>
                    </a:lnTo>
                    <a:lnTo>
                      <a:pt x="17" y="7"/>
                    </a:lnTo>
                    <a:lnTo>
                      <a:pt x="15" y="9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0" y="12"/>
                    </a:lnTo>
                    <a:lnTo>
                      <a:pt x="9" y="12"/>
                    </a:lnTo>
                    <a:lnTo>
                      <a:pt x="7" y="14"/>
                    </a:lnTo>
                    <a:lnTo>
                      <a:pt x="5" y="15"/>
                    </a:lnTo>
                    <a:lnTo>
                      <a:pt x="4" y="17"/>
                    </a:lnTo>
                    <a:lnTo>
                      <a:pt x="4" y="19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2" y="29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5"/>
                    </a:lnTo>
                    <a:lnTo>
                      <a:pt x="2" y="37"/>
                    </a:lnTo>
                    <a:lnTo>
                      <a:pt x="4" y="37"/>
                    </a:lnTo>
                    <a:lnTo>
                      <a:pt x="5" y="37"/>
                    </a:lnTo>
                    <a:lnTo>
                      <a:pt x="7" y="35"/>
                    </a:lnTo>
                    <a:lnTo>
                      <a:pt x="10" y="35"/>
                    </a:lnTo>
                    <a:lnTo>
                      <a:pt x="12" y="34"/>
                    </a:lnTo>
                    <a:lnTo>
                      <a:pt x="14" y="32"/>
                    </a:lnTo>
                    <a:lnTo>
                      <a:pt x="15" y="32"/>
                    </a:lnTo>
                    <a:lnTo>
                      <a:pt x="19" y="32"/>
                    </a:lnTo>
                    <a:lnTo>
                      <a:pt x="20" y="32"/>
                    </a:lnTo>
                    <a:lnTo>
                      <a:pt x="22" y="32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9" y="34"/>
                    </a:lnTo>
                    <a:lnTo>
                      <a:pt x="36" y="34"/>
                    </a:lnTo>
                    <a:lnTo>
                      <a:pt x="39" y="34"/>
                    </a:lnTo>
                    <a:lnTo>
                      <a:pt x="41" y="35"/>
                    </a:lnTo>
                    <a:lnTo>
                      <a:pt x="42" y="35"/>
                    </a:lnTo>
                    <a:lnTo>
                      <a:pt x="42" y="37"/>
                    </a:lnTo>
                    <a:lnTo>
                      <a:pt x="44" y="37"/>
                    </a:lnTo>
                    <a:lnTo>
                      <a:pt x="42" y="39"/>
                    </a:lnTo>
                    <a:lnTo>
                      <a:pt x="41" y="41"/>
                    </a:lnTo>
                    <a:lnTo>
                      <a:pt x="39" y="42"/>
                    </a:lnTo>
                    <a:lnTo>
                      <a:pt x="39" y="44"/>
                    </a:lnTo>
                    <a:lnTo>
                      <a:pt x="41" y="44"/>
                    </a:lnTo>
                    <a:lnTo>
                      <a:pt x="41" y="46"/>
                    </a:lnTo>
                    <a:lnTo>
                      <a:pt x="42" y="47"/>
                    </a:lnTo>
                    <a:lnTo>
                      <a:pt x="41" y="49"/>
                    </a:lnTo>
                    <a:lnTo>
                      <a:pt x="42" y="49"/>
                    </a:lnTo>
                    <a:lnTo>
                      <a:pt x="44" y="49"/>
                    </a:lnTo>
                    <a:lnTo>
                      <a:pt x="46" y="49"/>
                    </a:lnTo>
                    <a:lnTo>
                      <a:pt x="49" y="49"/>
                    </a:lnTo>
                    <a:lnTo>
                      <a:pt x="51" y="49"/>
                    </a:lnTo>
                    <a:lnTo>
                      <a:pt x="51" y="51"/>
                    </a:lnTo>
                    <a:lnTo>
                      <a:pt x="52" y="51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4" y="54"/>
                    </a:lnTo>
                    <a:lnTo>
                      <a:pt x="56" y="54"/>
                    </a:lnTo>
                    <a:lnTo>
                      <a:pt x="58" y="56"/>
                    </a:lnTo>
                    <a:lnTo>
                      <a:pt x="59" y="56"/>
                    </a:lnTo>
                    <a:lnTo>
                      <a:pt x="61" y="57"/>
                    </a:lnTo>
                    <a:lnTo>
                      <a:pt x="63" y="56"/>
                    </a:lnTo>
                    <a:lnTo>
                      <a:pt x="64" y="56"/>
                    </a:lnTo>
                    <a:lnTo>
                      <a:pt x="66" y="56"/>
                    </a:lnTo>
                    <a:lnTo>
                      <a:pt x="66" y="54"/>
                    </a:lnTo>
                    <a:lnTo>
                      <a:pt x="69" y="52"/>
                    </a:lnTo>
                    <a:lnTo>
                      <a:pt x="71" y="52"/>
                    </a:lnTo>
                    <a:lnTo>
                      <a:pt x="73" y="52"/>
                    </a:lnTo>
                    <a:lnTo>
                      <a:pt x="76" y="52"/>
                    </a:lnTo>
                    <a:lnTo>
                      <a:pt x="79" y="52"/>
                    </a:lnTo>
                    <a:lnTo>
                      <a:pt x="81" y="52"/>
                    </a:lnTo>
                    <a:lnTo>
                      <a:pt x="85" y="51"/>
                    </a:lnTo>
                    <a:lnTo>
                      <a:pt x="86" y="49"/>
                    </a:lnTo>
                    <a:lnTo>
                      <a:pt x="85" y="47"/>
                    </a:lnTo>
                    <a:lnTo>
                      <a:pt x="85" y="46"/>
                    </a:lnTo>
                    <a:lnTo>
                      <a:pt x="85" y="44"/>
                    </a:lnTo>
                    <a:lnTo>
                      <a:pt x="85" y="42"/>
                    </a:lnTo>
                    <a:lnTo>
                      <a:pt x="86" y="41"/>
                    </a:lnTo>
                    <a:lnTo>
                      <a:pt x="86" y="39"/>
                    </a:lnTo>
                    <a:lnTo>
                      <a:pt x="86" y="37"/>
                    </a:lnTo>
                    <a:lnTo>
                      <a:pt x="88" y="35"/>
                    </a:lnTo>
                    <a:lnTo>
                      <a:pt x="90" y="34"/>
                    </a:lnTo>
                    <a:lnTo>
                      <a:pt x="91" y="34"/>
                    </a:lnTo>
                    <a:lnTo>
                      <a:pt x="93" y="34"/>
                    </a:lnTo>
                    <a:lnTo>
                      <a:pt x="98" y="32"/>
                    </a:lnTo>
                    <a:lnTo>
                      <a:pt x="101" y="30"/>
                    </a:lnTo>
                    <a:lnTo>
                      <a:pt x="103" y="30"/>
                    </a:lnTo>
                    <a:lnTo>
                      <a:pt x="103" y="29"/>
                    </a:lnTo>
                    <a:lnTo>
                      <a:pt x="101" y="27"/>
                    </a:lnTo>
                    <a:lnTo>
                      <a:pt x="100" y="27"/>
                    </a:lnTo>
                    <a:lnTo>
                      <a:pt x="98" y="27"/>
                    </a:lnTo>
                    <a:lnTo>
                      <a:pt x="98" y="25"/>
                    </a:lnTo>
                    <a:lnTo>
                      <a:pt x="96" y="25"/>
                    </a:lnTo>
                    <a:lnTo>
                      <a:pt x="95" y="25"/>
                    </a:lnTo>
                    <a:lnTo>
                      <a:pt x="95" y="24"/>
                    </a:lnTo>
                    <a:lnTo>
                      <a:pt x="96" y="24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8" y="20"/>
                    </a:lnTo>
                    <a:lnTo>
                      <a:pt x="98" y="19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56" name="Group 1655">
              <a:extLst>
                <a:ext uri="{FF2B5EF4-FFF2-40B4-BE49-F238E27FC236}">
                  <a16:creationId xmlns:a16="http://schemas.microsoft.com/office/drawing/2014/main" id="{84C01306-423B-284C-9FC2-69B1847AEB2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48" y="499"/>
              <a:ext cx="12" cy="13"/>
              <a:chOff x="248" y="499"/>
              <a:chExt cx="12" cy="13"/>
            </a:xfrm>
          </p:grpSpPr>
          <p:sp>
            <p:nvSpPr>
              <p:cNvPr id="1878" name="Freeform 252">
                <a:extLst>
                  <a:ext uri="{FF2B5EF4-FFF2-40B4-BE49-F238E27FC236}">
                    <a16:creationId xmlns:a16="http://schemas.microsoft.com/office/drawing/2014/main" id="{7C202112-9E1A-494A-9A5B-26436B418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" y="499"/>
                <a:ext cx="12" cy="13"/>
              </a:xfrm>
              <a:custGeom>
                <a:avLst/>
                <a:gdLst>
                  <a:gd name="T0" fmla="*/ 7 w 12"/>
                  <a:gd name="T1" fmla="*/ 0 h 13"/>
                  <a:gd name="T2" fmla="*/ 10 w 12"/>
                  <a:gd name="T3" fmla="*/ 1 h 13"/>
                  <a:gd name="T4" fmla="*/ 8 w 12"/>
                  <a:gd name="T5" fmla="*/ 3 h 13"/>
                  <a:gd name="T6" fmla="*/ 8 w 12"/>
                  <a:gd name="T7" fmla="*/ 5 h 13"/>
                  <a:gd name="T8" fmla="*/ 10 w 12"/>
                  <a:gd name="T9" fmla="*/ 6 h 13"/>
                  <a:gd name="T10" fmla="*/ 12 w 12"/>
                  <a:gd name="T11" fmla="*/ 8 h 13"/>
                  <a:gd name="T12" fmla="*/ 12 w 12"/>
                  <a:gd name="T13" fmla="*/ 11 h 13"/>
                  <a:gd name="T14" fmla="*/ 10 w 12"/>
                  <a:gd name="T15" fmla="*/ 13 h 13"/>
                  <a:gd name="T16" fmla="*/ 8 w 12"/>
                  <a:gd name="T17" fmla="*/ 13 h 13"/>
                  <a:gd name="T18" fmla="*/ 7 w 12"/>
                  <a:gd name="T19" fmla="*/ 13 h 13"/>
                  <a:gd name="T20" fmla="*/ 2 w 12"/>
                  <a:gd name="T21" fmla="*/ 11 h 13"/>
                  <a:gd name="T22" fmla="*/ 2 w 12"/>
                  <a:gd name="T23" fmla="*/ 8 h 13"/>
                  <a:gd name="T24" fmla="*/ 0 w 12"/>
                  <a:gd name="T25" fmla="*/ 6 h 13"/>
                  <a:gd name="T26" fmla="*/ 2 w 12"/>
                  <a:gd name="T27" fmla="*/ 3 h 13"/>
                  <a:gd name="T28" fmla="*/ 5 w 12"/>
                  <a:gd name="T29" fmla="*/ 1 h 13"/>
                  <a:gd name="T30" fmla="*/ 7 w 12"/>
                  <a:gd name="T31" fmla="*/ 1 h 13"/>
                  <a:gd name="T32" fmla="*/ 7 w 12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3">
                    <a:moveTo>
                      <a:pt x="7" y="0"/>
                    </a:moveTo>
                    <a:lnTo>
                      <a:pt x="10" y="1"/>
                    </a:lnTo>
                    <a:lnTo>
                      <a:pt x="8" y="3"/>
                    </a:lnTo>
                    <a:lnTo>
                      <a:pt x="8" y="5"/>
                    </a:lnTo>
                    <a:lnTo>
                      <a:pt x="10" y="6"/>
                    </a:lnTo>
                    <a:lnTo>
                      <a:pt x="12" y="8"/>
                    </a:lnTo>
                    <a:lnTo>
                      <a:pt x="12" y="11"/>
                    </a:lnTo>
                    <a:lnTo>
                      <a:pt x="10" y="13"/>
                    </a:lnTo>
                    <a:lnTo>
                      <a:pt x="8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5" y="1"/>
                    </a:lnTo>
                    <a:lnTo>
                      <a:pt x="7" y="1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879" name="Freeform 253">
                <a:extLst>
                  <a:ext uri="{FF2B5EF4-FFF2-40B4-BE49-F238E27FC236}">
                    <a16:creationId xmlns:a16="http://schemas.microsoft.com/office/drawing/2014/main" id="{79F2A4F8-61E1-C747-9422-60840D0CC3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" y="499"/>
                <a:ext cx="12" cy="13"/>
              </a:xfrm>
              <a:custGeom>
                <a:avLst/>
                <a:gdLst>
                  <a:gd name="T0" fmla="*/ 7 w 12"/>
                  <a:gd name="T1" fmla="*/ 0 h 13"/>
                  <a:gd name="T2" fmla="*/ 10 w 12"/>
                  <a:gd name="T3" fmla="*/ 1 h 13"/>
                  <a:gd name="T4" fmla="*/ 8 w 12"/>
                  <a:gd name="T5" fmla="*/ 3 h 13"/>
                  <a:gd name="T6" fmla="*/ 8 w 12"/>
                  <a:gd name="T7" fmla="*/ 5 h 13"/>
                  <a:gd name="T8" fmla="*/ 10 w 12"/>
                  <a:gd name="T9" fmla="*/ 6 h 13"/>
                  <a:gd name="T10" fmla="*/ 12 w 12"/>
                  <a:gd name="T11" fmla="*/ 8 h 13"/>
                  <a:gd name="T12" fmla="*/ 12 w 12"/>
                  <a:gd name="T13" fmla="*/ 11 h 13"/>
                  <a:gd name="T14" fmla="*/ 10 w 12"/>
                  <a:gd name="T15" fmla="*/ 13 h 13"/>
                  <a:gd name="T16" fmla="*/ 8 w 12"/>
                  <a:gd name="T17" fmla="*/ 13 h 13"/>
                  <a:gd name="T18" fmla="*/ 7 w 12"/>
                  <a:gd name="T19" fmla="*/ 13 h 13"/>
                  <a:gd name="T20" fmla="*/ 2 w 12"/>
                  <a:gd name="T21" fmla="*/ 11 h 13"/>
                  <a:gd name="T22" fmla="*/ 2 w 12"/>
                  <a:gd name="T23" fmla="*/ 8 h 13"/>
                  <a:gd name="T24" fmla="*/ 0 w 12"/>
                  <a:gd name="T25" fmla="*/ 6 h 13"/>
                  <a:gd name="T26" fmla="*/ 2 w 12"/>
                  <a:gd name="T27" fmla="*/ 3 h 13"/>
                  <a:gd name="T28" fmla="*/ 5 w 12"/>
                  <a:gd name="T29" fmla="*/ 1 h 13"/>
                  <a:gd name="T30" fmla="*/ 7 w 12"/>
                  <a:gd name="T31" fmla="*/ 1 h 13"/>
                  <a:gd name="T32" fmla="*/ 7 w 12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3">
                    <a:moveTo>
                      <a:pt x="7" y="0"/>
                    </a:moveTo>
                    <a:lnTo>
                      <a:pt x="10" y="1"/>
                    </a:lnTo>
                    <a:lnTo>
                      <a:pt x="8" y="3"/>
                    </a:lnTo>
                    <a:lnTo>
                      <a:pt x="8" y="5"/>
                    </a:lnTo>
                    <a:lnTo>
                      <a:pt x="10" y="6"/>
                    </a:lnTo>
                    <a:lnTo>
                      <a:pt x="12" y="8"/>
                    </a:lnTo>
                    <a:lnTo>
                      <a:pt x="12" y="11"/>
                    </a:lnTo>
                    <a:lnTo>
                      <a:pt x="10" y="13"/>
                    </a:lnTo>
                    <a:lnTo>
                      <a:pt x="8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5" y="1"/>
                    </a:lnTo>
                    <a:lnTo>
                      <a:pt x="7" y="1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57" name="Group 1656">
              <a:extLst>
                <a:ext uri="{FF2B5EF4-FFF2-40B4-BE49-F238E27FC236}">
                  <a16:creationId xmlns:a16="http://schemas.microsoft.com/office/drawing/2014/main" id="{FA41E08C-06E1-7C44-A1CC-299265FF62E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81" y="652"/>
              <a:ext cx="38" cy="29"/>
              <a:chOff x="481" y="652"/>
              <a:chExt cx="38" cy="29"/>
            </a:xfrm>
          </p:grpSpPr>
          <p:sp>
            <p:nvSpPr>
              <p:cNvPr id="1876" name="Freeform 250">
                <a:extLst>
                  <a:ext uri="{FF2B5EF4-FFF2-40B4-BE49-F238E27FC236}">
                    <a16:creationId xmlns:a16="http://schemas.microsoft.com/office/drawing/2014/main" id="{BC532FDE-6C2C-074A-B7A2-765CC1F751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" y="652"/>
                <a:ext cx="38" cy="29"/>
              </a:xfrm>
              <a:custGeom>
                <a:avLst/>
                <a:gdLst>
                  <a:gd name="T0" fmla="*/ 37 w 38"/>
                  <a:gd name="T1" fmla="*/ 7 h 29"/>
                  <a:gd name="T2" fmla="*/ 30 w 38"/>
                  <a:gd name="T3" fmla="*/ 2 h 29"/>
                  <a:gd name="T4" fmla="*/ 28 w 38"/>
                  <a:gd name="T5" fmla="*/ 0 h 29"/>
                  <a:gd name="T6" fmla="*/ 22 w 38"/>
                  <a:gd name="T7" fmla="*/ 0 h 29"/>
                  <a:gd name="T8" fmla="*/ 20 w 38"/>
                  <a:gd name="T9" fmla="*/ 2 h 29"/>
                  <a:gd name="T10" fmla="*/ 17 w 38"/>
                  <a:gd name="T11" fmla="*/ 2 h 29"/>
                  <a:gd name="T12" fmla="*/ 13 w 38"/>
                  <a:gd name="T13" fmla="*/ 2 h 29"/>
                  <a:gd name="T14" fmla="*/ 11 w 38"/>
                  <a:gd name="T15" fmla="*/ 3 h 29"/>
                  <a:gd name="T16" fmla="*/ 10 w 38"/>
                  <a:gd name="T17" fmla="*/ 3 h 29"/>
                  <a:gd name="T18" fmla="*/ 6 w 38"/>
                  <a:gd name="T19" fmla="*/ 3 h 29"/>
                  <a:gd name="T20" fmla="*/ 3 w 38"/>
                  <a:gd name="T21" fmla="*/ 8 h 29"/>
                  <a:gd name="T22" fmla="*/ 1 w 38"/>
                  <a:gd name="T23" fmla="*/ 10 h 29"/>
                  <a:gd name="T24" fmla="*/ 0 w 38"/>
                  <a:gd name="T25" fmla="*/ 15 h 29"/>
                  <a:gd name="T26" fmla="*/ 0 w 38"/>
                  <a:gd name="T27" fmla="*/ 19 h 29"/>
                  <a:gd name="T28" fmla="*/ 3 w 38"/>
                  <a:gd name="T29" fmla="*/ 24 h 29"/>
                  <a:gd name="T30" fmla="*/ 6 w 38"/>
                  <a:gd name="T31" fmla="*/ 27 h 29"/>
                  <a:gd name="T32" fmla="*/ 8 w 38"/>
                  <a:gd name="T33" fmla="*/ 29 h 29"/>
                  <a:gd name="T34" fmla="*/ 10 w 38"/>
                  <a:gd name="T35" fmla="*/ 29 h 29"/>
                  <a:gd name="T36" fmla="*/ 13 w 38"/>
                  <a:gd name="T37" fmla="*/ 27 h 29"/>
                  <a:gd name="T38" fmla="*/ 18 w 38"/>
                  <a:gd name="T39" fmla="*/ 27 h 29"/>
                  <a:gd name="T40" fmla="*/ 22 w 38"/>
                  <a:gd name="T41" fmla="*/ 24 h 29"/>
                  <a:gd name="T42" fmla="*/ 27 w 38"/>
                  <a:gd name="T43" fmla="*/ 22 h 29"/>
                  <a:gd name="T44" fmla="*/ 32 w 38"/>
                  <a:gd name="T45" fmla="*/ 22 h 29"/>
                  <a:gd name="T46" fmla="*/ 37 w 38"/>
                  <a:gd name="T47" fmla="*/ 19 h 29"/>
                  <a:gd name="T48" fmla="*/ 38 w 38"/>
                  <a:gd name="T49" fmla="*/ 19 h 29"/>
                  <a:gd name="T50" fmla="*/ 38 w 38"/>
                  <a:gd name="T51" fmla="*/ 14 h 29"/>
                  <a:gd name="T52" fmla="*/ 37 w 38"/>
                  <a:gd name="T53" fmla="*/ 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8" h="29">
                    <a:moveTo>
                      <a:pt x="37" y="7"/>
                    </a:moveTo>
                    <a:lnTo>
                      <a:pt x="30" y="2"/>
                    </a:lnTo>
                    <a:lnTo>
                      <a:pt x="28" y="0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17" y="2"/>
                    </a:lnTo>
                    <a:lnTo>
                      <a:pt x="13" y="2"/>
                    </a:lnTo>
                    <a:lnTo>
                      <a:pt x="11" y="3"/>
                    </a:lnTo>
                    <a:lnTo>
                      <a:pt x="10" y="3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8" y="29"/>
                    </a:lnTo>
                    <a:lnTo>
                      <a:pt x="10" y="29"/>
                    </a:lnTo>
                    <a:lnTo>
                      <a:pt x="13" y="27"/>
                    </a:lnTo>
                    <a:lnTo>
                      <a:pt x="18" y="27"/>
                    </a:lnTo>
                    <a:lnTo>
                      <a:pt x="22" y="24"/>
                    </a:lnTo>
                    <a:lnTo>
                      <a:pt x="27" y="22"/>
                    </a:lnTo>
                    <a:lnTo>
                      <a:pt x="32" y="22"/>
                    </a:lnTo>
                    <a:lnTo>
                      <a:pt x="37" y="19"/>
                    </a:lnTo>
                    <a:lnTo>
                      <a:pt x="38" y="19"/>
                    </a:lnTo>
                    <a:lnTo>
                      <a:pt x="38" y="14"/>
                    </a:lnTo>
                    <a:lnTo>
                      <a:pt x="37" y="7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877" name="Freeform 251">
                <a:extLst>
                  <a:ext uri="{FF2B5EF4-FFF2-40B4-BE49-F238E27FC236}">
                    <a16:creationId xmlns:a16="http://schemas.microsoft.com/office/drawing/2014/main" id="{042C437A-87FD-0E4E-904D-C27218FEA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" y="652"/>
                <a:ext cx="38" cy="29"/>
              </a:xfrm>
              <a:custGeom>
                <a:avLst/>
                <a:gdLst>
                  <a:gd name="T0" fmla="*/ 37 w 38"/>
                  <a:gd name="T1" fmla="*/ 7 h 29"/>
                  <a:gd name="T2" fmla="*/ 30 w 38"/>
                  <a:gd name="T3" fmla="*/ 2 h 29"/>
                  <a:gd name="T4" fmla="*/ 28 w 38"/>
                  <a:gd name="T5" fmla="*/ 0 h 29"/>
                  <a:gd name="T6" fmla="*/ 22 w 38"/>
                  <a:gd name="T7" fmla="*/ 0 h 29"/>
                  <a:gd name="T8" fmla="*/ 20 w 38"/>
                  <a:gd name="T9" fmla="*/ 2 h 29"/>
                  <a:gd name="T10" fmla="*/ 17 w 38"/>
                  <a:gd name="T11" fmla="*/ 2 h 29"/>
                  <a:gd name="T12" fmla="*/ 13 w 38"/>
                  <a:gd name="T13" fmla="*/ 2 h 29"/>
                  <a:gd name="T14" fmla="*/ 11 w 38"/>
                  <a:gd name="T15" fmla="*/ 3 h 29"/>
                  <a:gd name="T16" fmla="*/ 10 w 38"/>
                  <a:gd name="T17" fmla="*/ 3 h 29"/>
                  <a:gd name="T18" fmla="*/ 6 w 38"/>
                  <a:gd name="T19" fmla="*/ 3 h 29"/>
                  <a:gd name="T20" fmla="*/ 3 w 38"/>
                  <a:gd name="T21" fmla="*/ 8 h 29"/>
                  <a:gd name="T22" fmla="*/ 1 w 38"/>
                  <a:gd name="T23" fmla="*/ 10 h 29"/>
                  <a:gd name="T24" fmla="*/ 0 w 38"/>
                  <a:gd name="T25" fmla="*/ 15 h 29"/>
                  <a:gd name="T26" fmla="*/ 0 w 38"/>
                  <a:gd name="T27" fmla="*/ 19 h 29"/>
                  <a:gd name="T28" fmla="*/ 3 w 38"/>
                  <a:gd name="T29" fmla="*/ 24 h 29"/>
                  <a:gd name="T30" fmla="*/ 6 w 38"/>
                  <a:gd name="T31" fmla="*/ 27 h 29"/>
                  <a:gd name="T32" fmla="*/ 8 w 38"/>
                  <a:gd name="T33" fmla="*/ 29 h 29"/>
                  <a:gd name="T34" fmla="*/ 10 w 38"/>
                  <a:gd name="T35" fmla="*/ 29 h 29"/>
                  <a:gd name="T36" fmla="*/ 13 w 38"/>
                  <a:gd name="T37" fmla="*/ 27 h 29"/>
                  <a:gd name="T38" fmla="*/ 18 w 38"/>
                  <a:gd name="T39" fmla="*/ 27 h 29"/>
                  <a:gd name="T40" fmla="*/ 22 w 38"/>
                  <a:gd name="T41" fmla="*/ 24 h 29"/>
                  <a:gd name="T42" fmla="*/ 27 w 38"/>
                  <a:gd name="T43" fmla="*/ 22 h 29"/>
                  <a:gd name="T44" fmla="*/ 32 w 38"/>
                  <a:gd name="T45" fmla="*/ 22 h 29"/>
                  <a:gd name="T46" fmla="*/ 37 w 38"/>
                  <a:gd name="T47" fmla="*/ 19 h 29"/>
                  <a:gd name="T48" fmla="*/ 38 w 38"/>
                  <a:gd name="T49" fmla="*/ 19 h 29"/>
                  <a:gd name="T50" fmla="*/ 38 w 38"/>
                  <a:gd name="T51" fmla="*/ 14 h 29"/>
                  <a:gd name="T52" fmla="*/ 37 w 38"/>
                  <a:gd name="T53" fmla="*/ 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8" h="29">
                    <a:moveTo>
                      <a:pt x="37" y="7"/>
                    </a:moveTo>
                    <a:lnTo>
                      <a:pt x="30" y="2"/>
                    </a:lnTo>
                    <a:lnTo>
                      <a:pt x="28" y="0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17" y="2"/>
                    </a:lnTo>
                    <a:lnTo>
                      <a:pt x="13" y="2"/>
                    </a:lnTo>
                    <a:lnTo>
                      <a:pt x="11" y="3"/>
                    </a:lnTo>
                    <a:lnTo>
                      <a:pt x="10" y="3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8" y="29"/>
                    </a:lnTo>
                    <a:lnTo>
                      <a:pt x="10" y="29"/>
                    </a:lnTo>
                    <a:lnTo>
                      <a:pt x="13" y="27"/>
                    </a:lnTo>
                    <a:lnTo>
                      <a:pt x="18" y="27"/>
                    </a:lnTo>
                    <a:lnTo>
                      <a:pt x="22" y="24"/>
                    </a:lnTo>
                    <a:lnTo>
                      <a:pt x="27" y="22"/>
                    </a:lnTo>
                    <a:lnTo>
                      <a:pt x="32" y="22"/>
                    </a:lnTo>
                    <a:lnTo>
                      <a:pt x="37" y="19"/>
                    </a:lnTo>
                    <a:lnTo>
                      <a:pt x="38" y="19"/>
                    </a:lnTo>
                    <a:lnTo>
                      <a:pt x="38" y="14"/>
                    </a:lnTo>
                    <a:lnTo>
                      <a:pt x="37" y="7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58" name="Group 1657">
              <a:extLst>
                <a:ext uri="{FF2B5EF4-FFF2-40B4-BE49-F238E27FC236}">
                  <a16:creationId xmlns:a16="http://schemas.microsoft.com/office/drawing/2014/main" id="{3C2D2E4D-EA55-0442-BF6F-D4776BADD0D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5" y="768"/>
              <a:ext cx="3" cy="4"/>
              <a:chOff x="385" y="768"/>
              <a:chExt cx="3" cy="4"/>
            </a:xfrm>
          </p:grpSpPr>
          <p:sp>
            <p:nvSpPr>
              <p:cNvPr id="1874" name="Freeform 248">
                <a:extLst>
                  <a:ext uri="{FF2B5EF4-FFF2-40B4-BE49-F238E27FC236}">
                    <a16:creationId xmlns:a16="http://schemas.microsoft.com/office/drawing/2014/main" id="{E91F5249-706C-FB4F-9F8D-11934BEF72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" y="768"/>
                <a:ext cx="3" cy="4"/>
              </a:xfrm>
              <a:custGeom>
                <a:avLst/>
                <a:gdLst>
                  <a:gd name="T0" fmla="*/ 0 w 3"/>
                  <a:gd name="T1" fmla="*/ 2 h 4"/>
                  <a:gd name="T2" fmla="*/ 1 w 3"/>
                  <a:gd name="T3" fmla="*/ 4 h 4"/>
                  <a:gd name="T4" fmla="*/ 3 w 3"/>
                  <a:gd name="T5" fmla="*/ 4 h 4"/>
                  <a:gd name="T6" fmla="*/ 3 w 3"/>
                  <a:gd name="T7" fmla="*/ 2 h 4"/>
                  <a:gd name="T8" fmla="*/ 1 w 3"/>
                  <a:gd name="T9" fmla="*/ 2 h 4"/>
                  <a:gd name="T10" fmla="*/ 0 w 3"/>
                  <a:gd name="T11" fmla="*/ 0 h 4"/>
                  <a:gd name="T12" fmla="*/ 0 w 3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0" y="2"/>
                    </a:moveTo>
                    <a:lnTo>
                      <a:pt x="1" y="4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875" name="Freeform 249">
                <a:extLst>
                  <a:ext uri="{FF2B5EF4-FFF2-40B4-BE49-F238E27FC236}">
                    <a16:creationId xmlns:a16="http://schemas.microsoft.com/office/drawing/2014/main" id="{0C15235A-ED0B-334F-95E2-656AFF6933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" y="768"/>
                <a:ext cx="3" cy="4"/>
              </a:xfrm>
              <a:custGeom>
                <a:avLst/>
                <a:gdLst>
                  <a:gd name="T0" fmla="*/ 0 w 3"/>
                  <a:gd name="T1" fmla="*/ 2 h 4"/>
                  <a:gd name="T2" fmla="*/ 1 w 3"/>
                  <a:gd name="T3" fmla="*/ 4 h 4"/>
                  <a:gd name="T4" fmla="*/ 3 w 3"/>
                  <a:gd name="T5" fmla="*/ 4 h 4"/>
                  <a:gd name="T6" fmla="*/ 3 w 3"/>
                  <a:gd name="T7" fmla="*/ 2 h 4"/>
                  <a:gd name="T8" fmla="*/ 1 w 3"/>
                  <a:gd name="T9" fmla="*/ 2 h 4"/>
                  <a:gd name="T10" fmla="*/ 0 w 3"/>
                  <a:gd name="T11" fmla="*/ 0 h 4"/>
                  <a:gd name="T12" fmla="*/ 0 w 3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0" y="2"/>
                    </a:moveTo>
                    <a:lnTo>
                      <a:pt x="1" y="4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59" name="Group 1658">
              <a:extLst>
                <a:ext uri="{FF2B5EF4-FFF2-40B4-BE49-F238E27FC236}">
                  <a16:creationId xmlns:a16="http://schemas.microsoft.com/office/drawing/2014/main" id="{5CFEF7FF-90D4-BA45-8E2C-FF6CE768BBC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72" y="531"/>
              <a:ext cx="50" cy="52"/>
              <a:chOff x="572" y="531"/>
              <a:chExt cx="50" cy="52"/>
            </a:xfrm>
          </p:grpSpPr>
          <p:sp>
            <p:nvSpPr>
              <p:cNvPr id="1872" name="Freeform 246">
                <a:extLst>
                  <a:ext uri="{FF2B5EF4-FFF2-40B4-BE49-F238E27FC236}">
                    <a16:creationId xmlns:a16="http://schemas.microsoft.com/office/drawing/2014/main" id="{5B7B7CF0-AEBA-7C45-ACBF-CDDB60EE93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" y="531"/>
                <a:ext cx="50" cy="52"/>
              </a:xfrm>
              <a:custGeom>
                <a:avLst/>
                <a:gdLst>
                  <a:gd name="T0" fmla="*/ 0 w 50"/>
                  <a:gd name="T1" fmla="*/ 6 h 52"/>
                  <a:gd name="T2" fmla="*/ 3 w 50"/>
                  <a:gd name="T3" fmla="*/ 11 h 52"/>
                  <a:gd name="T4" fmla="*/ 3 w 50"/>
                  <a:gd name="T5" fmla="*/ 15 h 52"/>
                  <a:gd name="T6" fmla="*/ 6 w 50"/>
                  <a:gd name="T7" fmla="*/ 17 h 52"/>
                  <a:gd name="T8" fmla="*/ 10 w 50"/>
                  <a:gd name="T9" fmla="*/ 18 h 52"/>
                  <a:gd name="T10" fmla="*/ 13 w 50"/>
                  <a:gd name="T11" fmla="*/ 22 h 52"/>
                  <a:gd name="T12" fmla="*/ 17 w 50"/>
                  <a:gd name="T13" fmla="*/ 25 h 52"/>
                  <a:gd name="T14" fmla="*/ 18 w 50"/>
                  <a:gd name="T15" fmla="*/ 30 h 52"/>
                  <a:gd name="T16" fmla="*/ 20 w 50"/>
                  <a:gd name="T17" fmla="*/ 33 h 52"/>
                  <a:gd name="T18" fmla="*/ 22 w 50"/>
                  <a:gd name="T19" fmla="*/ 37 h 52"/>
                  <a:gd name="T20" fmla="*/ 20 w 50"/>
                  <a:gd name="T21" fmla="*/ 42 h 52"/>
                  <a:gd name="T22" fmla="*/ 20 w 50"/>
                  <a:gd name="T23" fmla="*/ 45 h 52"/>
                  <a:gd name="T24" fmla="*/ 22 w 50"/>
                  <a:gd name="T25" fmla="*/ 49 h 52"/>
                  <a:gd name="T26" fmla="*/ 22 w 50"/>
                  <a:gd name="T27" fmla="*/ 52 h 52"/>
                  <a:gd name="T28" fmla="*/ 25 w 50"/>
                  <a:gd name="T29" fmla="*/ 52 h 52"/>
                  <a:gd name="T30" fmla="*/ 30 w 50"/>
                  <a:gd name="T31" fmla="*/ 50 h 52"/>
                  <a:gd name="T32" fmla="*/ 33 w 50"/>
                  <a:gd name="T33" fmla="*/ 49 h 52"/>
                  <a:gd name="T34" fmla="*/ 37 w 50"/>
                  <a:gd name="T35" fmla="*/ 49 h 52"/>
                  <a:gd name="T36" fmla="*/ 38 w 50"/>
                  <a:gd name="T37" fmla="*/ 47 h 52"/>
                  <a:gd name="T38" fmla="*/ 40 w 50"/>
                  <a:gd name="T39" fmla="*/ 45 h 52"/>
                  <a:gd name="T40" fmla="*/ 40 w 50"/>
                  <a:gd name="T41" fmla="*/ 42 h 52"/>
                  <a:gd name="T42" fmla="*/ 42 w 50"/>
                  <a:gd name="T43" fmla="*/ 40 h 52"/>
                  <a:gd name="T44" fmla="*/ 45 w 50"/>
                  <a:gd name="T45" fmla="*/ 40 h 52"/>
                  <a:gd name="T46" fmla="*/ 47 w 50"/>
                  <a:gd name="T47" fmla="*/ 38 h 52"/>
                  <a:gd name="T48" fmla="*/ 50 w 50"/>
                  <a:gd name="T49" fmla="*/ 38 h 52"/>
                  <a:gd name="T50" fmla="*/ 50 w 50"/>
                  <a:gd name="T51" fmla="*/ 28 h 52"/>
                  <a:gd name="T52" fmla="*/ 49 w 50"/>
                  <a:gd name="T53" fmla="*/ 22 h 52"/>
                  <a:gd name="T54" fmla="*/ 44 w 50"/>
                  <a:gd name="T55" fmla="*/ 11 h 52"/>
                  <a:gd name="T56" fmla="*/ 38 w 50"/>
                  <a:gd name="T57" fmla="*/ 5 h 52"/>
                  <a:gd name="T58" fmla="*/ 25 w 50"/>
                  <a:gd name="T59" fmla="*/ 1 h 52"/>
                  <a:gd name="T60" fmla="*/ 17 w 50"/>
                  <a:gd name="T61" fmla="*/ 0 h 52"/>
                  <a:gd name="T62" fmla="*/ 12 w 50"/>
                  <a:gd name="T63" fmla="*/ 0 h 52"/>
                  <a:gd name="T64" fmla="*/ 6 w 50"/>
                  <a:gd name="T65" fmla="*/ 0 h 52"/>
                  <a:gd name="T66" fmla="*/ 1 w 50"/>
                  <a:gd name="T67" fmla="*/ 3 h 52"/>
                  <a:gd name="T68" fmla="*/ 0 w 50"/>
                  <a:gd name="T69" fmla="*/ 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0" h="52">
                    <a:moveTo>
                      <a:pt x="0" y="5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3" y="11"/>
                    </a:lnTo>
                    <a:lnTo>
                      <a:pt x="3" y="13"/>
                    </a:lnTo>
                    <a:lnTo>
                      <a:pt x="3" y="15"/>
                    </a:lnTo>
                    <a:lnTo>
                      <a:pt x="5" y="15"/>
                    </a:lnTo>
                    <a:lnTo>
                      <a:pt x="6" y="17"/>
                    </a:lnTo>
                    <a:lnTo>
                      <a:pt x="8" y="17"/>
                    </a:lnTo>
                    <a:lnTo>
                      <a:pt x="10" y="18"/>
                    </a:lnTo>
                    <a:lnTo>
                      <a:pt x="12" y="20"/>
                    </a:lnTo>
                    <a:lnTo>
                      <a:pt x="13" y="22"/>
                    </a:lnTo>
                    <a:lnTo>
                      <a:pt x="15" y="23"/>
                    </a:lnTo>
                    <a:lnTo>
                      <a:pt x="17" y="25"/>
                    </a:lnTo>
                    <a:lnTo>
                      <a:pt x="17" y="28"/>
                    </a:lnTo>
                    <a:lnTo>
                      <a:pt x="18" y="30"/>
                    </a:lnTo>
                    <a:lnTo>
                      <a:pt x="20" y="32"/>
                    </a:lnTo>
                    <a:lnTo>
                      <a:pt x="20" y="33"/>
                    </a:lnTo>
                    <a:lnTo>
                      <a:pt x="20" y="35"/>
                    </a:lnTo>
                    <a:lnTo>
                      <a:pt x="22" y="37"/>
                    </a:lnTo>
                    <a:lnTo>
                      <a:pt x="22" y="40"/>
                    </a:lnTo>
                    <a:lnTo>
                      <a:pt x="20" y="42"/>
                    </a:lnTo>
                    <a:lnTo>
                      <a:pt x="20" y="43"/>
                    </a:lnTo>
                    <a:lnTo>
                      <a:pt x="20" y="45"/>
                    </a:lnTo>
                    <a:lnTo>
                      <a:pt x="20" y="47"/>
                    </a:lnTo>
                    <a:lnTo>
                      <a:pt x="22" y="49"/>
                    </a:lnTo>
                    <a:lnTo>
                      <a:pt x="22" y="50"/>
                    </a:lnTo>
                    <a:lnTo>
                      <a:pt x="22" y="52"/>
                    </a:lnTo>
                    <a:lnTo>
                      <a:pt x="23" y="52"/>
                    </a:lnTo>
                    <a:lnTo>
                      <a:pt x="25" y="52"/>
                    </a:lnTo>
                    <a:lnTo>
                      <a:pt x="28" y="52"/>
                    </a:lnTo>
                    <a:lnTo>
                      <a:pt x="30" y="50"/>
                    </a:lnTo>
                    <a:lnTo>
                      <a:pt x="32" y="50"/>
                    </a:lnTo>
                    <a:lnTo>
                      <a:pt x="33" y="49"/>
                    </a:lnTo>
                    <a:lnTo>
                      <a:pt x="35" y="49"/>
                    </a:lnTo>
                    <a:lnTo>
                      <a:pt x="37" y="49"/>
                    </a:lnTo>
                    <a:lnTo>
                      <a:pt x="37" y="47"/>
                    </a:lnTo>
                    <a:lnTo>
                      <a:pt x="38" y="47"/>
                    </a:lnTo>
                    <a:lnTo>
                      <a:pt x="40" y="47"/>
                    </a:lnTo>
                    <a:lnTo>
                      <a:pt x="40" y="45"/>
                    </a:lnTo>
                    <a:lnTo>
                      <a:pt x="40" y="43"/>
                    </a:lnTo>
                    <a:lnTo>
                      <a:pt x="40" y="42"/>
                    </a:lnTo>
                    <a:lnTo>
                      <a:pt x="42" y="42"/>
                    </a:lnTo>
                    <a:lnTo>
                      <a:pt x="42" y="40"/>
                    </a:lnTo>
                    <a:lnTo>
                      <a:pt x="44" y="40"/>
                    </a:lnTo>
                    <a:lnTo>
                      <a:pt x="45" y="40"/>
                    </a:lnTo>
                    <a:lnTo>
                      <a:pt x="47" y="40"/>
                    </a:lnTo>
                    <a:lnTo>
                      <a:pt x="47" y="38"/>
                    </a:lnTo>
                    <a:lnTo>
                      <a:pt x="49" y="38"/>
                    </a:lnTo>
                    <a:lnTo>
                      <a:pt x="50" y="38"/>
                    </a:lnTo>
                    <a:lnTo>
                      <a:pt x="50" y="33"/>
                    </a:lnTo>
                    <a:lnTo>
                      <a:pt x="50" y="28"/>
                    </a:lnTo>
                    <a:lnTo>
                      <a:pt x="49" y="25"/>
                    </a:lnTo>
                    <a:lnTo>
                      <a:pt x="49" y="22"/>
                    </a:lnTo>
                    <a:lnTo>
                      <a:pt x="45" y="17"/>
                    </a:lnTo>
                    <a:lnTo>
                      <a:pt x="44" y="11"/>
                    </a:lnTo>
                    <a:lnTo>
                      <a:pt x="42" y="8"/>
                    </a:lnTo>
                    <a:lnTo>
                      <a:pt x="38" y="5"/>
                    </a:lnTo>
                    <a:lnTo>
                      <a:pt x="33" y="3"/>
                    </a:lnTo>
                    <a:lnTo>
                      <a:pt x="25" y="1"/>
                    </a:lnTo>
                    <a:lnTo>
                      <a:pt x="22" y="0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1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873" name="Freeform 247">
                <a:extLst>
                  <a:ext uri="{FF2B5EF4-FFF2-40B4-BE49-F238E27FC236}">
                    <a16:creationId xmlns:a16="http://schemas.microsoft.com/office/drawing/2014/main" id="{32080213-4A41-E34C-9FD0-1BA9C29A6C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" y="531"/>
                <a:ext cx="50" cy="52"/>
              </a:xfrm>
              <a:custGeom>
                <a:avLst/>
                <a:gdLst>
                  <a:gd name="T0" fmla="*/ 0 w 50"/>
                  <a:gd name="T1" fmla="*/ 6 h 52"/>
                  <a:gd name="T2" fmla="*/ 3 w 50"/>
                  <a:gd name="T3" fmla="*/ 11 h 52"/>
                  <a:gd name="T4" fmla="*/ 3 w 50"/>
                  <a:gd name="T5" fmla="*/ 15 h 52"/>
                  <a:gd name="T6" fmla="*/ 6 w 50"/>
                  <a:gd name="T7" fmla="*/ 17 h 52"/>
                  <a:gd name="T8" fmla="*/ 10 w 50"/>
                  <a:gd name="T9" fmla="*/ 18 h 52"/>
                  <a:gd name="T10" fmla="*/ 13 w 50"/>
                  <a:gd name="T11" fmla="*/ 22 h 52"/>
                  <a:gd name="T12" fmla="*/ 17 w 50"/>
                  <a:gd name="T13" fmla="*/ 25 h 52"/>
                  <a:gd name="T14" fmla="*/ 18 w 50"/>
                  <a:gd name="T15" fmla="*/ 30 h 52"/>
                  <a:gd name="T16" fmla="*/ 20 w 50"/>
                  <a:gd name="T17" fmla="*/ 33 h 52"/>
                  <a:gd name="T18" fmla="*/ 22 w 50"/>
                  <a:gd name="T19" fmla="*/ 37 h 52"/>
                  <a:gd name="T20" fmla="*/ 20 w 50"/>
                  <a:gd name="T21" fmla="*/ 42 h 52"/>
                  <a:gd name="T22" fmla="*/ 20 w 50"/>
                  <a:gd name="T23" fmla="*/ 45 h 52"/>
                  <a:gd name="T24" fmla="*/ 22 w 50"/>
                  <a:gd name="T25" fmla="*/ 49 h 52"/>
                  <a:gd name="T26" fmla="*/ 22 w 50"/>
                  <a:gd name="T27" fmla="*/ 52 h 52"/>
                  <a:gd name="T28" fmla="*/ 25 w 50"/>
                  <a:gd name="T29" fmla="*/ 52 h 52"/>
                  <a:gd name="T30" fmla="*/ 30 w 50"/>
                  <a:gd name="T31" fmla="*/ 50 h 52"/>
                  <a:gd name="T32" fmla="*/ 33 w 50"/>
                  <a:gd name="T33" fmla="*/ 49 h 52"/>
                  <a:gd name="T34" fmla="*/ 37 w 50"/>
                  <a:gd name="T35" fmla="*/ 49 h 52"/>
                  <a:gd name="T36" fmla="*/ 38 w 50"/>
                  <a:gd name="T37" fmla="*/ 47 h 52"/>
                  <a:gd name="T38" fmla="*/ 40 w 50"/>
                  <a:gd name="T39" fmla="*/ 45 h 52"/>
                  <a:gd name="T40" fmla="*/ 40 w 50"/>
                  <a:gd name="T41" fmla="*/ 42 h 52"/>
                  <a:gd name="T42" fmla="*/ 42 w 50"/>
                  <a:gd name="T43" fmla="*/ 40 h 52"/>
                  <a:gd name="T44" fmla="*/ 45 w 50"/>
                  <a:gd name="T45" fmla="*/ 40 h 52"/>
                  <a:gd name="T46" fmla="*/ 47 w 50"/>
                  <a:gd name="T47" fmla="*/ 38 h 52"/>
                  <a:gd name="T48" fmla="*/ 50 w 50"/>
                  <a:gd name="T49" fmla="*/ 38 h 52"/>
                  <a:gd name="T50" fmla="*/ 50 w 50"/>
                  <a:gd name="T51" fmla="*/ 28 h 52"/>
                  <a:gd name="T52" fmla="*/ 49 w 50"/>
                  <a:gd name="T53" fmla="*/ 22 h 52"/>
                  <a:gd name="T54" fmla="*/ 44 w 50"/>
                  <a:gd name="T55" fmla="*/ 11 h 52"/>
                  <a:gd name="T56" fmla="*/ 38 w 50"/>
                  <a:gd name="T57" fmla="*/ 5 h 52"/>
                  <a:gd name="T58" fmla="*/ 25 w 50"/>
                  <a:gd name="T59" fmla="*/ 1 h 52"/>
                  <a:gd name="T60" fmla="*/ 17 w 50"/>
                  <a:gd name="T61" fmla="*/ 0 h 52"/>
                  <a:gd name="T62" fmla="*/ 12 w 50"/>
                  <a:gd name="T63" fmla="*/ 0 h 52"/>
                  <a:gd name="T64" fmla="*/ 6 w 50"/>
                  <a:gd name="T65" fmla="*/ 0 h 52"/>
                  <a:gd name="T66" fmla="*/ 1 w 50"/>
                  <a:gd name="T67" fmla="*/ 3 h 52"/>
                  <a:gd name="T68" fmla="*/ 0 w 50"/>
                  <a:gd name="T69" fmla="*/ 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0" h="52">
                    <a:moveTo>
                      <a:pt x="0" y="5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3" y="11"/>
                    </a:lnTo>
                    <a:lnTo>
                      <a:pt x="3" y="13"/>
                    </a:lnTo>
                    <a:lnTo>
                      <a:pt x="3" y="15"/>
                    </a:lnTo>
                    <a:lnTo>
                      <a:pt x="5" y="15"/>
                    </a:lnTo>
                    <a:lnTo>
                      <a:pt x="6" y="17"/>
                    </a:lnTo>
                    <a:lnTo>
                      <a:pt x="8" y="17"/>
                    </a:lnTo>
                    <a:lnTo>
                      <a:pt x="10" y="18"/>
                    </a:lnTo>
                    <a:lnTo>
                      <a:pt x="12" y="20"/>
                    </a:lnTo>
                    <a:lnTo>
                      <a:pt x="13" y="22"/>
                    </a:lnTo>
                    <a:lnTo>
                      <a:pt x="15" y="23"/>
                    </a:lnTo>
                    <a:lnTo>
                      <a:pt x="17" y="25"/>
                    </a:lnTo>
                    <a:lnTo>
                      <a:pt x="17" y="28"/>
                    </a:lnTo>
                    <a:lnTo>
                      <a:pt x="18" y="30"/>
                    </a:lnTo>
                    <a:lnTo>
                      <a:pt x="20" y="32"/>
                    </a:lnTo>
                    <a:lnTo>
                      <a:pt x="20" y="33"/>
                    </a:lnTo>
                    <a:lnTo>
                      <a:pt x="20" y="35"/>
                    </a:lnTo>
                    <a:lnTo>
                      <a:pt x="22" y="37"/>
                    </a:lnTo>
                    <a:lnTo>
                      <a:pt x="22" y="40"/>
                    </a:lnTo>
                    <a:lnTo>
                      <a:pt x="20" y="42"/>
                    </a:lnTo>
                    <a:lnTo>
                      <a:pt x="20" y="43"/>
                    </a:lnTo>
                    <a:lnTo>
                      <a:pt x="20" y="45"/>
                    </a:lnTo>
                    <a:lnTo>
                      <a:pt x="20" y="47"/>
                    </a:lnTo>
                    <a:lnTo>
                      <a:pt x="22" y="49"/>
                    </a:lnTo>
                    <a:lnTo>
                      <a:pt x="22" y="50"/>
                    </a:lnTo>
                    <a:lnTo>
                      <a:pt x="22" y="52"/>
                    </a:lnTo>
                    <a:lnTo>
                      <a:pt x="23" y="52"/>
                    </a:lnTo>
                    <a:lnTo>
                      <a:pt x="25" y="52"/>
                    </a:lnTo>
                    <a:lnTo>
                      <a:pt x="28" y="52"/>
                    </a:lnTo>
                    <a:lnTo>
                      <a:pt x="30" y="50"/>
                    </a:lnTo>
                    <a:lnTo>
                      <a:pt x="32" y="50"/>
                    </a:lnTo>
                    <a:lnTo>
                      <a:pt x="33" y="49"/>
                    </a:lnTo>
                    <a:lnTo>
                      <a:pt x="35" y="49"/>
                    </a:lnTo>
                    <a:lnTo>
                      <a:pt x="37" y="49"/>
                    </a:lnTo>
                    <a:lnTo>
                      <a:pt x="37" y="47"/>
                    </a:lnTo>
                    <a:lnTo>
                      <a:pt x="38" y="47"/>
                    </a:lnTo>
                    <a:lnTo>
                      <a:pt x="40" y="47"/>
                    </a:lnTo>
                    <a:lnTo>
                      <a:pt x="40" y="45"/>
                    </a:lnTo>
                    <a:lnTo>
                      <a:pt x="40" y="43"/>
                    </a:lnTo>
                    <a:lnTo>
                      <a:pt x="40" y="42"/>
                    </a:lnTo>
                    <a:lnTo>
                      <a:pt x="42" y="42"/>
                    </a:lnTo>
                    <a:lnTo>
                      <a:pt x="42" y="40"/>
                    </a:lnTo>
                    <a:lnTo>
                      <a:pt x="44" y="40"/>
                    </a:lnTo>
                    <a:lnTo>
                      <a:pt x="45" y="40"/>
                    </a:lnTo>
                    <a:lnTo>
                      <a:pt x="47" y="40"/>
                    </a:lnTo>
                    <a:lnTo>
                      <a:pt x="47" y="38"/>
                    </a:lnTo>
                    <a:lnTo>
                      <a:pt x="49" y="38"/>
                    </a:lnTo>
                    <a:lnTo>
                      <a:pt x="50" y="38"/>
                    </a:lnTo>
                    <a:lnTo>
                      <a:pt x="50" y="33"/>
                    </a:lnTo>
                    <a:lnTo>
                      <a:pt x="50" y="28"/>
                    </a:lnTo>
                    <a:lnTo>
                      <a:pt x="49" y="25"/>
                    </a:lnTo>
                    <a:lnTo>
                      <a:pt x="49" y="22"/>
                    </a:lnTo>
                    <a:lnTo>
                      <a:pt x="45" y="17"/>
                    </a:lnTo>
                    <a:lnTo>
                      <a:pt x="44" y="11"/>
                    </a:lnTo>
                    <a:lnTo>
                      <a:pt x="42" y="8"/>
                    </a:lnTo>
                    <a:lnTo>
                      <a:pt x="38" y="5"/>
                    </a:lnTo>
                    <a:lnTo>
                      <a:pt x="33" y="3"/>
                    </a:lnTo>
                    <a:lnTo>
                      <a:pt x="25" y="1"/>
                    </a:lnTo>
                    <a:lnTo>
                      <a:pt x="22" y="0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1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60" name="Group 1659">
              <a:extLst>
                <a:ext uri="{FF2B5EF4-FFF2-40B4-BE49-F238E27FC236}">
                  <a16:creationId xmlns:a16="http://schemas.microsoft.com/office/drawing/2014/main" id="{6D8A74E0-2B1F-DF41-A5B4-E12A0A2C62D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6" y="431"/>
              <a:ext cx="56" cy="58"/>
              <a:chOff x="216" y="431"/>
              <a:chExt cx="56" cy="58"/>
            </a:xfrm>
          </p:grpSpPr>
          <p:grpSp>
            <p:nvGrpSpPr>
              <p:cNvPr id="1857" name="Group 1856">
                <a:extLst>
                  <a:ext uri="{FF2B5EF4-FFF2-40B4-BE49-F238E27FC236}">
                    <a16:creationId xmlns:a16="http://schemas.microsoft.com/office/drawing/2014/main" id="{61CC6C5E-2BD7-AF48-8DBE-B7A97762A8A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36" y="436"/>
                <a:ext cx="4" cy="7"/>
                <a:chOff x="236" y="436"/>
                <a:chExt cx="4" cy="7"/>
              </a:xfrm>
            </p:grpSpPr>
            <p:sp>
              <p:nvSpPr>
                <p:cNvPr id="1870" name="Freeform 244">
                  <a:extLst>
                    <a:ext uri="{FF2B5EF4-FFF2-40B4-BE49-F238E27FC236}">
                      <a16:creationId xmlns:a16="http://schemas.microsoft.com/office/drawing/2014/main" id="{2E1ABA39-6DFD-904A-A67C-612B131B4A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" y="436"/>
                  <a:ext cx="4" cy="7"/>
                </a:xfrm>
                <a:custGeom>
                  <a:avLst/>
                  <a:gdLst>
                    <a:gd name="T0" fmla="*/ 4 w 4"/>
                    <a:gd name="T1" fmla="*/ 4 h 7"/>
                    <a:gd name="T2" fmla="*/ 2 w 4"/>
                    <a:gd name="T3" fmla="*/ 5 h 7"/>
                    <a:gd name="T4" fmla="*/ 0 w 4"/>
                    <a:gd name="T5" fmla="*/ 7 h 7"/>
                    <a:gd name="T6" fmla="*/ 0 w 4"/>
                    <a:gd name="T7" fmla="*/ 4 h 7"/>
                    <a:gd name="T8" fmla="*/ 4 w 4"/>
                    <a:gd name="T9" fmla="*/ 2 h 7"/>
                    <a:gd name="T10" fmla="*/ 4 w 4"/>
                    <a:gd name="T11" fmla="*/ 0 h 7"/>
                    <a:gd name="T12" fmla="*/ 4 w 4"/>
                    <a:gd name="T13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7">
                      <a:moveTo>
                        <a:pt x="4" y="4"/>
                      </a:moveTo>
                      <a:lnTo>
                        <a:pt x="2" y="5"/>
                      </a:lnTo>
                      <a:lnTo>
                        <a:pt x="0" y="7"/>
                      </a:lnTo>
                      <a:lnTo>
                        <a:pt x="0" y="4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71" name="Freeform 245">
                  <a:extLst>
                    <a:ext uri="{FF2B5EF4-FFF2-40B4-BE49-F238E27FC236}">
                      <a16:creationId xmlns:a16="http://schemas.microsoft.com/office/drawing/2014/main" id="{032F9303-A4BA-424B-B1C9-79E594E00F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" y="436"/>
                  <a:ext cx="4" cy="7"/>
                </a:xfrm>
                <a:custGeom>
                  <a:avLst/>
                  <a:gdLst>
                    <a:gd name="T0" fmla="*/ 4 w 4"/>
                    <a:gd name="T1" fmla="*/ 4 h 7"/>
                    <a:gd name="T2" fmla="*/ 2 w 4"/>
                    <a:gd name="T3" fmla="*/ 5 h 7"/>
                    <a:gd name="T4" fmla="*/ 0 w 4"/>
                    <a:gd name="T5" fmla="*/ 7 h 7"/>
                    <a:gd name="T6" fmla="*/ 0 w 4"/>
                    <a:gd name="T7" fmla="*/ 4 h 7"/>
                    <a:gd name="T8" fmla="*/ 4 w 4"/>
                    <a:gd name="T9" fmla="*/ 2 h 7"/>
                    <a:gd name="T10" fmla="*/ 4 w 4"/>
                    <a:gd name="T11" fmla="*/ 0 h 7"/>
                    <a:gd name="T12" fmla="*/ 4 w 4"/>
                    <a:gd name="T13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7">
                      <a:moveTo>
                        <a:pt x="4" y="4"/>
                      </a:moveTo>
                      <a:lnTo>
                        <a:pt x="2" y="5"/>
                      </a:lnTo>
                      <a:lnTo>
                        <a:pt x="0" y="7"/>
                      </a:lnTo>
                      <a:lnTo>
                        <a:pt x="0" y="4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58" name="Group 1857">
                <a:extLst>
                  <a:ext uri="{FF2B5EF4-FFF2-40B4-BE49-F238E27FC236}">
                    <a16:creationId xmlns:a16="http://schemas.microsoft.com/office/drawing/2014/main" id="{EA64012B-6495-904A-967E-27B1C3AB2D7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16" y="431"/>
                <a:ext cx="56" cy="58"/>
                <a:chOff x="216" y="431"/>
                <a:chExt cx="56" cy="58"/>
              </a:xfrm>
            </p:grpSpPr>
            <p:sp>
              <p:nvSpPr>
                <p:cNvPr id="1868" name="Freeform 242">
                  <a:extLst>
                    <a:ext uri="{FF2B5EF4-FFF2-40B4-BE49-F238E27FC236}">
                      <a16:creationId xmlns:a16="http://schemas.microsoft.com/office/drawing/2014/main" id="{97482EE7-5B07-B243-919D-669040B9CB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" y="431"/>
                  <a:ext cx="56" cy="58"/>
                </a:xfrm>
                <a:custGeom>
                  <a:avLst/>
                  <a:gdLst>
                    <a:gd name="T0" fmla="*/ 37 w 56"/>
                    <a:gd name="T1" fmla="*/ 51 h 58"/>
                    <a:gd name="T2" fmla="*/ 39 w 56"/>
                    <a:gd name="T3" fmla="*/ 46 h 58"/>
                    <a:gd name="T4" fmla="*/ 39 w 56"/>
                    <a:gd name="T5" fmla="*/ 39 h 58"/>
                    <a:gd name="T6" fmla="*/ 40 w 56"/>
                    <a:gd name="T7" fmla="*/ 32 h 58"/>
                    <a:gd name="T8" fmla="*/ 49 w 56"/>
                    <a:gd name="T9" fmla="*/ 31 h 58"/>
                    <a:gd name="T10" fmla="*/ 54 w 56"/>
                    <a:gd name="T11" fmla="*/ 24 h 58"/>
                    <a:gd name="T12" fmla="*/ 49 w 56"/>
                    <a:gd name="T13" fmla="*/ 20 h 58"/>
                    <a:gd name="T14" fmla="*/ 54 w 56"/>
                    <a:gd name="T15" fmla="*/ 12 h 58"/>
                    <a:gd name="T16" fmla="*/ 56 w 56"/>
                    <a:gd name="T17" fmla="*/ 5 h 58"/>
                    <a:gd name="T18" fmla="*/ 54 w 56"/>
                    <a:gd name="T19" fmla="*/ 2 h 58"/>
                    <a:gd name="T20" fmla="*/ 51 w 56"/>
                    <a:gd name="T21" fmla="*/ 0 h 58"/>
                    <a:gd name="T22" fmla="*/ 45 w 56"/>
                    <a:gd name="T23" fmla="*/ 2 h 58"/>
                    <a:gd name="T24" fmla="*/ 40 w 56"/>
                    <a:gd name="T25" fmla="*/ 2 h 58"/>
                    <a:gd name="T26" fmla="*/ 35 w 56"/>
                    <a:gd name="T27" fmla="*/ 2 h 58"/>
                    <a:gd name="T28" fmla="*/ 32 w 56"/>
                    <a:gd name="T29" fmla="*/ 4 h 58"/>
                    <a:gd name="T30" fmla="*/ 30 w 56"/>
                    <a:gd name="T31" fmla="*/ 7 h 58"/>
                    <a:gd name="T32" fmla="*/ 29 w 56"/>
                    <a:gd name="T33" fmla="*/ 10 h 58"/>
                    <a:gd name="T34" fmla="*/ 30 w 56"/>
                    <a:gd name="T35" fmla="*/ 12 h 58"/>
                    <a:gd name="T36" fmla="*/ 32 w 56"/>
                    <a:gd name="T37" fmla="*/ 15 h 58"/>
                    <a:gd name="T38" fmla="*/ 30 w 56"/>
                    <a:gd name="T39" fmla="*/ 19 h 58"/>
                    <a:gd name="T40" fmla="*/ 29 w 56"/>
                    <a:gd name="T41" fmla="*/ 22 h 58"/>
                    <a:gd name="T42" fmla="*/ 30 w 56"/>
                    <a:gd name="T43" fmla="*/ 25 h 58"/>
                    <a:gd name="T44" fmla="*/ 27 w 56"/>
                    <a:gd name="T45" fmla="*/ 24 h 58"/>
                    <a:gd name="T46" fmla="*/ 24 w 56"/>
                    <a:gd name="T47" fmla="*/ 22 h 58"/>
                    <a:gd name="T48" fmla="*/ 24 w 56"/>
                    <a:gd name="T49" fmla="*/ 17 h 58"/>
                    <a:gd name="T50" fmla="*/ 27 w 56"/>
                    <a:gd name="T51" fmla="*/ 15 h 58"/>
                    <a:gd name="T52" fmla="*/ 24 w 56"/>
                    <a:gd name="T53" fmla="*/ 14 h 58"/>
                    <a:gd name="T54" fmla="*/ 18 w 56"/>
                    <a:gd name="T55" fmla="*/ 17 h 58"/>
                    <a:gd name="T56" fmla="*/ 15 w 56"/>
                    <a:gd name="T57" fmla="*/ 29 h 58"/>
                    <a:gd name="T58" fmla="*/ 12 w 56"/>
                    <a:gd name="T59" fmla="*/ 31 h 58"/>
                    <a:gd name="T60" fmla="*/ 10 w 56"/>
                    <a:gd name="T61" fmla="*/ 36 h 58"/>
                    <a:gd name="T62" fmla="*/ 17 w 56"/>
                    <a:gd name="T63" fmla="*/ 37 h 58"/>
                    <a:gd name="T64" fmla="*/ 22 w 56"/>
                    <a:gd name="T65" fmla="*/ 37 h 58"/>
                    <a:gd name="T66" fmla="*/ 12 w 56"/>
                    <a:gd name="T67" fmla="*/ 41 h 58"/>
                    <a:gd name="T68" fmla="*/ 5 w 56"/>
                    <a:gd name="T69" fmla="*/ 42 h 58"/>
                    <a:gd name="T70" fmla="*/ 12 w 56"/>
                    <a:gd name="T71" fmla="*/ 44 h 58"/>
                    <a:gd name="T72" fmla="*/ 8 w 56"/>
                    <a:gd name="T73" fmla="*/ 44 h 58"/>
                    <a:gd name="T74" fmla="*/ 0 w 56"/>
                    <a:gd name="T75" fmla="*/ 44 h 58"/>
                    <a:gd name="T76" fmla="*/ 7 w 56"/>
                    <a:gd name="T77" fmla="*/ 47 h 58"/>
                    <a:gd name="T78" fmla="*/ 18 w 56"/>
                    <a:gd name="T79" fmla="*/ 42 h 58"/>
                    <a:gd name="T80" fmla="*/ 25 w 56"/>
                    <a:gd name="T81" fmla="*/ 44 h 58"/>
                    <a:gd name="T82" fmla="*/ 30 w 56"/>
                    <a:gd name="T83" fmla="*/ 47 h 58"/>
                    <a:gd name="T84" fmla="*/ 32 w 56"/>
                    <a:gd name="T85" fmla="*/ 52 h 58"/>
                    <a:gd name="T86" fmla="*/ 39 w 56"/>
                    <a:gd name="T87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58">
                      <a:moveTo>
                        <a:pt x="39" y="56"/>
                      </a:moveTo>
                      <a:lnTo>
                        <a:pt x="39" y="54"/>
                      </a:lnTo>
                      <a:lnTo>
                        <a:pt x="37" y="51"/>
                      </a:lnTo>
                      <a:lnTo>
                        <a:pt x="37" y="49"/>
                      </a:lnTo>
                      <a:lnTo>
                        <a:pt x="39" y="47"/>
                      </a:lnTo>
                      <a:lnTo>
                        <a:pt x="39" y="46"/>
                      </a:lnTo>
                      <a:lnTo>
                        <a:pt x="39" y="44"/>
                      </a:lnTo>
                      <a:lnTo>
                        <a:pt x="39" y="41"/>
                      </a:lnTo>
                      <a:lnTo>
                        <a:pt x="39" y="39"/>
                      </a:lnTo>
                      <a:lnTo>
                        <a:pt x="39" y="34"/>
                      </a:lnTo>
                      <a:lnTo>
                        <a:pt x="39" y="32"/>
                      </a:lnTo>
                      <a:lnTo>
                        <a:pt x="40" y="32"/>
                      </a:lnTo>
                      <a:lnTo>
                        <a:pt x="45" y="34"/>
                      </a:lnTo>
                      <a:lnTo>
                        <a:pt x="47" y="34"/>
                      </a:lnTo>
                      <a:lnTo>
                        <a:pt x="49" y="31"/>
                      </a:lnTo>
                      <a:lnTo>
                        <a:pt x="49" y="29"/>
                      </a:lnTo>
                      <a:lnTo>
                        <a:pt x="52" y="27"/>
                      </a:lnTo>
                      <a:lnTo>
                        <a:pt x="54" y="24"/>
                      </a:lnTo>
                      <a:lnTo>
                        <a:pt x="54" y="22"/>
                      </a:lnTo>
                      <a:lnTo>
                        <a:pt x="52" y="20"/>
                      </a:lnTo>
                      <a:lnTo>
                        <a:pt x="49" y="20"/>
                      </a:lnTo>
                      <a:lnTo>
                        <a:pt x="49" y="17"/>
                      </a:lnTo>
                      <a:lnTo>
                        <a:pt x="52" y="15"/>
                      </a:lnTo>
                      <a:lnTo>
                        <a:pt x="54" y="12"/>
                      </a:lnTo>
                      <a:lnTo>
                        <a:pt x="54" y="10"/>
                      </a:lnTo>
                      <a:lnTo>
                        <a:pt x="54" y="7"/>
                      </a:lnTo>
                      <a:lnTo>
                        <a:pt x="56" y="5"/>
                      </a:lnTo>
                      <a:lnTo>
                        <a:pt x="56" y="4"/>
                      </a:lnTo>
                      <a:lnTo>
                        <a:pt x="54" y="4"/>
                      </a:lnTo>
                      <a:lnTo>
                        <a:pt x="54" y="2"/>
                      </a:lnTo>
                      <a:lnTo>
                        <a:pt x="52" y="2"/>
                      </a:lnTo>
                      <a:lnTo>
                        <a:pt x="51" y="2"/>
                      </a:lnTo>
                      <a:lnTo>
                        <a:pt x="51" y="0"/>
                      </a:lnTo>
                      <a:lnTo>
                        <a:pt x="49" y="0"/>
                      </a:lnTo>
                      <a:lnTo>
                        <a:pt x="47" y="0"/>
                      </a:lnTo>
                      <a:lnTo>
                        <a:pt x="45" y="2"/>
                      </a:lnTo>
                      <a:lnTo>
                        <a:pt x="44" y="2"/>
                      </a:lnTo>
                      <a:lnTo>
                        <a:pt x="42" y="2"/>
                      </a:lnTo>
                      <a:lnTo>
                        <a:pt x="40" y="2"/>
                      </a:lnTo>
                      <a:lnTo>
                        <a:pt x="39" y="2"/>
                      </a:lnTo>
                      <a:lnTo>
                        <a:pt x="37" y="2"/>
                      </a:lnTo>
                      <a:lnTo>
                        <a:pt x="35" y="2"/>
                      </a:lnTo>
                      <a:lnTo>
                        <a:pt x="35" y="4"/>
                      </a:lnTo>
                      <a:lnTo>
                        <a:pt x="34" y="4"/>
                      </a:lnTo>
                      <a:lnTo>
                        <a:pt x="32" y="4"/>
                      </a:lnTo>
                      <a:lnTo>
                        <a:pt x="32" y="5"/>
                      </a:lnTo>
                      <a:lnTo>
                        <a:pt x="30" y="5"/>
                      </a:lnTo>
                      <a:lnTo>
                        <a:pt x="30" y="7"/>
                      </a:lnTo>
                      <a:lnTo>
                        <a:pt x="29" y="7"/>
                      </a:lnTo>
                      <a:lnTo>
                        <a:pt x="29" y="9"/>
                      </a:lnTo>
                      <a:lnTo>
                        <a:pt x="29" y="10"/>
                      </a:lnTo>
                      <a:lnTo>
                        <a:pt x="30" y="10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2" y="12"/>
                      </a:lnTo>
                      <a:lnTo>
                        <a:pt x="32" y="14"/>
                      </a:lnTo>
                      <a:lnTo>
                        <a:pt x="32" y="15"/>
                      </a:lnTo>
                      <a:lnTo>
                        <a:pt x="32" y="17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30" y="20"/>
                      </a:lnTo>
                      <a:lnTo>
                        <a:pt x="29" y="20"/>
                      </a:lnTo>
                      <a:lnTo>
                        <a:pt x="29" y="22"/>
                      </a:lnTo>
                      <a:lnTo>
                        <a:pt x="30" y="22"/>
                      </a:lnTo>
                      <a:lnTo>
                        <a:pt x="30" y="24"/>
                      </a:lnTo>
                      <a:lnTo>
                        <a:pt x="30" y="25"/>
                      </a:lnTo>
                      <a:lnTo>
                        <a:pt x="29" y="25"/>
                      </a:lnTo>
                      <a:lnTo>
                        <a:pt x="27" y="25"/>
                      </a:lnTo>
                      <a:lnTo>
                        <a:pt x="27" y="24"/>
                      </a:lnTo>
                      <a:lnTo>
                        <a:pt x="25" y="24"/>
                      </a:lnTo>
                      <a:lnTo>
                        <a:pt x="24" y="24"/>
                      </a:lnTo>
                      <a:lnTo>
                        <a:pt x="24" y="22"/>
                      </a:lnTo>
                      <a:lnTo>
                        <a:pt x="24" y="20"/>
                      </a:lnTo>
                      <a:lnTo>
                        <a:pt x="24" y="19"/>
                      </a:lnTo>
                      <a:lnTo>
                        <a:pt x="24" y="17"/>
                      </a:lnTo>
                      <a:lnTo>
                        <a:pt x="25" y="17"/>
                      </a:lnTo>
                      <a:lnTo>
                        <a:pt x="27" y="17"/>
                      </a:lnTo>
                      <a:lnTo>
                        <a:pt x="27" y="15"/>
                      </a:lnTo>
                      <a:lnTo>
                        <a:pt x="25" y="15"/>
                      </a:lnTo>
                      <a:lnTo>
                        <a:pt x="25" y="14"/>
                      </a:lnTo>
                      <a:lnTo>
                        <a:pt x="24" y="14"/>
                      </a:lnTo>
                      <a:lnTo>
                        <a:pt x="24" y="12"/>
                      </a:lnTo>
                      <a:lnTo>
                        <a:pt x="22" y="14"/>
                      </a:lnTo>
                      <a:lnTo>
                        <a:pt x="18" y="17"/>
                      </a:lnTo>
                      <a:lnTo>
                        <a:pt x="18" y="22"/>
                      </a:lnTo>
                      <a:lnTo>
                        <a:pt x="17" y="25"/>
                      </a:lnTo>
                      <a:lnTo>
                        <a:pt x="15" y="29"/>
                      </a:lnTo>
                      <a:lnTo>
                        <a:pt x="13" y="29"/>
                      </a:lnTo>
                      <a:lnTo>
                        <a:pt x="13" y="31"/>
                      </a:lnTo>
                      <a:lnTo>
                        <a:pt x="12" y="31"/>
                      </a:lnTo>
                      <a:lnTo>
                        <a:pt x="12" y="32"/>
                      </a:lnTo>
                      <a:lnTo>
                        <a:pt x="10" y="32"/>
                      </a:lnTo>
                      <a:lnTo>
                        <a:pt x="10" y="36"/>
                      </a:lnTo>
                      <a:lnTo>
                        <a:pt x="12" y="36"/>
                      </a:lnTo>
                      <a:lnTo>
                        <a:pt x="15" y="37"/>
                      </a:lnTo>
                      <a:lnTo>
                        <a:pt x="17" y="37"/>
                      </a:lnTo>
                      <a:lnTo>
                        <a:pt x="18" y="37"/>
                      </a:lnTo>
                      <a:lnTo>
                        <a:pt x="20" y="36"/>
                      </a:lnTo>
                      <a:lnTo>
                        <a:pt x="22" y="37"/>
                      </a:lnTo>
                      <a:lnTo>
                        <a:pt x="20" y="37"/>
                      </a:lnTo>
                      <a:lnTo>
                        <a:pt x="15" y="39"/>
                      </a:lnTo>
                      <a:lnTo>
                        <a:pt x="12" y="41"/>
                      </a:lnTo>
                      <a:lnTo>
                        <a:pt x="8" y="41"/>
                      </a:lnTo>
                      <a:lnTo>
                        <a:pt x="7" y="41"/>
                      </a:lnTo>
                      <a:lnTo>
                        <a:pt x="5" y="42"/>
                      </a:lnTo>
                      <a:lnTo>
                        <a:pt x="7" y="44"/>
                      </a:lnTo>
                      <a:lnTo>
                        <a:pt x="10" y="44"/>
                      </a:lnTo>
                      <a:lnTo>
                        <a:pt x="12" y="44"/>
                      </a:lnTo>
                      <a:lnTo>
                        <a:pt x="13" y="44"/>
                      </a:lnTo>
                      <a:lnTo>
                        <a:pt x="12" y="44"/>
                      </a:lnTo>
                      <a:lnTo>
                        <a:pt x="8" y="44"/>
                      </a:lnTo>
                      <a:lnTo>
                        <a:pt x="5" y="46"/>
                      </a:lnTo>
                      <a:lnTo>
                        <a:pt x="3" y="44"/>
                      </a:lnTo>
                      <a:lnTo>
                        <a:pt x="0" y="44"/>
                      </a:lnTo>
                      <a:lnTo>
                        <a:pt x="2" y="46"/>
                      </a:lnTo>
                      <a:lnTo>
                        <a:pt x="5" y="47"/>
                      </a:lnTo>
                      <a:lnTo>
                        <a:pt x="7" y="47"/>
                      </a:lnTo>
                      <a:lnTo>
                        <a:pt x="10" y="46"/>
                      </a:lnTo>
                      <a:lnTo>
                        <a:pt x="15" y="44"/>
                      </a:lnTo>
                      <a:lnTo>
                        <a:pt x="18" y="42"/>
                      </a:lnTo>
                      <a:lnTo>
                        <a:pt x="22" y="42"/>
                      </a:lnTo>
                      <a:lnTo>
                        <a:pt x="24" y="44"/>
                      </a:lnTo>
                      <a:lnTo>
                        <a:pt x="25" y="44"/>
                      </a:lnTo>
                      <a:lnTo>
                        <a:pt x="25" y="46"/>
                      </a:lnTo>
                      <a:lnTo>
                        <a:pt x="27" y="46"/>
                      </a:lnTo>
                      <a:lnTo>
                        <a:pt x="30" y="47"/>
                      </a:lnTo>
                      <a:lnTo>
                        <a:pt x="32" y="47"/>
                      </a:lnTo>
                      <a:lnTo>
                        <a:pt x="34" y="51"/>
                      </a:lnTo>
                      <a:lnTo>
                        <a:pt x="32" y="52"/>
                      </a:lnTo>
                      <a:lnTo>
                        <a:pt x="34" y="56"/>
                      </a:lnTo>
                      <a:lnTo>
                        <a:pt x="35" y="58"/>
                      </a:lnTo>
                      <a:lnTo>
                        <a:pt x="39" y="58"/>
                      </a:lnTo>
                      <a:lnTo>
                        <a:pt x="39" y="56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69" name="Freeform 243">
                  <a:extLst>
                    <a:ext uri="{FF2B5EF4-FFF2-40B4-BE49-F238E27FC236}">
                      <a16:creationId xmlns:a16="http://schemas.microsoft.com/office/drawing/2014/main" id="{679E3A59-5A79-9B48-BB38-8BEDDE46B9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" y="431"/>
                  <a:ext cx="56" cy="58"/>
                </a:xfrm>
                <a:custGeom>
                  <a:avLst/>
                  <a:gdLst>
                    <a:gd name="T0" fmla="*/ 37 w 56"/>
                    <a:gd name="T1" fmla="*/ 51 h 58"/>
                    <a:gd name="T2" fmla="*/ 39 w 56"/>
                    <a:gd name="T3" fmla="*/ 46 h 58"/>
                    <a:gd name="T4" fmla="*/ 39 w 56"/>
                    <a:gd name="T5" fmla="*/ 39 h 58"/>
                    <a:gd name="T6" fmla="*/ 40 w 56"/>
                    <a:gd name="T7" fmla="*/ 32 h 58"/>
                    <a:gd name="T8" fmla="*/ 49 w 56"/>
                    <a:gd name="T9" fmla="*/ 31 h 58"/>
                    <a:gd name="T10" fmla="*/ 54 w 56"/>
                    <a:gd name="T11" fmla="*/ 24 h 58"/>
                    <a:gd name="T12" fmla="*/ 49 w 56"/>
                    <a:gd name="T13" fmla="*/ 20 h 58"/>
                    <a:gd name="T14" fmla="*/ 54 w 56"/>
                    <a:gd name="T15" fmla="*/ 12 h 58"/>
                    <a:gd name="T16" fmla="*/ 56 w 56"/>
                    <a:gd name="T17" fmla="*/ 5 h 58"/>
                    <a:gd name="T18" fmla="*/ 54 w 56"/>
                    <a:gd name="T19" fmla="*/ 2 h 58"/>
                    <a:gd name="T20" fmla="*/ 51 w 56"/>
                    <a:gd name="T21" fmla="*/ 0 h 58"/>
                    <a:gd name="T22" fmla="*/ 45 w 56"/>
                    <a:gd name="T23" fmla="*/ 2 h 58"/>
                    <a:gd name="T24" fmla="*/ 40 w 56"/>
                    <a:gd name="T25" fmla="*/ 2 h 58"/>
                    <a:gd name="T26" fmla="*/ 35 w 56"/>
                    <a:gd name="T27" fmla="*/ 2 h 58"/>
                    <a:gd name="T28" fmla="*/ 32 w 56"/>
                    <a:gd name="T29" fmla="*/ 4 h 58"/>
                    <a:gd name="T30" fmla="*/ 30 w 56"/>
                    <a:gd name="T31" fmla="*/ 7 h 58"/>
                    <a:gd name="T32" fmla="*/ 29 w 56"/>
                    <a:gd name="T33" fmla="*/ 10 h 58"/>
                    <a:gd name="T34" fmla="*/ 30 w 56"/>
                    <a:gd name="T35" fmla="*/ 12 h 58"/>
                    <a:gd name="T36" fmla="*/ 32 w 56"/>
                    <a:gd name="T37" fmla="*/ 15 h 58"/>
                    <a:gd name="T38" fmla="*/ 30 w 56"/>
                    <a:gd name="T39" fmla="*/ 19 h 58"/>
                    <a:gd name="T40" fmla="*/ 29 w 56"/>
                    <a:gd name="T41" fmla="*/ 22 h 58"/>
                    <a:gd name="T42" fmla="*/ 30 w 56"/>
                    <a:gd name="T43" fmla="*/ 25 h 58"/>
                    <a:gd name="T44" fmla="*/ 27 w 56"/>
                    <a:gd name="T45" fmla="*/ 24 h 58"/>
                    <a:gd name="T46" fmla="*/ 24 w 56"/>
                    <a:gd name="T47" fmla="*/ 22 h 58"/>
                    <a:gd name="T48" fmla="*/ 24 w 56"/>
                    <a:gd name="T49" fmla="*/ 17 h 58"/>
                    <a:gd name="T50" fmla="*/ 27 w 56"/>
                    <a:gd name="T51" fmla="*/ 15 h 58"/>
                    <a:gd name="T52" fmla="*/ 24 w 56"/>
                    <a:gd name="T53" fmla="*/ 14 h 58"/>
                    <a:gd name="T54" fmla="*/ 18 w 56"/>
                    <a:gd name="T55" fmla="*/ 17 h 58"/>
                    <a:gd name="T56" fmla="*/ 15 w 56"/>
                    <a:gd name="T57" fmla="*/ 29 h 58"/>
                    <a:gd name="T58" fmla="*/ 12 w 56"/>
                    <a:gd name="T59" fmla="*/ 31 h 58"/>
                    <a:gd name="T60" fmla="*/ 10 w 56"/>
                    <a:gd name="T61" fmla="*/ 36 h 58"/>
                    <a:gd name="T62" fmla="*/ 17 w 56"/>
                    <a:gd name="T63" fmla="*/ 37 h 58"/>
                    <a:gd name="T64" fmla="*/ 22 w 56"/>
                    <a:gd name="T65" fmla="*/ 37 h 58"/>
                    <a:gd name="T66" fmla="*/ 12 w 56"/>
                    <a:gd name="T67" fmla="*/ 41 h 58"/>
                    <a:gd name="T68" fmla="*/ 5 w 56"/>
                    <a:gd name="T69" fmla="*/ 42 h 58"/>
                    <a:gd name="T70" fmla="*/ 12 w 56"/>
                    <a:gd name="T71" fmla="*/ 44 h 58"/>
                    <a:gd name="T72" fmla="*/ 8 w 56"/>
                    <a:gd name="T73" fmla="*/ 44 h 58"/>
                    <a:gd name="T74" fmla="*/ 0 w 56"/>
                    <a:gd name="T75" fmla="*/ 44 h 58"/>
                    <a:gd name="T76" fmla="*/ 7 w 56"/>
                    <a:gd name="T77" fmla="*/ 47 h 58"/>
                    <a:gd name="T78" fmla="*/ 18 w 56"/>
                    <a:gd name="T79" fmla="*/ 42 h 58"/>
                    <a:gd name="T80" fmla="*/ 25 w 56"/>
                    <a:gd name="T81" fmla="*/ 44 h 58"/>
                    <a:gd name="T82" fmla="*/ 30 w 56"/>
                    <a:gd name="T83" fmla="*/ 47 h 58"/>
                    <a:gd name="T84" fmla="*/ 32 w 56"/>
                    <a:gd name="T85" fmla="*/ 52 h 58"/>
                    <a:gd name="T86" fmla="*/ 39 w 56"/>
                    <a:gd name="T87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58">
                      <a:moveTo>
                        <a:pt x="39" y="56"/>
                      </a:moveTo>
                      <a:lnTo>
                        <a:pt x="39" y="54"/>
                      </a:lnTo>
                      <a:lnTo>
                        <a:pt x="37" y="51"/>
                      </a:lnTo>
                      <a:lnTo>
                        <a:pt x="37" y="49"/>
                      </a:lnTo>
                      <a:lnTo>
                        <a:pt x="39" y="47"/>
                      </a:lnTo>
                      <a:lnTo>
                        <a:pt x="39" y="46"/>
                      </a:lnTo>
                      <a:lnTo>
                        <a:pt x="39" y="44"/>
                      </a:lnTo>
                      <a:lnTo>
                        <a:pt x="39" y="41"/>
                      </a:lnTo>
                      <a:lnTo>
                        <a:pt x="39" y="39"/>
                      </a:lnTo>
                      <a:lnTo>
                        <a:pt x="39" y="34"/>
                      </a:lnTo>
                      <a:lnTo>
                        <a:pt x="39" y="32"/>
                      </a:lnTo>
                      <a:lnTo>
                        <a:pt x="40" y="32"/>
                      </a:lnTo>
                      <a:lnTo>
                        <a:pt x="45" y="34"/>
                      </a:lnTo>
                      <a:lnTo>
                        <a:pt x="47" y="34"/>
                      </a:lnTo>
                      <a:lnTo>
                        <a:pt x="49" y="31"/>
                      </a:lnTo>
                      <a:lnTo>
                        <a:pt x="49" y="29"/>
                      </a:lnTo>
                      <a:lnTo>
                        <a:pt x="52" y="27"/>
                      </a:lnTo>
                      <a:lnTo>
                        <a:pt x="54" y="24"/>
                      </a:lnTo>
                      <a:lnTo>
                        <a:pt x="54" y="22"/>
                      </a:lnTo>
                      <a:lnTo>
                        <a:pt x="52" y="20"/>
                      </a:lnTo>
                      <a:lnTo>
                        <a:pt x="49" y="20"/>
                      </a:lnTo>
                      <a:lnTo>
                        <a:pt x="49" y="17"/>
                      </a:lnTo>
                      <a:lnTo>
                        <a:pt x="52" y="15"/>
                      </a:lnTo>
                      <a:lnTo>
                        <a:pt x="54" y="12"/>
                      </a:lnTo>
                      <a:lnTo>
                        <a:pt x="54" y="10"/>
                      </a:lnTo>
                      <a:lnTo>
                        <a:pt x="54" y="7"/>
                      </a:lnTo>
                      <a:lnTo>
                        <a:pt x="56" y="5"/>
                      </a:lnTo>
                      <a:lnTo>
                        <a:pt x="56" y="4"/>
                      </a:lnTo>
                      <a:lnTo>
                        <a:pt x="54" y="4"/>
                      </a:lnTo>
                      <a:lnTo>
                        <a:pt x="54" y="2"/>
                      </a:lnTo>
                      <a:lnTo>
                        <a:pt x="52" y="2"/>
                      </a:lnTo>
                      <a:lnTo>
                        <a:pt x="51" y="2"/>
                      </a:lnTo>
                      <a:lnTo>
                        <a:pt x="51" y="0"/>
                      </a:lnTo>
                      <a:lnTo>
                        <a:pt x="49" y="0"/>
                      </a:lnTo>
                      <a:lnTo>
                        <a:pt x="47" y="0"/>
                      </a:lnTo>
                      <a:lnTo>
                        <a:pt x="45" y="2"/>
                      </a:lnTo>
                      <a:lnTo>
                        <a:pt x="44" y="2"/>
                      </a:lnTo>
                      <a:lnTo>
                        <a:pt x="42" y="2"/>
                      </a:lnTo>
                      <a:lnTo>
                        <a:pt x="40" y="2"/>
                      </a:lnTo>
                      <a:lnTo>
                        <a:pt x="39" y="2"/>
                      </a:lnTo>
                      <a:lnTo>
                        <a:pt x="37" y="2"/>
                      </a:lnTo>
                      <a:lnTo>
                        <a:pt x="35" y="2"/>
                      </a:lnTo>
                      <a:lnTo>
                        <a:pt x="35" y="4"/>
                      </a:lnTo>
                      <a:lnTo>
                        <a:pt x="34" y="4"/>
                      </a:lnTo>
                      <a:lnTo>
                        <a:pt x="32" y="4"/>
                      </a:lnTo>
                      <a:lnTo>
                        <a:pt x="32" y="5"/>
                      </a:lnTo>
                      <a:lnTo>
                        <a:pt x="30" y="5"/>
                      </a:lnTo>
                      <a:lnTo>
                        <a:pt x="30" y="7"/>
                      </a:lnTo>
                      <a:lnTo>
                        <a:pt x="29" y="7"/>
                      </a:lnTo>
                      <a:lnTo>
                        <a:pt x="29" y="9"/>
                      </a:lnTo>
                      <a:lnTo>
                        <a:pt x="29" y="10"/>
                      </a:lnTo>
                      <a:lnTo>
                        <a:pt x="30" y="10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2" y="12"/>
                      </a:lnTo>
                      <a:lnTo>
                        <a:pt x="32" y="14"/>
                      </a:lnTo>
                      <a:lnTo>
                        <a:pt x="32" y="15"/>
                      </a:lnTo>
                      <a:lnTo>
                        <a:pt x="32" y="17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30" y="20"/>
                      </a:lnTo>
                      <a:lnTo>
                        <a:pt x="29" y="20"/>
                      </a:lnTo>
                      <a:lnTo>
                        <a:pt x="29" y="22"/>
                      </a:lnTo>
                      <a:lnTo>
                        <a:pt x="30" y="22"/>
                      </a:lnTo>
                      <a:lnTo>
                        <a:pt x="30" y="24"/>
                      </a:lnTo>
                      <a:lnTo>
                        <a:pt x="30" y="25"/>
                      </a:lnTo>
                      <a:lnTo>
                        <a:pt x="29" y="25"/>
                      </a:lnTo>
                      <a:lnTo>
                        <a:pt x="27" y="25"/>
                      </a:lnTo>
                      <a:lnTo>
                        <a:pt x="27" y="24"/>
                      </a:lnTo>
                      <a:lnTo>
                        <a:pt x="25" y="24"/>
                      </a:lnTo>
                      <a:lnTo>
                        <a:pt x="24" y="24"/>
                      </a:lnTo>
                      <a:lnTo>
                        <a:pt x="24" y="22"/>
                      </a:lnTo>
                      <a:lnTo>
                        <a:pt x="24" y="20"/>
                      </a:lnTo>
                      <a:lnTo>
                        <a:pt x="24" y="19"/>
                      </a:lnTo>
                      <a:lnTo>
                        <a:pt x="24" y="17"/>
                      </a:lnTo>
                      <a:lnTo>
                        <a:pt x="25" y="17"/>
                      </a:lnTo>
                      <a:lnTo>
                        <a:pt x="27" y="17"/>
                      </a:lnTo>
                      <a:lnTo>
                        <a:pt x="27" y="15"/>
                      </a:lnTo>
                      <a:lnTo>
                        <a:pt x="25" y="15"/>
                      </a:lnTo>
                      <a:lnTo>
                        <a:pt x="25" y="14"/>
                      </a:lnTo>
                      <a:lnTo>
                        <a:pt x="24" y="14"/>
                      </a:lnTo>
                      <a:lnTo>
                        <a:pt x="24" y="12"/>
                      </a:lnTo>
                      <a:lnTo>
                        <a:pt x="22" y="14"/>
                      </a:lnTo>
                      <a:lnTo>
                        <a:pt x="18" y="17"/>
                      </a:lnTo>
                      <a:lnTo>
                        <a:pt x="18" y="22"/>
                      </a:lnTo>
                      <a:lnTo>
                        <a:pt x="17" y="25"/>
                      </a:lnTo>
                      <a:lnTo>
                        <a:pt x="15" y="29"/>
                      </a:lnTo>
                      <a:lnTo>
                        <a:pt x="13" y="29"/>
                      </a:lnTo>
                      <a:lnTo>
                        <a:pt x="13" y="31"/>
                      </a:lnTo>
                      <a:lnTo>
                        <a:pt x="12" y="31"/>
                      </a:lnTo>
                      <a:lnTo>
                        <a:pt x="12" y="32"/>
                      </a:lnTo>
                      <a:lnTo>
                        <a:pt x="10" y="32"/>
                      </a:lnTo>
                      <a:lnTo>
                        <a:pt x="10" y="36"/>
                      </a:lnTo>
                      <a:lnTo>
                        <a:pt x="12" y="36"/>
                      </a:lnTo>
                      <a:lnTo>
                        <a:pt x="15" y="37"/>
                      </a:lnTo>
                      <a:lnTo>
                        <a:pt x="17" y="37"/>
                      </a:lnTo>
                      <a:lnTo>
                        <a:pt x="18" y="37"/>
                      </a:lnTo>
                      <a:lnTo>
                        <a:pt x="20" y="36"/>
                      </a:lnTo>
                      <a:lnTo>
                        <a:pt x="22" y="37"/>
                      </a:lnTo>
                      <a:lnTo>
                        <a:pt x="20" y="37"/>
                      </a:lnTo>
                      <a:lnTo>
                        <a:pt x="15" y="39"/>
                      </a:lnTo>
                      <a:lnTo>
                        <a:pt x="12" y="41"/>
                      </a:lnTo>
                      <a:lnTo>
                        <a:pt x="8" y="41"/>
                      </a:lnTo>
                      <a:lnTo>
                        <a:pt x="7" y="41"/>
                      </a:lnTo>
                      <a:lnTo>
                        <a:pt x="5" y="42"/>
                      </a:lnTo>
                      <a:lnTo>
                        <a:pt x="7" y="44"/>
                      </a:lnTo>
                      <a:lnTo>
                        <a:pt x="10" y="44"/>
                      </a:lnTo>
                      <a:lnTo>
                        <a:pt x="12" y="44"/>
                      </a:lnTo>
                      <a:lnTo>
                        <a:pt x="13" y="44"/>
                      </a:lnTo>
                      <a:lnTo>
                        <a:pt x="12" y="44"/>
                      </a:lnTo>
                      <a:lnTo>
                        <a:pt x="8" y="44"/>
                      </a:lnTo>
                      <a:lnTo>
                        <a:pt x="5" y="46"/>
                      </a:lnTo>
                      <a:lnTo>
                        <a:pt x="3" y="44"/>
                      </a:lnTo>
                      <a:lnTo>
                        <a:pt x="0" y="44"/>
                      </a:lnTo>
                      <a:lnTo>
                        <a:pt x="2" y="46"/>
                      </a:lnTo>
                      <a:lnTo>
                        <a:pt x="5" y="47"/>
                      </a:lnTo>
                      <a:lnTo>
                        <a:pt x="7" y="47"/>
                      </a:lnTo>
                      <a:lnTo>
                        <a:pt x="10" y="46"/>
                      </a:lnTo>
                      <a:lnTo>
                        <a:pt x="15" y="44"/>
                      </a:lnTo>
                      <a:lnTo>
                        <a:pt x="18" y="42"/>
                      </a:lnTo>
                      <a:lnTo>
                        <a:pt x="22" y="42"/>
                      </a:lnTo>
                      <a:lnTo>
                        <a:pt x="24" y="44"/>
                      </a:lnTo>
                      <a:lnTo>
                        <a:pt x="25" y="44"/>
                      </a:lnTo>
                      <a:lnTo>
                        <a:pt x="25" y="46"/>
                      </a:lnTo>
                      <a:lnTo>
                        <a:pt x="27" y="46"/>
                      </a:lnTo>
                      <a:lnTo>
                        <a:pt x="30" y="47"/>
                      </a:lnTo>
                      <a:lnTo>
                        <a:pt x="32" y="47"/>
                      </a:lnTo>
                      <a:lnTo>
                        <a:pt x="34" y="51"/>
                      </a:lnTo>
                      <a:lnTo>
                        <a:pt x="32" y="52"/>
                      </a:lnTo>
                      <a:lnTo>
                        <a:pt x="34" y="56"/>
                      </a:lnTo>
                      <a:lnTo>
                        <a:pt x="35" y="58"/>
                      </a:lnTo>
                      <a:lnTo>
                        <a:pt x="39" y="58"/>
                      </a:lnTo>
                      <a:lnTo>
                        <a:pt x="39" y="56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59" name="Group 1858">
                <a:extLst>
                  <a:ext uri="{FF2B5EF4-FFF2-40B4-BE49-F238E27FC236}">
                    <a16:creationId xmlns:a16="http://schemas.microsoft.com/office/drawing/2014/main" id="{804C318D-ACCA-BA49-8268-BC9BAFFAFFA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24" y="467"/>
                <a:ext cx="5" cy="1"/>
                <a:chOff x="224" y="467"/>
                <a:chExt cx="5" cy="1"/>
              </a:xfrm>
            </p:grpSpPr>
            <p:sp>
              <p:nvSpPr>
                <p:cNvPr id="1866" name="Freeform 240">
                  <a:extLst>
                    <a:ext uri="{FF2B5EF4-FFF2-40B4-BE49-F238E27FC236}">
                      <a16:creationId xmlns:a16="http://schemas.microsoft.com/office/drawing/2014/main" id="{0379EFDF-4D55-1844-874E-BC47E42E24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" y="467"/>
                  <a:ext cx="5" cy="1"/>
                </a:xfrm>
                <a:custGeom>
                  <a:avLst/>
                  <a:gdLst>
                    <a:gd name="T0" fmla="*/ 2 w 5"/>
                    <a:gd name="T1" fmla="*/ 1 h 1"/>
                    <a:gd name="T2" fmla="*/ 4 w 5"/>
                    <a:gd name="T3" fmla="*/ 1 h 1"/>
                    <a:gd name="T4" fmla="*/ 5 w 5"/>
                    <a:gd name="T5" fmla="*/ 1 h 1"/>
                    <a:gd name="T6" fmla="*/ 4 w 5"/>
                    <a:gd name="T7" fmla="*/ 1 h 1"/>
                    <a:gd name="T8" fmla="*/ 4 w 5"/>
                    <a:gd name="T9" fmla="*/ 0 h 1"/>
                    <a:gd name="T10" fmla="*/ 2 w 5"/>
                    <a:gd name="T11" fmla="*/ 0 h 1"/>
                    <a:gd name="T12" fmla="*/ 0 w 5"/>
                    <a:gd name="T13" fmla="*/ 0 h 1"/>
                    <a:gd name="T14" fmla="*/ 2 w 5"/>
                    <a:gd name="T1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1">
                      <a:moveTo>
                        <a:pt x="2" y="1"/>
                      </a:moveTo>
                      <a:lnTo>
                        <a:pt x="4" y="1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67" name="Freeform 241">
                  <a:extLst>
                    <a:ext uri="{FF2B5EF4-FFF2-40B4-BE49-F238E27FC236}">
                      <a16:creationId xmlns:a16="http://schemas.microsoft.com/office/drawing/2014/main" id="{034A9CCD-96A5-C648-B7F5-8AE906A2CE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" y="467"/>
                  <a:ext cx="5" cy="1"/>
                </a:xfrm>
                <a:custGeom>
                  <a:avLst/>
                  <a:gdLst>
                    <a:gd name="T0" fmla="*/ 2 w 5"/>
                    <a:gd name="T1" fmla="*/ 1 h 1"/>
                    <a:gd name="T2" fmla="*/ 4 w 5"/>
                    <a:gd name="T3" fmla="*/ 1 h 1"/>
                    <a:gd name="T4" fmla="*/ 5 w 5"/>
                    <a:gd name="T5" fmla="*/ 1 h 1"/>
                    <a:gd name="T6" fmla="*/ 4 w 5"/>
                    <a:gd name="T7" fmla="*/ 1 h 1"/>
                    <a:gd name="T8" fmla="*/ 4 w 5"/>
                    <a:gd name="T9" fmla="*/ 0 h 1"/>
                    <a:gd name="T10" fmla="*/ 2 w 5"/>
                    <a:gd name="T11" fmla="*/ 0 h 1"/>
                    <a:gd name="T12" fmla="*/ 0 w 5"/>
                    <a:gd name="T13" fmla="*/ 0 h 1"/>
                    <a:gd name="T14" fmla="*/ 2 w 5"/>
                    <a:gd name="T1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1">
                      <a:moveTo>
                        <a:pt x="2" y="1"/>
                      </a:moveTo>
                      <a:lnTo>
                        <a:pt x="4" y="1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60" name="Group 1859">
                <a:extLst>
                  <a:ext uri="{FF2B5EF4-FFF2-40B4-BE49-F238E27FC236}">
                    <a16:creationId xmlns:a16="http://schemas.microsoft.com/office/drawing/2014/main" id="{DFB7EAEE-CA93-334E-9FB7-F8217F8A122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21" y="468"/>
                <a:ext cx="3" cy="2"/>
                <a:chOff x="221" y="468"/>
                <a:chExt cx="3" cy="2"/>
              </a:xfrm>
            </p:grpSpPr>
            <p:sp>
              <p:nvSpPr>
                <p:cNvPr id="1864" name="Freeform 238">
                  <a:extLst>
                    <a:ext uri="{FF2B5EF4-FFF2-40B4-BE49-F238E27FC236}">
                      <a16:creationId xmlns:a16="http://schemas.microsoft.com/office/drawing/2014/main" id="{4634A3FE-E6E4-F143-822D-6B7D8321BB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" y="468"/>
                  <a:ext cx="3" cy="2"/>
                </a:xfrm>
                <a:custGeom>
                  <a:avLst/>
                  <a:gdLst>
                    <a:gd name="T0" fmla="*/ 2 w 3"/>
                    <a:gd name="T1" fmla="*/ 0 h 2"/>
                    <a:gd name="T2" fmla="*/ 3 w 3"/>
                    <a:gd name="T3" fmla="*/ 2 h 2"/>
                    <a:gd name="T4" fmla="*/ 3 w 3"/>
                    <a:gd name="T5" fmla="*/ 0 h 2"/>
                    <a:gd name="T6" fmla="*/ 2 w 3"/>
                    <a:gd name="T7" fmla="*/ 0 h 2"/>
                    <a:gd name="T8" fmla="*/ 0 w 3"/>
                    <a:gd name="T9" fmla="*/ 0 h 2"/>
                    <a:gd name="T10" fmla="*/ 2 w 3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2">
                      <a:moveTo>
                        <a:pt x="2" y="0"/>
                      </a:move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65" name="Freeform 239">
                  <a:extLst>
                    <a:ext uri="{FF2B5EF4-FFF2-40B4-BE49-F238E27FC236}">
                      <a16:creationId xmlns:a16="http://schemas.microsoft.com/office/drawing/2014/main" id="{88114ADA-EF8C-304F-A4AD-9CE8901CE6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" y="468"/>
                  <a:ext cx="3" cy="2"/>
                </a:xfrm>
                <a:custGeom>
                  <a:avLst/>
                  <a:gdLst>
                    <a:gd name="T0" fmla="*/ 2 w 3"/>
                    <a:gd name="T1" fmla="*/ 0 h 2"/>
                    <a:gd name="T2" fmla="*/ 3 w 3"/>
                    <a:gd name="T3" fmla="*/ 2 h 2"/>
                    <a:gd name="T4" fmla="*/ 3 w 3"/>
                    <a:gd name="T5" fmla="*/ 0 h 2"/>
                    <a:gd name="T6" fmla="*/ 2 w 3"/>
                    <a:gd name="T7" fmla="*/ 0 h 2"/>
                    <a:gd name="T8" fmla="*/ 0 w 3"/>
                    <a:gd name="T9" fmla="*/ 0 h 2"/>
                    <a:gd name="T10" fmla="*/ 2 w 3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2">
                      <a:moveTo>
                        <a:pt x="2" y="0"/>
                      </a:move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61" name="Group 1860">
                <a:extLst>
                  <a:ext uri="{FF2B5EF4-FFF2-40B4-BE49-F238E27FC236}">
                    <a16:creationId xmlns:a16="http://schemas.microsoft.com/office/drawing/2014/main" id="{3A6C598A-0AA3-CF4A-A551-7ED50435E49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18" y="472"/>
                <a:ext cx="1" cy="1"/>
                <a:chOff x="218" y="472"/>
                <a:chExt cx="1" cy="1"/>
              </a:xfrm>
            </p:grpSpPr>
            <p:sp>
              <p:nvSpPr>
                <p:cNvPr id="1862" name="Rectangle 1861">
                  <a:extLst>
                    <a:ext uri="{FF2B5EF4-FFF2-40B4-BE49-F238E27FC236}">
                      <a16:creationId xmlns:a16="http://schemas.microsoft.com/office/drawing/2014/main" id="{C0C5270C-D0D2-EC43-8C6C-980FD2EF35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18" y="472"/>
                  <a:ext cx="1" cy="1"/>
                </a:xfrm>
                <a:prstGeom prst="rect">
                  <a:avLst/>
                </a:prstGeom>
                <a:solidFill>
                  <a:srgbClr val="D4DBE4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63" name="Rectangle 1862">
                  <a:extLst>
                    <a:ext uri="{FF2B5EF4-FFF2-40B4-BE49-F238E27FC236}">
                      <a16:creationId xmlns:a16="http://schemas.microsoft.com/office/drawing/2014/main" id="{1C1A40CA-FE3F-1848-AA4A-B031DA13838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18" y="472"/>
                  <a:ext cx="1" cy="1"/>
                </a:xfrm>
                <a:prstGeom prst="rect">
                  <a:avLst/>
                </a:pr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661" name="Group 1660">
              <a:extLst>
                <a:ext uri="{FF2B5EF4-FFF2-40B4-BE49-F238E27FC236}">
                  <a16:creationId xmlns:a16="http://schemas.microsoft.com/office/drawing/2014/main" id="{994BA7A0-31A6-6B47-922B-08833FC2171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4" y="0"/>
              <a:ext cx="412" cy="332"/>
              <a:chOff x="234" y="0"/>
              <a:chExt cx="412" cy="332"/>
            </a:xfrm>
          </p:grpSpPr>
          <p:grpSp>
            <p:nvGrpSpPr>
              <p:cNvPr id="1791" name="Group 1790">
                <a:extLst>
                  <a:ext uri="{FF2B5EF4-FFF2-40B4-BE49-F238E27FC236}">
                    <a16:creationId xmlns:a16="http://schemas.microsoft.com/office/drawing/2014/main" id="{FDD6512C-93B0-D64B-9D81-60AFFDAC2DA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40" y="1"/>
                <a:ext cx="406" cy="331"/>
                <a:chOff x="240" y="1"/>
                <a:chExt cx="406" cy="331"/>
              </a:xfrm>
            </p:grpSpPr>
            <p:sp>
              <p:nvSpPr>
                <p:cNvPr id="1855" name="Freeform 229">
                  <a:extLst>
                    <a:ext uri="{FF2B5EF4-FFF2-40B4-BE49-F238E27FC236}">
                      <a16:creationId xmlns:a16="http://schemas.microsoft.com/office/drawing/2014/main" id="{7CC9E4C5-D8E1-CD4C-B4A6-2BE03E64DE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" y="1"/>
                  <a:ext cx="406" cy="331"/>
                </a:xfrm>
                <a:custGeom>
                  <a:avLst/>
                  <a:gdLst>
                    <a:gd name="T0" fmla="*/ 114 w 406"/>
                    <a:gd name="T1" fmla="*/ 273 h 331"/>
                    <a:gd name="T2" fmla="*/ 107 w 406"/>
                    <a:gd name="T3" fmla="*/ 223 h 331"/>
                    <a:gd name="T4" fmla="*/ 138 w 406"/>
                    <a:gd name="T5" fmla="*/ 187 h 331"/>
                    <a:gd name="T6" fmla="*/ 156 w 406"/>
                    <a:gd name="T7" fmla="*/ 133 h 331"/>
                    <a:gd name="T8" fmla="*/ 180 w 406"/>
                    <a:gd name="T9" fmla="*/ 91 h 331"/>
                    <a:gd name="T10" fmla="*/ 212 w 406"/>
                    <a:gd name="T11" fmla="*/ 71 h 331"/>
                    <a:gd name="T12" fmla="*/ 236 w 406"/>
                    <a:gd name="T13" fmla="*/ 59 h 331"/>
                    <a:gd name="T14" fmla="*/ 263 w 406"/>
                    <a:gd name="T15" fmla="*/ 54 h 331"/>
                    <a:gd name="T16" fmla="*/ 310 w 406"/>
                    <a:gd name="T17" fmla="*/ 66 h 331"/>
                    <a:gd name="T18" fmla="*/ 342 w 406"/>
                    <a:gd name="T19" fmla="*/ 32 h 331"/>
                    <a:gd name="T20" fmla="*/ 379 w 406"/>
                    <a:gd name="T21" fmla="*/ 47 h 331"/>
                    <a:gd name="T22" fmla="*/ 387 w 406"/>
                    <a:gd name="T23" fmla="*/ 47 h 331"/>
                    <a:gd name="T24" fmla="*/ 403 w 406"/>
                    <a:gd name="T25" fmla="*/ 41 h 331"/>
                    <a:gd name="T26" fmla="*/ 387 w 406"/>
                    <a:gd name="T27" fmla="*/ 39 h 331"/>
                    <a:gd name="T28" fmla="*/ 376 w 406"/>
                    <a:gd name="T29" fmla="*/ 27 h 331"/>
                    <a:gd name="T30" fmla="*/ 392 w 406"/>
                    <a:gd name="T31" fmla="*/ 15 h 331"/>
                    <a:gd name="T32" fmla="*/ 372 w 406"/>
                    <a:gd name="T33" fmla="*/ 7 h 331"/>
                    <a:gd name="T34" fmla="*/ 355 w 406"/>
                    <a:gd name="T35" fmla="*/ 9 h 331"/>
                    <a:gd name="T36" fmla="*/ 345 w 406"/>
                    <a:gd name="T37" fmla="*/ 14 h 331"/>
                    <a:gd name="T38" fmla="*/ 330 w 406"/>
                    <a:gd name="T39" fmla="*/ 9 h 331"/>
                    <a:gd name="T40" fmla="*/ 313 w 406"/>
                    <a:gd name="T41" fmla="*/ 22 h 331"/>
                    <a:gd name="T42" fmla="*/ 311 w 406"/>
                    <a:gd name="T43" fmla="*/ 4 h 331"/>
                    <a:gd name="T44" fmla="*/ 288 w 406"/>
                    <a:gd name="T45" fmla="*/ 22 h 331"/>
                    <a:gd name="T46" fmla="*/ 269 w 406"/>
                    <a:gd name="T47" fmla="*/ 27 h 331"/>
                    <a:gd name="T48" fmla="*/ 264 w 406"/>
                    <a:gd name="T49" fmla="*/ 31 h 331"/>
                    <a:gd name="T50" fmla="*/ 246 w 406"/>
                    <a:gd name="T51" fmla="*/ 34 h 331"/>
                    <a:gd name="T52" fmla="*/ 232 w 406"/>
                    <a:gd name="T53" fmla="*/ 36 h 331"/>
                    <a:gd name="T54" fmla="*/ 225 w 406"/>
                    <a:gd name="T55" fmla="*/ 51 h 331"/>
                    <a:gd name="T56" fmla="*/ 209 w 406"/>
                    <a:gd name="T57" fmla="*/ 49 h 331"/>
                    <a:gd name="T58" fmla="*/ 197 w 406"/>
                    <a:gd name="T59" fmla="*/ 61 h 331"/>
                    <a:gd name="T60" fmla="*/ 188 w 406"/>
                    <a:gd name="T61" fmla="*/ 71 h 331"/>
                    <a:gd name="T62" fmla="*/ 177 w 406"/>
                    <a:gd name="T63" fmla="*/ 81 h 331"/>
                    <a:gd name="T64" fmla="*/ 161 w 406"/>
                    <a:gd name="T65" fmla="*/ 88 h 331"/>
                    <a:gd name="T66" fmla="*/ 155 w 406"/>
                    <a:gd name="T67" fmla="*/ 98 h 331"/>
                    <a:gd name="T68" fmla="*/ 136 w 406"/>
                    <a:gd name="T69" fmla="*/ 117 h 331"/>
                    <a:gd name="T70" fmla="*/ 124 w 406"/>
                    <a:gd name="T71" fmla="*/ 132 h 331"/>
                    <a:gd name="T72" fmla="*/ 119 w 406"/>
                    <a:gd name="T73" fmla="*/ 144 h 331"/>
                    <a:gd name="T74" fmla="*/ 111 w 406"/>
                    <a:gd name="T75" fmla="*/ 155 h 331"/>
                    <a:gd name="T76" fmla="*/ 97 w 406"/>
                    <a:gd name="T77" fmla="*/ 169 h 331"/>
                    <a:gd name="T78" fmla="*/ 84 w 406"/>
                    <a:gd name="T79" fmla="*/ 181 h 331"/>
                    <a:gd name="T80" fmla="*/ 84 w 406"/>
                    <a:gd name="T81" fmla="*/ 198 h 331"/>
                    <a:gd name="T82" fmla="*/ 80 w 406"/>
                    <a:gd name="T83" fmla="*/ 201 h 331"/>
                    <a:gd name="T84" fmla="*/ 64 w 406"/>
                    <a:gd name="T85" fmla="*/ 203 h 331"/>
                    <a:gd name="T86" fmla="*/ 45 w 406"/>
                    <a:gd name="T87" fmla="*/ 209 h 331"/>
                    <a:gd name="T88" fmla="*/ 37 w 406"/>
                    <a:gd name="T89" fmla="*/ 223 h 331"/>
                    <a:gd name="T90" fmla="*/ 21 w 406"/>
                    <a:gd name="T91" fmla="*/ 228 h 331"/>
                    <a:gd name="T92" fmla="*/ 6 w 406"/>
                    <a:gd name="T93" fmla="*/ 235 h 331"/>
                    <a:gd name="T94" fmla="*/ 16 w 406"/>
                    <a:gd name="T95" fmla="*/ 238 h 331"/>
                    <a:gd name="T96" fmla="*/ 3 w 406"/>
                    <a:gd name="T97" fmla="*/ 248 h 331"/>
                    <a:gd name="T98" fmla="*/ 23 w 406"/>
                    <a:gd name="T99" fmla="*/ 251 h 331"/>
                    <a:gd name="T100" fmla="*/ 40 w 406"/>
                    <a:gd name="T101" fmla="*/ 255 h 331"/>
                    <a:gd name="T102" fmla="*/ 1 w 406"/>
                    <a:gd name="T103" fmla="*/ 260 h 331"/>
                    <a:gd name="T104" fmla="*/ 5 w 406"/>
                    <a:gd name="T105" fmla="*/ 275 h 331"/>
                    <a:gd name="T106" fmla="*/ 15 w 406"/>
                    <a:gd name="T107" fmla="*/ 278 h 331"/>
                    <a:gd name="T108" fmla="*/ 11 w 406"/>
                    <a:gd name="T109" fmla="*/ 287 h 331"/>
                    <a:gd name="T110" fmla="*/ 5 w 406"/>
                    <a:gd name="T111" fmla="*/ 300 h 331"/>
                    <a:gd name="T112" fmla="*/ 13 w 406"/>
                    <a:gd name="T113" fmla="*/ 307 h 331"/>
                    <a:gd name="T114" fmla="*/ 30 w 406"/>
                    <a:gd name="T115" fmla="*/ 327 h 331"/>
                    <a:gd name="T116" fmla="*/ 74 w 406"/>
                    <a:gd name="T117" fmla="*/ 307 h 331"/>
                    <a:gd name="T118" fmla="*/ 84 w 406"/>
                    <a:gd name="T119" fmla="*/ 294 h 331"/>
                    <a:gd name="T120" fmla="*/ 92 w 406"/>
                    <a:gd name="T121" fmla="*/ 304 h 3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406" h="331">
                      <a:moveTo>
                        <a:pt x="96" y="307"/>
                      </a:moveTo>
                      <a:lnTo>
                        <a:pt x="96" y="310"/>
                      </a:lnTo>
                      <a:lnTo>
                        <a:pt x="97" y="309"/>
                      </a:lnTo>
                      <a:lnTo>
                        <a:pt x="97" y="310"/>
                      </a:lnTo>
                      <a:lnTo>
                        <a:pt x="101" y="309"/>
                      </a:lnTo>
                      <a:lnTo>
                        <a:pt x="102" y="300"/>
                      </a:lnTo>
                      <a:lnTo>
                        <a:pt x="101" y="299"/>
                      </a:lnTo>
                      <a:lnTo>
                        <a:pt x="101" y="295"/>
                      </a:lnTo>
                      <a:lnTo>
                        <a:pt x="102" y="294"/>
                      </a:lnTo>
                      <a:lnTo>
                        <a:pt x="104" y="290"/>
                      </a:lnTo>
                      <a:lnTo>
                        <a:pt x="104" y="287"/>
                      </a:lnTo>
                      <a:lnTo>
                        <a:pt x="107" y="287"/>
                      </a:lnTo>
                      <a:lnTo>
                        <a:pt x="113" y="285"/>
                      </a:lnTo>
                      <a:lnTo>
                        <a:pt x="114" y="282"/>
                      </a:lnTo>
                      <a:lnTo>
                        <a:pt x="114" y="280"/>
                      </a:lnTo>
                      <a:lnTo>
                        <a:pt x="113" y="278"/>
                      </a:lnTo>
                      <a:lnTo>
                        <a:pt x="114" y="273"/>
                      </a:lnTo>
                      <a:lnTo>
                        <a:pt x="116" y="272"/>
                      </a:lnTo>
                      <a:lnTo>
                        <a:pt x="114" y="270"/>
                      </a:lnTo>
                      <a:lnTo>
                        <a:pt x="113" y="265"/>
                      </a:lnTo>
                      <a:lnTo>
                        <a:pt x="109" y="262"/>
                      </a:lnTo>
                      <a:lnTo>
                        <a:pt x="111" y="260"/>
                      </a:lnTo>
                      <a:lnTo>
                        <a:pt x="114" y="258"/>
                      </a:lnTo>
                      <a:lnTo>
                        <a:pt x="118" y="257"/>
                      </a:lnTo>
                      <a:lnTo>
                        <a:pt x="119" y="253"/>
                      </a:lnTo>
                      <a:lnTo>
                        <a:pt x="119" y="248"/>
                      </a:lnTo>
                      <a:lnTo>
                        <a:pt x="113" y="245"/>
                      </a:lnTo>
                      <a:lnTo>
                        <a:pt x="111" y="241"/>
                      </a:lnTo>
                      <a:lnTo>
                        <a:pt x="109" y="238"/>
                      </a:lnTo>
                      <a:lnTo>
                        <a:pt x="109" y="233"/>
                      </a:lnTo>
                      <a:lnTo>
                        <a:pt x="111" y="230"/>
                      </a:lnTo>
                      <a:lnTo>
                        <a:pt x="109" y="226"/>
                      </a:lnTo>
                      <a:lnTo>
                        <a:pt x="107" y="226"/>
                      </a:lnTo>
                      <a:lnTo>
                        <a:pt x="107" y="223"/>
                      </a:lnTo>
                      <a:lnTo>
                        <a:pt x="109" y="221"/>
                      </a:lnTo>
                      <a:lnTo>
                        <a:pt x="109" y="219"/>
                      </a:lnTo>
                      <a:lnTo>
                        <a:pt x="109" y="218"/>
                      </a:lnTo>
                      <a:lnTo>
                        <a:pt x="109" y="214"/>
                      </a:lnTo>
                      <a:lnTo>
                        <a:pt x="111" y="213"/>
                      </a:lnTo>
                      <a:lnTo>
                        <a:pt x="113" y="211"/>
                      </a:lnTo>
                      <a:lnTo>
                        <a:pt x="111" y="209"/>
                      </a:lnTo>
                      <a:lnTo>
                        <a:pt x="109" y="208"/>
                      </a:lnTo>
                      <a:lnTo>
                        <a:pt x="107" y="203"/>
                      </a:lnTo>
                      <a:lnTo>
                        <a:pt x="109" y="199"/>
                      </a:lnTo>
                      <a:lnTo>
                        <a:pt x="111" y="196"/>
                      </a:lnTo>
                      <a:lnTo>
                        <a:pt x="114" y="192"/>
                      </a:lnTo>
                      <a:lnTo>
                        <a:pt x="118" y="191"/>
                      </a:lnTo>
                      <a:lnTo>
                        <a:pt x="123" y="187"/>
                      </a:lnTo>
                      <a:lnTo>
                        <a:pt x="129" y="187"/>
                      </a:lnTo>
                      <a:lnTo>
                        <a:pt x="134" y="187"/>
                      </a:lnTo>
                      <a:lnTo>
                        <a:pt x="138" y="187"/>
                      </a:lnTo>
                      <a:lnTo>
                        <a:pt x="141" y="186"/>
                      </a:lnTo>
                      <a:lnTo>
                        <a:pt x="141" y="182"/>
                      </a:lnTo>
                      <a:lnTo>
                        <a:pt x="141" y="179"/>
                      </a:lnTo>
                      <a:lnTo>
                        <a:pt x="139" y="177"/>
                      </a:lnTo>
                      <a:lnTo>
                        <a:pt x="136" y="174"/>
                      </a:lnTo>
                      <a:lnTo>
                        <a:pt x="134" y="172"/>
                      </a:lnTo>
                      <a:lnTo>
                        <a:pt x="138" y="169"/>
                      </a:lnTo>
                      <a:lnTo>
                        <a:pt x="141" y="166"/>
                      </a:lnTo>
                      <a:lnTo>
                        <a:pt x="145" y="160"/>
                      </a:lnTo>
                      <a:lnTo>
                        <a:pt x="146" y="159"/>
                      </a:lnTo>
                      <a:lnTo>
                        <a:pt x="148" y="149"/>
                      </a:lnTo>
                      <a:lnTo>
                        <a:pt x="148" y="142"/>
                      </a:lnTo>
                      <a:lnTo>
                        <a:pt x="148" y="139"/>
                      </a:lnTo>
                      <a:lnTo>
                        <a:pt x="148" y="135"/>
                      </a:lnTo>
                      <a:lnTo>
                        <a:pt x="150" y="135"/>
                      </a:lnTo>
                      <a:lnTo>
                        <a:pt x="153" y="135"/>
                      </a:lnTo>
                      <a:lnTo>
                        <a:pt x="156" y="133"/>
                      </a:lnTo>
                      <a:lnTo>
                        <a:pt x="158" y="132"/>
                      </a:lnTo>
                      <a:lnTo>
                        <a:pt x="160" y="130"/>
                      </a:lnTo>
                      <a:lnTo>
                        <a:pt x="160" y="127"/>
                      </a:lnTo>
                      <a:lnTo>
                        <a:pt x="161" y="123"/>
                      </a:lnTo>
                      <a:lnTo>
                        <a:pt x="165" y="120"/>
                      </a:lnTo>
                      <a:lnTo>
                        <a:pt x="168" y="117"/>
                      </a:lnTo>
                      <a:lnTo>
                        <a:pt x="170" y="115"/>
                      </a:lnTo>
                      <a:lnTo>
                        <a:pt x="175" y="112"/>
                      </a:lnTo>
                      <a:lnTo>
                        <a:pt x="177" y="110"/>
                      </a:lnTo>
                      <a:lnTo>
                        <a:pt x="177" y="108"/>
                      </a:lnTo>
                      <a:lnTo>
                        <a:pt x="177" y="107"/>
                      </a:lnTo>
                      <a:lnTo>
                        <a:pt x="175" y="103"/>
                      </a:lnTo>
                      <a:lnTo>
                        <a:pt x="173" y="101"/>
                      </a:lnTo>
                      <a:lnTo>
                        <a:pt x="173" y="100"/>
                      </a:lnTo>
                      <a:lnTo>
                        <a:pt x="178" y="96"/>
                      </a:lnTo>
                      <a:lnTo>
                        <a:pt x="180" y="95"/>
                      </a:lnTo>
                      <a:lnTo>
                        <a:pt x="180" y="91"/>
                      </a:lnTo>
                      <a:lnTo>
                        <a:pt x="182" y="88"/>
                      </a:lnTo>
                      <a:lnTo>
                        <a:pt x="183" y="86"/>
                      </a:lnTo>
                      <a:lnTo>
                        <a:pt x="187" y="85"/>
                      </a:lnTo>
                      <a:lnTo>
                        <a:pt x="188" y="83"/>
                      </a:lnTo>
                      <a:lnTo>
                        <a:pt x="192" y="83"/>
                      </a:lnTo>
                      <a:lnTo>
                        <a:pt x="195" y="83"/>
                      </a:lnTo>
                      <a:lnTo>
                        <a:pt x="199" y="86"/>
                      </a:lnTo>
                      <a:lnTo>
                        <a:pt x="200" y="86"/>
                      </a:lnTo>
                      <a:lnTo>
                        <a:pt x="202" y="83"/>
                      </a:lnTo>
                      <a:lnTo>
                        <a:pt x="204" y="80"/>
                      </a:lnTo>
                      <a:lnTo>
                        <a:pt x="204" y="78"/>
                      </a:lnTo>
                      <a:lnTo>
                        <a:pt x="204" y="76"/>
                      </a:lnTo>
                      <a:lnTo>
                        <a:pt x="204" y="73"/>
                      </a:lnTo>
                      <a:lnTo>
                        <a:pt x="205" y="71"/>
                      </a:lnTo>
                      <a:lnTo>
                        <a:pt x="207" y="71"/>
                      </a:lnTo>
                      <a:lnTo>
                        <a:pt x="209" y="71"/>
                      </a:lnTo>
                      <a:lnTo>
                        <a:pt x="212" y="71"/>
                      </a:lnTo>
                      <a:lnTo>
                        <a:pt x="215" y="71"/>
                      </a:lnTo>
                      <a:lnTo>
                        <a:pt x="219" y="71"/>
                      </a:lnTo>
                      <a:lnTo>
                        <a:pt x="220" y="71"/>
                      </a:lnTo>
                      <a:lnTo>
                        <a:pt x="224" y="73"/>
                      </a:lnTo>
                      <a:lnTo>
                        <a:pt x="225" y="73"/>
                      </a:lnTo>
                      <a:lnTo>
                        <a:pt x="229" y="73"/>
                      </a:lnTo>
                      <a:lnTo>
                        <a:pt x="231" y="74"/>
                      </a:lnTo>
                      <a:lnTo>
                        <a:pt x="232" y="73"/>
                      </a:lnTo>
                      <a:lnTo>
                        <a:pt x="234" y="73"/>
                      </a:lnTo>
                      <a:lnTo>
                        <a:pt x="234" y="71"/>
                      </a:lnTo>
                      <a:lnTo>
                        <a:pt x="232" y="71"/>
                      </a:lnTo>
                      <a:lnTo>
                        <a:pt x="232" y="68"/>
                      </a:lnTo>
                      <a:lnTo>
                        <a:pt x="234" y="66"/>
                      </a:lnTo>
                      <a:lnTo>
                        <a:pt x="234" y="64"/>
                      </a:lnTo>
                      <a:lnTo>
                        <a:pt x="236" y="63"/>
                      </a:lnTo>
                      <a:lnTo>
                        <a:pt x="236" y="61"/>
                      </a:lnTo>
                      <a:lnTo>
                        <a:pt x="236" y="59"/>
                      </a:lnTo>
                      <a:lnTo>
                        <a:pt x="234" y="58"/>
                      </a:lnTo>
                      <a:lnTo>
                        <a:pt x="234" y="56"/>
                      </a:lnTo>
                      <a:lnTo>
                        <a:pt x="236" y="56"/>
                      </a:lnTo>
                      <a:lnTo>
                        <a:pt x="237" y="56"/>
                      </a:lnTo>
                      <a:lnTo>
                        <a:pt x="239" y="56"/>
                      </a:lnTo>
                      <a:lnTo>
                        <a:pt x="241" y="56"/>
                      </a:lnTo>
                      <a:lnTo>
                        <a:pt x="242" y="56"/>
                      </a:lnTo>
                      <a:lnTo>
                        <a:pt x="242" y="54"/>
                      </a:lnTo>
                      <a:lnTo>
                        <a:pt x="246" y="54"/>
                      </a:lnTo>
                      <a:lnTo>
                        <a:pt x="247" y="54"/>
                      </a:lnTo>
                      <a:lnTo>
                        <a:pt x="251" y="54"/>
                      </a:lnTo>
                      <a:lnTo>
                        <a:pt x="249" y="53"/>
                      </a:lnTo>
                      <a:lnTo>
                        <a:pt x="249" y="51"/>
                      </a:lnTo>
                      <a:lnTo>
                        <a:pt x="252" y="49"/>
                      </a:lnTo>
                      <a:lnTo>
                        <a:pt x="256" y="49"/>
                      </a:lnTo>
                      <a:lnTo>
                        <a:pt x="261" y="53"/>
                      </a:lnTo>
                      <a:lnTo>
                        <a:pt x="263" y="54"/>
                      </a:lnTo>
                      <a:lnTo>
                        <a:pt x="266" y="58"/>
                      </a:lnTo>
                      <a:lnTo>
                        <a:pt x="269" y="59"/>
                      </a:lnTo>
                      <a:lnTo>
                        <a:pt x="269" y="63"/>
                      </a:lnTo>
                      <a:lnTo>
                        <a:pt x="271" y="64"/>
                      </a:lnTo>
                      <a:lnTo>
                        <a:pt x="274" y="64"/>
                      </a:lnTo>
                      <a:lnTo>
                        <a:pt x="279" y="66"/>
                      </a:lnTo>
                      <a:lnTo>
                        <a:pt x="283" y="66"/>
                      </a:lnTo>
                      <a:lnTo>
                        <a:pt x="286" y="66"/>
                      </a:lnTo>
                      <a:lnTo>
                        <a:pt x="288" y="66"/>
                      </a:lnTo>
                      <a:lnTo>
                        <a:pt x="291" y="64"/>
                      </a:lnTo>
                      <a:lnTo>
                        <a:pt x="293" y="63"/>
                      </a:lnTo>
                      <a:lnTo>
                        <a:pt x="296" y="61"/>
                      </a:lnTo>
                      <a:lnTo>
                        <a:pt x="298" y="63"/>
                      </a:lnTo>
                      <a:lnTo>
                        <a:pt x="301" y="64"/>
                      </a:lnTo>
                      <a:lnTo>
                        <a:pt x="301" y="66"/>
                      </a:lnTo>
                      <a:lnTo>
                        <a:pt x="305" y="68"/>
                      </a:lnTo>
                      <a:lnTo>
                        <a:pt x="310" y="66"/>
                      </a:lnTo>
                      <a:lnTo>
                        <a:pt x="313" y="64"/>
                      </a:lnTo>
                      <a:lnTo>
                        <a:pt x="315" y="61"/>
                      </a:lnTo>
                      <a:lnTo>
                        <a:pt x="318" y="59"/>
                      </a:lnTo>
                      <a:lnTo>
                        <a:pt x="323" y="58"/>
                      </a:lnTo>
                      <a:lnTo>
                        <a:pt x="323" y="56"/>
                      </a:lnTo>
                      <a:lnTo>
                        <a:pt x="323" y="54"/>
                      </a:lnTo>
                      <a:lnTo>
                        <a:pt x="323" y="53"/>
                      </a:lnTo>
                      <a:lnTo>
                        <a:pt x="323" y="49"/>
                      </a:lnTo>
                      <a:lnTo>
                        <a:pt x="323" y="47"/>
                      </a:lnTo>
                      <a:lnTo>
                        <a:pt x="323" y="44"/>
                      </a:lnTo>
                      <a:lnTo>
                        <a:pt x="323" y="42"/>
                      </a:lnTo>
                      <a:lnTo>
                        <a:pt x="325" y="39"/>
                      </a:lnTo>
                      <a:lnTo>
                        <a:pt x="327" y="36"/>
                      </a:lnTo>
                      <a:lnTo>
                        <a:pt x="330" y="34"/>
                      </a:lnTo>
                      <a:lnTo>
                        <a:pt x="333" y="32"/>
                      </a:lnTo>
                      <a:lnTo>
                        <a:pt x="337" y="32"/>
                      </a:lnTo>
                      <a:lnTo>
                        <a:pt x="342" y="32"/>
                      </a:lnTo>
                      <a:lnTo>
                        <a:pt x="345" y="32"/>
                      </a:lnTo>
                      <a:lnTo>
                        <a:pt x="349" y="31"/>
                      </a:lnTo>
                      <a:lnTo>
                        <a:pt x="352" y="29"/>
                      </a:lnTo>
                      <a:lnTo>
                        <a:pt x="355" y="29"/>
                      </a:lnTo>
                      <a:lnTo>
                        <a:pt x="359" y="29"/>
                      </a:lnTo>
                      <a:lnTo>
                        <a:pt x="360" y="29"/>
                      </a:lnTo>
                      <a:lnTo>
                        <a:pt x="362" y="31"/>
                      </a:lnTo>
                      <a:lnTo>
                        <a:pt x="364" y="32"/>
                      </a:lnTo>
                      <a:lnTo>
                        <a:pt x="365" y="34"/>
                      </a:lnTo>
                      <a:lnTo>
                        <a:pt x="369" y="36"/>
                      </a:lnTo>
                      <a:lnTo>
                        <a:pt x="370" y="36"/>
                      </a:lnTo>
                      <a:lnTo>
                        <a:pt x="374" y="37"/>
                      </a:lnTo>
                      <a:lnTo>
                        <a:pt x="376" y="39"/>
                      </a:lnTo>
                      <a:lnTo>
                        <a:pt x="377" y="41"/>
                      </a:lnTo>
                      <a:lnTo>
                        <a:pt x="379" y="44"/>
                      </a:lnTo>
                      <a:lnTo>
                        <a:pt x="379" y="46"/>
                      </a:lnTo>
                      <a:lnTo>
                        <a:pt x="379" y="47"/>
                      </a:lnTo>
                      <a:lnTo>
                        <a:pt x="377" y="47"/>
                      </a:lnTo>
                      <a:lnTo>
                        <a:pt x="376" y="49"/>
                      </a:lnTo>
                      <a:lnTo>
                        <a:pt x="372" y="51"/>
                      </a:lnTo>
                      <a:lnTo>
                        <a:pt x="372" y="53"/>
                      </a:lnTo>
                      <a:lnTo>
                        <a:pt x="372" y="54"/>
                      </a:lnTo>
                      <a:lnTo>
                        <a:pt x="376" y="56"/>
                      </a:lnTo>
                      <a:lnTo>
                        <a:pt x="377" y="56"/>
                      </a:lnTo>
                      <a:lnTo>
                        <a:pt x="377" y="54"/>
                      </a:lnTo>
                      <a:lnTo>
                        <a:pt x="379" y="54"/>
                      </a:lnTo>
                      <a:lnTo>
                        <a:pt x="379" y="53"/>
                      </a:lnTo>
                      <a:lnTo>
                        <a:pt x="379" y="51"/>
                      </a:lnTo>
                      <a:lnTo>
                        <a:pt x="381" y="51"/>
                      </a:lnTo>
                      <a:lnTo>
                        <a:pt x="382" y="51"/>
                      </a:lnTo>
                      <a:lnTo>
                        <a:pt x="382" y="49"/>
                      </a:lnTo>
                      <a:lnTo>
                        <a:pt x="384" y="49"/>
                      </a:lnTo>
                      <a:lnTo>
                        <a:pt x="386" y="49"/>
                      </a:lnTo>
                      <a:lnTo>
                        <a:pt x="387" y="47"/>
                      </a:lnTo>
                      <a:lnTo>
                        <a:pt x="389" y="47"/>
                      </a:lnTo>
                      <a:lnTo>
                        <a:pt x="391" y="47"/>
                      </a:lnTo>
                      <a:lnTo>
                        <a:pt x="391" y="46"/>
                      </a:lnTo>
                      <a:lnTo>
                        <a:pt x="391" y="44"/>
                      </a:lnTo>
                      <a:lnTo>
                        <a:pt x="391" y="42"/>
                      </a:lnTo>
                      <a:lnTo>
                        <a:pt x="392" y="42"/>
                      </a:lnTo>
                      <a:lnTo>
                        <a:pt x="392" y="41"/>
                      </a:lnTo>
                      <a:lnTo>
                        <a:pt x="394" y="41"/>
                      </a:lnTo>
                      <a:lnTo>
                        <a:pt x="394" y="42"/>
                      </a:lnTo>
                      <a:lnTo>
                        <a:pt x="396" y="42"/>
                      </a:lnTo>
                      <a:lnTo>
                        <a:pt x="397" y="42"/>
                      </a:lnTo>
                      <a:lnTo>
                        <a:pt x="397" y="44"/>
                      </a:lnTo>
                      <a:lnTo>
                        <a:pt x="399" y="44"/>
                      </a:lnTo>
                      <a:lnTo>
                        <a:pt x="401" y="44"/>
                      </a:lnTo>
                      <a:lnTo>
                        <a:pt x="401" y="42"/>
                      </a:lnTo>
                      <a:lnTo>
                        <a:pt x="403" y="42"/>
                      </a:lnTo>
                      <a:lnTo>
                        <a:pt x="403" y="41"/>
                      </a:lnTo>
                      <a:lnTo>
                        <a:pt x="404" y="41"/>
                      </a:lnTo>
                      <a:lnTo>
                        <a:pt x="404" y="39"/>
                      </a:lnTo>
                      <a:lnTo>
                        <a:pt x="404" y="37"/>
                      </a:lnTo>
                      <a:lnTo>
                        <a:pt x="403" y="37"/>
                      </a:lnTo>
                      <a:lnTo>
                        <a:pt x="399" y="37"/>
                      </a:lnTo>
                      <a:lnTo>
                        <a:pt x="399" y="36"/>
                      </a:lnTo>
                      <a:lnTo>
                        <a:pt x="397" y="36"/>
                      </a:lnTo>
                      <a:lnTo>
                        <a:pt x="396" y="37"/>
                      </a:lnTo>
                      <a:lnTo>
                        <a:pt x="396" y="41"/>
                      </a:lnTo>
                      <a:lnTo>
                        <a:pt x="394" y="41"/>
                      </a:lnTo>
                      <a:lnTo>
                        <a:pt x="394" y="39"/>
                      </a:lnTo>
                      <a:lnTo>
                        <a:pt x="392" y="39"/>
                      </a:lnTo>
                      <a:lnTo>
                        <a:pt x="391" y="37"/>
                      </a:lnTo>
                      <a:lnTo>
                        <a:pt x="391" y="39"/>
                      </a:lnTo>
                      <a:lnTo>
                        <a:pt x="391" y="41"/>
                      </a:lnTo>
                      <a:lnTo>
                        <a:pt x="389" y="39"/>
                      </a:lnTo>
                      <a:lnTo>
                        <a:pt x="387" y="39"/>
                      </a:lnTo>
                      <a:lnTo>
                        <a:pt x="386" y="39"/>
                      </a:lnTo>
                      <a:lnTo>
                        <a:pt x="382" y="41"/>
                      </a:lnTo>
                      <a:lnTo>
                        <a:pt x="384" y="37"/>
                      </a:lnTo>
                      <a:lnTo>
                        <a:pt x="386" y="37"/>
                      </a:lnTo>
                      <a:lnTo>
                        <a:pt x="387" y="36"/>
                      </a:lnTo>
                      <a:lnTo>
                        <a:pt x="389" y="36"/>
                      </a:lnTo>
                      <a:lnTo>
                        <a:pt x="387" y="34"/>
                      </a:lnTo>
                      <a:lnTo>
                        <a:pt x="386" y="34"/>
                      </a:lnTo>
                      <a:lnTo>
                        <a:pt x="381" y="34"/>
                      </a:lnTo>
                      <a:lnTo>
                        <a:pt x="382" y="32"/>
                      </a:lnTo>
                      <a:lnTo>
                        <a:pt x="381" y="32"/>
                      </a:lnTo>
                      <a:lnTo>
                        <a:pt x="376" y="31"/>
                      </a:lnTo>
                      <a:lnTo>
                        <a:pt x="374" y="29"/>
                      </a:lnTo>
                      <a:lnTo>
                        <a:pt x="369" y="27"/>
                      </a:lnTo>
                      <a:lnTo>
                        <a:pt x="369" y="26"/>
                      </a:lnTo>
                      <a:lnTo>
                        <a:pt x="372" y="26"/>
                      </a:lnTo>
                      <a:lnTo>
                        <a:pt x="376" y="27"/>
                      </a:lnTo>
                      <a:lnTo>
                        <a:pt x="377" y="27"/>
                      </a:lnTo>
                      <a:lnTo>
                        <a:pt x="379" y="27"/>
                      </a:lnTo>
                      <a:lnTo>
                        <a:pt x="382" y="27"/>
                      </a:lnTo>
                      <a:lnTo>
                        <a:pt x="386" y="29"/>
                      </a:lnTo>
                      <a:lnTo>
                        <a:pt x="389" y="29"/>
                      </a:lnTo>
                      <a:lnTo>
                        <a:pt x="392" y="27"/>
                      </a:lnTo>
                      <a:lnTo>
                        <a:pt x="396" y="26"/>
                      </a:lnTo>
                      <a:lnTo>
                        <a:pt x="397" y="24"/>
                      </a:lnTo>
                      <a:lnTo>
                        <a:pt x="399" y="24"/>
                      </a:lnTo>
                      <a:lnTo>
                        <a:pt x="403" y="22"/>
                      </a:lnTo>
                      <a:lnTo>
                        <a:pt x="406" y="21"/>
                      </a:lnTo>
                      <a:lnTo>
                        <a:pt x="404" y="19"/>
                      </a:lnTo>
                      <a:lnTo>
                        <a:pt x="401" y="17"/>
                      </a:lnTo>
                      <a:lnTo>
                        <a:pt x="399" y="17"/>
                      </a:lnTo>
                      <a:lnTo>
                        <a:pt x="399" y="15"/>
                      </a:lnTo>
                      <a:lnTo>
                        <a:pt x="394" y="15"/>
                      </a:lnTo>
                      <a:lnTo>
                        <a:pt x="392" y="15"/>
                      </a:lnTo>
                      <a:lnTo>
                        <a:pt x="394" y="14"/>
                      </a:lnTo>
                      <a:lnTo>
                        <a:pt x="392" y="12"/>
                      </a:lnTo>
                      <a:lnTo>
                        <a:pt x="391" y="12"/>
                      </a:lnTo>
                      <a:lnTo>
                        <a:pt x="389" y="10"/>
                      </a:lnTo>
                      <a:lnTo>
                        <a:pt x="387" y="12"/>
                      </a:lnTo>
                      <a:lnTo>
                        <a:pt x="384" y="12"/>
                      </a:lnTo>
                      <a:lnTo>
                        <a:pt x="384" y="10"/>
                      </a:lnTo>
                      <a:lnTo>
                        <a:pt x="381" y="12"/>
                      </a:lnTo>
                      <a:lnTo>
                        <a:pt x="379" y="12"/>
                      </a:lnTo>
                      <a:lnTo>
                        <a:pt x="377" y="12"/>
                      </a:lnTo>
                      <a:lnTo>
                        <a:pt x="377" y="10"/>
                      </a:lnTo>
                      <a:lnTo>
                        <a:pt x="379" y="10"/>
                      </a:lnTo>
                      <a:lnTo>
                        <a:pt x="377" y="9"/>
                      </a:lnTo>
                      <a:lnTo>
                        <a:pt x="377" y="7"/>
                      </a:lnTo>
                      <a:lnTo>
                        <a:pt x="376" y="7"/>
                      </a:lnTo>
                      <a:lnTo>
                        <a:pt x="374" y="7"/>
                      </a:lnTo>
                      <a:lnTo>
                        <a:pt x="372" y="7"/>
                      </a:lnTo>
                      <a:lnTo>
                        <a:pt x="369" y="7"/>
                      </a:lnTo>
                      <a:lnTo>
                        <a:pt x="367" y="9"/>
                      </a:lnTo>
                      <a:lnTo>
                        <a:pt x="367" y="12"/>
                      </a:lnTo>
                      <a:lnTo>
                        <a:pt x="365" y="15"/>
                      </a:lnTo>
                      <a:lnTo>
                        <a:pt x="367" y="17"/>
                      </a:lnTo>
                      <a:lnTo>
                        <a:pt x="364" y="19"/>
                      </a:lnTo>
                      <a:lnTo>
                        <a:pt x="362" y="19"/>
                      </a:lnTo>
                      <a:lnTo>
                        <a:pt x="360" y="17"/>
                      </a:lnTo>
                      <a:lnTo>
                        <a:pt x="359" y="17"/>
                      </a:lnTo>
                      <a:lnTo>
                        <a:pt x="357" y="17"/>
                      </a:lnTo>
                      <a:lnTo>
                        <a:pt x="360" y="15"/>
                      </a:lnTo>
                      <a:lnTo>
                        <a:pt x="362" y="14"/>
                      </a:lnTo>
                      <a:lnTo>
                        <a:pt x="360" y="12"/>
                      </a:lnTo>
                      <a:lnTo>
                        <a:pt x="357" y="14"/>
                      </a:lnTo>
                      <a:lnTo>
                        <a:pt x="354" y="14"/>
                      </a:lnTo>
                      <a:lnTo>
                        <a:pt x="359" y="10"/>
                      </a:lnTo>
                      <a:lnTo>
                        <a:pt x="355" y="9"/>
                      </a:lnTo>
                      <a:lnTo>
                        <a:pt x="357" y="7"/>
                      </a:lnTo>
                      <a:lnTo>
                        <a:pt x="362" y="9"/>
                      </a:lnTo>
                      <a:lnTo>
                        <a:pt x="365" y="5"/>
                      </a:lnTo>
                      <a:lnTo>
                        <a:pt x="365" y="4"/>
                      </a:lnTo>
                      <a:lnTo>
                        <a:pt x="362" y="4"/>
                      </a:lnTo>
                      <a:lnTo>
                        <a:pt x="362" y="2"/>
                      </a:lnTo>
                      <a:lnTo>
                        <a:pt x="360" y="0"/>
                      </a:lnTo>
                      <a:lnTo>
                        <a:pt x="359" y="0"/>
                      </a:lnTo>
                      <a:lnTo>
                        <a:pt x="355" y="2"/>
                      </a:lnTo>
                      <a:lnTo>
                        <a:pt x="354" y="0"/>
                      </a:lnTo>
                      <a:lnTo>
                        <a:pt x="352" y="0"/>
                      </a:lnTo>
                      <a:lnTo>
                        <a:pt x="350" y="4"/>
                      </a:lnTo>
                      <a:lnTo>
                        <a:pt x="350" y="5"/>
                      </a:lnTo>
                      <a:lnTo>
                        <a:pt x="349" y="9"/>
                      </a:lnTo>
                      <a:lnTo>
                        <a:pt x="347" y="10"/>
                      </a:lnTo>
                      <a:lnTo>
                        <a:pt x="345" y="12"/>
                      </a:lnTo>
                      <a:lnTo>
                        <a:pt x="345" y="14"/>
                      </a:lnTo>
                      <a:lnTo>
                        <a:pt x="344" y="14"/>
                      </a:lnTo>
                      <a:lnTo>
                        <a:pt x="344" y="15"/>
                      </a:lnTo>
                      <a:lnTo>
                        <a:pt x="344" y="17"/>
                      </a:lnTo>
                      <a:lnTo>
                        <a:pt x="340" y="17"/>
                      </a:lnTo>
                      <a:lnTo>
                        <a:pt x="337" y="19"/>
                      </a:lnTo>
                      <a:lnTo>
                        <a:pt x="335" y="21"/>
                      </a:lnTo>
                      <a:lnTo>
                        <a:pt x="335" y="17"/>
                      </a:lnTo>
                      <a:lnTo>
                        <a:pt x="337" y="14"/>
                      </a:lnTo>
                      <a:lnTo>
                        <a:pt x="335" y="12"/>
                      </a:lnTo>
                      <a:lnTo>
                        <a:pt x="337" y="10"/>
                      </a:lnTo>
                      <a:lnTo>
                        <a:pt x="337" y="9"/>
                      </a:lnTo>
                      <a:lnTo>
                        <a:pt x="337" y="7"/>
                      </a:lnTo>
                      <a:lnTo>
                        <a:pt x="337" y="5"/>
                      </a:lnTo>
                      <a:lnTo>
                        <a:pt x="335" y="4"/>
                      </a:lnTo>
                      <a:lnTo>
                        <a:pt x="333" y="5"/>
                      </a:lnTo>
                      <a:lnTo>
                        <a:pt x="332" y="7"/>
                      </a:lnTo>
                      <a:lnTo>
                        <a:pt x="330" y="9"/>
                      </a:lnTo>
                      <a:lnTo>
                        <a:pt x="327" y="12"/>
                      </a:lnTo>
                      <a:lnTo>
                        <a:pt x="325" y="15"/>
                      </a:lnTo>
                      <a:lnTo>
                        <a:pt x="323" y="15"/>
                      </a:lnTo>
                      <a:lnTo>
                        <a:pt x="322" y="17"/>
                      </a:lnTo>
                      <a:lnTo>
                        <a:pt x="320" y="19"/>
                      </a:lnTo>
                      <a:lnTo>
                        <a:pt x="318" y="21"/>
                      </a:lnTo>
                      <a:lnTo>
                        <a:pt x="317" y="24"/>
                      </a:lnTo>
                      <a:lnTo>
                        <a:pt x="318" y="22"/>
                      </a:lnTo>
                      <a:lnTo>
                        <a:pt x="317" y="26"/>
                      </a:lnTo>
                      <a:lnTo>
                        <a:pt x="315" y="27"/>
                      </a:lnTo>
                      <a:lnTo>
                        <a:pt x="313" y="29"/>
                      </a:lnTo>
                      <a:lnTo>
                        <a:pt x="310" y="29"/>
                      </a:lnTo>
                      <a:lnTo>
                        <a:pt x="310" y="27"/>
                      </a:lnTo>
                      <a:lnTo>
                        <a:pt x="310" y="26"/>
                      </a:lnTo>
                      <a:lnTo>
                        <a:pt x="311" y="24"/>
                      </a:lnTo>
                      <a:lnTo>
                        <a:pt x="313" y="24"/>
                      </a:lnTo>
                      <a:lnTo>
                        <a:pt x="313" y="22"/>
                      </a:lnTo>
                      <a:lnTo>
                        <a:pt x="313" y="21"/>
                      </a:lnTo>
                      <a:lnTo>
                        <a:pt x="313" y="19"/>
                      </a:lnTo>
                      <a:lnTo>
                        <a:pt x="313" y="17"/>
                      </a:lnTo>
                      <a:lnTo>
                        <a:pt x="315" y="17"/>
                      </a:lnTo>
                      <a:lnTo>
                        <a:pt x="315" y="15"/>
                      </a:lnTo>
                      <a:lnTo>
                        <a:pt x="318" y="12"/>
                      </a:lnTo>
                      <a:lnTo>
                        <a:pt x="320" y="10"/>
                      </a:lnTo>
                      <a:lnTo>
                        <a:pt x="322" y="10"/>
                      </a:lnTo>
                      <a:lnTo>
                        <a:pt x="323" y="7"/>
                      </a:lnTo>
                      <a:lnTo>
                        <a:pt x="322" y="7"/>
                      </a:lnTo>
                      <a:lnTo>
                        <a:pt x="322" y="5"/>
                      </a:lnTo>
                      <a:lnTo>
                        <a:pt x="318" y="7"/>
                      </a:lnTo>
                      <a:lnTo>
                        <a:pt x="317" y="9"/>
                      </a:lnTo>
                      <a:lnTo>
                        <a:pt x="315" y="9"/>
                      </a:lnTo>
                      <a:lnTo>
                        <a:pt x="313" y="7"/>
                      </a:lnTo>
                      <a:lnTo>
                        <a:pt x="311" y="5"/>
                      </a:lnTo>
                      <a:lnTo>
                        <a:pt x="311" y="4"/>
                      </a:lnTo>
                      <a:lnTo>
                        <a:pt x="310" y="4"/>
                      </a:lnTo>
                      <a:lnTo>
                        <a:pt x="308" y="5"/>
                      </a:lnTo>
                      <a:lnTo>
                        <a:pt x="306" y="4"/>
                      </a:lnTo>
                      <a:lnTo>
                        <a:pt x="305" y="4"/>
                      </a:lnTo>
                      <a:lnTo>
                        <a:pt x="305" y="7"/>
                      </a:lnTo>
                      <a:lnTo>
                        <a:pt x="305" y="9"/>
                      </a:lnTo>
                      <a:lnTo>
                        <a:pt x="301" y="7"/>
                      </a:lnTo>
                      <a:lnTo>
                        <a:pt x="300" y="7"/>
                      </a:lnTo>
                      <a:lnTo>
                        <a:pt x="301" y="10"/>
                      </a:lnTo>
                      <a:lnTo>
                        <a:pt x="305" y="12"/>
                      </a:lnTo>
                      <a:lnTo>
                        <a:pt x="301" y="14"/>
                      </a:lnTo>
                      <a:lnTo>
                        <a:pt x="300" y="15"/>
                      </a:lnTo>
                      <a:lnTo>
                        <a:pt x="300" y="17"/>
                      </a:lnTo>
                      <a:lnTo>
                        <a:pt x="298" y="17"/>
                      </a:lnTo>
                      <a:lnTo>
                        <a:pt x="293" y="17"/>
                      </a:lnTo>
                      <a:lnTo>
                        <a:pt x="290" y="21"/>
                      </a:lnTo>
                      <a:lnTo>
                        <a:pt x="288" y="22"/>
                      </a:lnTo>
                      <a:lnTo>
                        <a:pt x="286" y="24"/>
                      </a:lnTo>
                      <a:lnTo>
                        <a:pt x="284" y="24"/>
                      </a:lnTo>
                      <a:lnTo>
                        <a:pt x="284" y="26"/>
                      </a:lnTo>
                      <a:lnTo>
                        <a:pt x="284" y="27"/>
                      </a:lnTo>
                      <a:lnTo>
                        <a:pt x="284" y="29"/>
                      </a:lnTo>
                      <a:lnTo>
                        <a:pt x="283" y="32"/>
                      </a:lnTo>
                      <a:lnTo>
                        <a:pt x="281" y="32"/>
                      </a:lnTo>
                      <a:lnTo>
                        <a:pt x="279" y="31"/>
                      </a:lnTo>
                      <a:lnTo>
                        <a:pt x="279" y="29"/>
                      </a:lnTo>
                      <a:lnTo>
                        <a:pt x="281" y="29"/>
                      </a:lnTo>
                      <a:lnTo>
                        <a:pt x="278" y="27"/>
                      </a:lnTo>
                      <a:lnTo>
                        <a:pt x="279" y="26"/>
                      </a:lnTo>
                      <a:lnTo>
                        <a:pt x="276" y="26"/>
                      </a:lnTo>
                      <a:lnTo>
                        <a:pt x="273" y="26"/>
                      </a:lnTo>
                      <a:lnTo>
                        <a:pt x="271" y="26"/>
                      </a:lnTo>
                      <a:lnTo>
                        <a:pt x="271" y="27"/>
                      </a:lnTo>
                      <a:lnTo>
                        <a:pt x="269" y="27"/>
                      </a:lnTo>
                      <a:lnTo>
                        <a:pt x="268" y="27"/>
                      </a:lnTo>
                      <a:lnTo>
                        <a:pt x="268" y="26"/>
                      </a:lnTo>
                      <a:lnTo>
                        <a:pt x="268" y="24"/>
                      </a:lnTo>
                      <a:lnTo>
                        <a:pt x="266" y="24"/>
                      </a:lnTo>
                      <a:lnTo>
                        <a:pt x="266" y="22"/>
                      </a:lnTo>
                      <a:lnTo>
                        <a:pt x="263" y="24"/>
                      </a:lnTo>
                      <a:lnTo>
                        <a:pt x="263" y="22"/>
                      </a:lnTo>
                      <a:lnTo>
                        <a:pt x="261" y="24"/>
                      </a:lnTo>
                      <a:lnTo>
                        <a:pt x="261" y="27"/>
                      </a:lnTo>
                      <a:lnTo>
                        <a:pt x="259" y="26"/>
                      </a:lnTo>
                      <a:lnTo>
                        <a:pt x="258" y="22"/>
                      </a:lnTo>
                      <a:lnTo>
                        <a:pt x="258" y="26"/>
                      </a:lnTo>
                      <a:lnTo>
                        <a:pt x="258" y="27"/>
                      </a:lnTo>
                      <a:lnTo>
                        <a:pt x="259" y="27"/>
                      </a:lnTo>
                      <a:lnTo>
                        <a:pt x="263" y="29"/>
                      </a:lnTo>
                      <a:lnTo>
                        <a:pt x="264" y="29"/>
                      </a:lnTo>
                      <a:lnTo>
                        <a:pt x="264" y="31"/>
                      </a:lnTo>
                      <a:lnTo>
                        <a:pt x="263" y="32"/>
                      </a:lnTo>
                      <a:lnTo>
                        <a:pt x="263" y="34"/>
                      </a:lnTo>
                      <a:lnTo>
                        <a:pt x="264" y="36"/>
                      </a:lnTo>
                      <a:lnTo>
                        <a:pt x="264" y="39"/>
                      </a:lnTo>
                      <a:lnTo>
                        <a:pt x="263" y="37"/>
                      </a:lnTo>
                      <a:lnTo>
                        <a:pt x="259" y="34"/>
                      </a:lnTo>
                      <a:lnTo>
                        <a:pt x="258" y="32"/>
                      </a:lnTo>
                      <a:lnTo>
                        <a:pt x="254" y="31"/>
                      </a:lnTo>
                      <a:lnTo>
                        <a:pt x="252" y="31"/>
                      </a:lnTo>
                      <a:lnTo>
                        <a:pt x="254" y="34"/>
                      </a:lnTo>
                      <a:lnTo>
                        <a:pt x="252" y="34"/>
                      </a:lnTo>
                      <a:lnTo>
                        <a:pt x="251" y="36"/>
                      </a:lnTo>
                      <a:lnTo>
                        <a:pt x="249" y="36"/>
                      </a:lnTo>
                      <a:lnTo>
                        <a:pt x="247" y="36"/>
                      </a:lnTo>
                      <a:lnTo>
                        <a:pt x="247" y="34"/>
                      </a:lnTo>
                      <a:lnTo>
                        <a:pt x="249" y="32"/>
                      </a:lnTo>
                      <a:lnTo>
                        <a:pt x="246" y="34"/>
                      </a:lnTo>
                      <a:lnTo>
                        <a:pt x="244" y="36"/>
                      </a:lnTo>
                      <a:lnTo>
                        <a:pt x="244" y="37"/>
                      </a:lnTo>
                      <a:lnTo>
                        <a:pt x="242" y="37"/>
                      </a:lnTo>
                      <a:lnTo>
                        <a:pt x="242" y="41"/>
                      </a:lnTo>
                      <a:lnTo>
                        <a:pt x="241" y="42"/>
                      </a:lnTo>
                      <a:lnTo>
                        <a:pt x="239" y="44"/>
                      </a:lnTo>
                      <a:lnTo>
                        <a:pt x="237" y="47"/>
                      </a:lnTo>
                      <a:lnTo>
                        <a:pt x="234" y="49"/>
                      </a:lnTo>
                      <a:lnTo>
                        <a:pt x="236" y="47"/>
                      </a:lnTo>
                      <a:lnTo>
                        <a:pt x="237" y="46"/>
                      </a:lnTo>
                      <a:lnTo>
                        <a:pt x="237" y="44"/>
                      </a:lnTo>
                      <a:lnTo>
                        <a:pt x="237" y="39"/>
                      </a:lnTo>
                      <a:lnTo>
                        <a:pt x="239" y="36"/>
                      </a:lnTo>
                      <a:lnTo>
                        <a:pt x="237" y="32"/>
                      </a:lnTo>
                      <a:lnTo>
                        <a:pt x="236" y="34"/>
                      </a:lnTo>
                      <a:lnTo>
                        <a:pt x="234" y="34"/>
                      </a:lnTo>
                      <a:lnTo>
                        <a:pt x="232" y="36"/>
                      </a:lnTo>
                      <a:lnTo>
                        <a:pt x="231" y="39"/>
                      </a:lnTo>
                      <a:lnTo>
                        <a:pt x="229" y="42"/>
                      </a:lnTo>
                      <a:lnTo>
                        <a:pt x="227" y="46"/>
                      </a:lnTo>
                      <a:lnTo>
                        <a:pt x="227" y="44"/>
                      </a:lnTo>
                      <a:lnTo>
                        <a:pt x="227" y="41"/>
                      </a:lnTo>
                      <a:lnTo>
                        <a:pt x="227" y="39"/>
                      </a:lnTo>
                      <a:lnTo>
                        <a:pt x="227" y="37"/>
                      </a:lnTo>
                      <a:lnTo>
                        <a:pt x="225" y="37"/>
                      </a:lnTo>
                      <a:lnTo>
                        <a:pt x="222" y="37"/>
                      </a:lnTo>
                      <a:lnTo>
                        <a:pt x="220" y="37"/>
                      </a:lnTo>
                      <a:lnTo>
                        <a:pt x="219" y="39"/>
                      </a:lnTo>
                      <a:lnTo>
                        <a:pt x="217" y="41"/>
                      </a:lnTo>
                      <a:lnTo>
                        <a:pt x="217" y="42"/>
                      </a:lnTo>
                      <a:lnTo>
                        <a:pt x="219" y="44"/>
                      </a:lnTo>
                      <a:lnTo>
                        <a:pt x="220" y="47"/>
                      </a:lnTo>
                      <a:lnTo>
                        <a:pt x="224" y="47"/>
                      </a:lnTo>
                      <a:lnTo>
                        <a:pt x="225" y="51"/>
                      </a:lnTo>
                      <a:lnTo>
                        <a:pt x="225" y="53"/>
                      </a:lnTo>
                      <a:lnTo>
                        <a:pt x="222" y="53"/>
                      </a:lnTo>
                      <a:lnTo>
                        <a:pt x="222" y="51"/>
                      </a:lnTo>
                      <a:lnTo>
                        <a:pt x="220" y="49"/>
                      </a:lnTo>
                      <a:lnTo>
                        <a:pt x="217" y="47"/>
                      </a:lnTo>
                      <a:lnTo>
                        <a:pt x="215" y="46"/>
                      </a:lnTo>
                      <a:lnTo>
                        <a:pt x="212" y="44"/>
                      </a:lnTo>
                      <a:lnTo>
                        <a:pt x="210" y="44"/>
                      </a:lnTo>
                      <a:lnTo>
                        <a:pt x="209" y="44"/>
                      </a:lnTo>
                      <a:lnTo>
                        <a:pt x="210" y="46"/>
                      </a:lnTo>
                      <a:lnTo>
                        <a:pt x="212" y="47"/>
                      </a:lnTo>
                      <a:lnTo>
                        <a:pt x="215" y="49"/>
                      </a:lnTo>
                      <a:lnTo>
                        <a:pt x="214" y="51"/>
                      </a:lnTo>
                      <a:lnTo>
                        <a:pt x="212" y="51"/>
                      </a:lnTo>
                      <a:lnTo>
                        <a:pt x="210" y="49"/>
                      </a:lnTo>
                      <a:lnTo>
                        <a:pt x="209" y="51"/>
                      </a:lnTo>
                      <a:lnTo>
                        <a:pt x="209" y="49"/>
                      </a:lnTo>
                      <a:lnTo>
                        <a:pt x="205" y="49"/>
                      </a:lnTo>
                      <a:lnTo>
                        <a:pt x="207" y="46"/>
                      </a:lnTo>
                      <a:lnTo>
                        <a:pt x="205" y="44"/>
                      </a:lnTo>
                      <a:lnTo>
                        <a:pt x="204" y="46"/>
                      </a:lnTo>
                      <a:lnTo>
                        <a:pt x="204" y="47"/>
                      </a:lnTo>
                      <a:lnTo>
                        <a:pt x="202" y="49"/>
                      </a:lnTo>
                      <a:lnTo>
                        <a:pt x="202" y="51"/>
                      </a:lnTo>
                      <a:lnTo>
                        <a:pt x="202" y="53"/>
                      </a:lnTo>
                      <a:lnTo>
                        <a:pt x="204" y="53"/>
                      </a:lnTo>
                      <a:lnTo>
                        <a:pt x="202" y="54"/>
                      </a:lnTo>
                      <a:lnTo>
                        <a:pt x="200" y="54"/>
                      </a:lnTo>
                      <a:lnTo>
                        <a:pt x="197" y="56"/>
                      </a:lnTo>
                      <a:lnTo>
                        <a:pt x="195" y="56"/>
                      </a:lnTo>
                      <a:lnTo>
                        <a:pt x="195" y="58"/>
                      </a:lnTo>
                      <a:lnTo>
                        <a:pt x="195" y="59"/>
                      </a:lnTo>
                      <a:lnTo>
                        <a:pt x="195" y="61"/>
                      </a:lnTo>
                      <a:lnTo>
                        <a:pt x="197" y="61"/>
                      </a:lnTo>
                      <a:lnTo>
                        <a:pt x="199" y="63"/>
                      </a:lnTo>
                      <a:lnTo>
                        <a:pt x="197" y="61"/>
                      </a:lnTo>
                      <a:lnTo>
                        <a:pt x="197" y="64"/>
                      </a:lnTo>
                      <a:lnTo>
                        <a:pt x="193" y="64"/>
                      </a:lnTo>
                      <a:lnTo>
                        <a:pt x="192" y="64"/>
                      </a:lnTo>
                      <a:lnTo>
                        <a:pt x="193" y="66"/>
                      </a:lnTo>
                      <a:lnTo>
                        <a:pt x="193" y="68"/>
                      </a:lnTo>
                      <a:lnTo>
                        <a:pt x="190" y="66"/>
                      </a:lnTo>
                      <a:lnTo>
                        <a:pt x="188" y="68"/>
                      </a:lnTo>
                      <a:lnTo>
                        <a:pt x="187" y="68"/>
                      </a:lnTo>
                      <a:lnTo>
                        <a:pt x="182" y="68"/>
                      </a:lnTo>
                      <a:lnTo>
                        <a:pt x="180" y="69"/>
                      </a:lnTo>
                      <a:lnTo>
                        <a:pt x="178" y="71"/>
                      </a:lnTo>
                      <a:lnTo>
                        <a:pt x="182" y="73"/>
                      </a:lnTo>
                      <a:lnTo>
                        <a:pt x="185" y="71"/>
                      </a:lnTo>
                      <a:lnTo>
                        <a:pt x="187" y="71"/>
                      </a:lnTo>
                      <a:lnTo>
                        <a:pt x="188" y="71"/>
                      </a:lnTo>
                      <a:lnTo>
                        <a:pt x="190" y="73"/>
                      </a:lnTo>
                      <a:lnTo>
                        <a:pt x="193" y="71"/>
                      </a:lnTo>
                      <a:lnTo>
                        <a:pt x="195" y="71"/>
                      </a:lnTo>
                      <a:lnTo>
                        <a:pt x="195" y="73"/>
                      </a:lnTo>
                      <a:lnTo>
                        <a:pt x="193" y="73"/>
                      </a:lnTo>
                      <a:lnTo>
                        <a:pt x="192" y="74"/>
                      </a:lnTo>
                      <a:lnTo>
                        <a:pt x="190" y="76"/>
                      </a:lnTo>
                      <a:lnTo>
                        <a:pt x="188" y="76"/>
                      </a:lnTo>
                      <a:lnTo>
                        <a:pt x="187" y="74"/>
                      </a:lnTo>
                      <a:lnTo>
                        <a:pt x="183" y="74"/>
                      </a:lnTo>
                      <a:lnTo>
                        <a:pt x="180" y="74"/>
                      </a:lnTo>
                      <a:lnTo>
                        <a:pt x="178" y="74"/>
                      </a:lnTo>
                      <a:lnTo>
                        <a:pt x="175" y="74"/>
                      </a:lnTo>
                      <a:lnTo>
                        <a:pt x="175" y="76"/>
                      </a:lnTo>
                      <a:lnTo>
                        <a:pt x="175" y="78"/>
                      </a:lnTo>
                      <a:lnTo>
                        <a:pt x="177" y="80"/>
                      </a:lnTo>
                      <a:lnTo>
                        <a:pt x="177" y="81"/>
                      </a:lnTo>
                      <a:lnTo>
                        <a:pt x="175" y="81"/>
                      </a:lnTo>
                      <a:lnTo>
                        <a:pt x="177" y="83"/>
                      </a:lnTo>
                      <a:lnTo>
                        <a:pt x="177" y="86"/>
                      </a:lnTo>
                      <a:lnTo>
                        <a:pt x="175" y="85"/>
                      </a:lnTo>
                      <a:lnTo>
                        <a:pt x="175" y="86"/>
                      </a:lnTo>
                      <a:lnTo>
                        <a:pt x="173" y="88"/>
                      </a:lnTo>
                      <a:lnTo>
                        <a:pt x="172" y="85"/>
                      </a:lnTo>
                      <a:lnTo>
                        <a:pt x="172" y="83"/>
                      </a:lnTo>
                      <a:lnTo>
                        <a:pt x="172" y="80"/>
                      </a:lnTo>
                      <a:lnTo>
                        <a:pt x="168" y="81"/>
                      </a:lnTo>
                      <a:lnTo>
                        <a:pt x="168" y="83"/>
                      </a:lnTo>
                      <a:lnTo>
                        <a:pt x="165" y="83"/>
                      </a:lnTo>
                      <a:lnTo>
                        <a:pt x="168" y="85"/>
                      </a:lnTo>
                      <a:lnTo>
                        <a:pt x="166" y="85"/>
                      </a:lnTo>
                      <a:lnTo>
                        <a:pt x="165" y="85"/>
                      </a:lnTo>
                      <a:lnTo>
                        <a:pt x="163" y="86"/>
                      </a:lnTo>
                      <a:lnTo>
                        <a:pt x="161" y="88"/>
                      </a:lnTo>
                      <a:lnTo>
                        <a:pt x="163" y="90"/>
                      </a:lnTo>
                      <a:lnTo>
                        <a:pt x="165" y="91"/>
                      </a:lnTo>
                      <a:lnTo>
                        <a:pt x="163" y="91"/>
                      </a:lnTo>
                      <a:lnTo>
                        <a:pt x="165" y="93"/>
                      </a:lnTo>
                      <a:lnTo>
                        <a:pt x="163" y="93"/>
                      </a:lnTo>
                      <a:lnTo>
                        <a:pt x="161" y="95"/>
                      </a:lnTo>
                      <a:lnTo>
                        <a:pt x="160" y="96"/>
                      </a:lnTo>
                      <a:lnTo>
                        <a:pt x="158" y="96"/>
                      </a:lnTo>
                      <a:lnTo>
                        <a:pt x="161" y="96"/>
                      </a:lnTo>
                      <a:lnTo>
                        <a:pt x="165" y="96"/>
                      </a:lnTo>
                      <a:lnTo>
                        <a:pt x="166" y="96"/>
                      </a:lnTo>
                      <a:lnTo>
                        <a:pt x="165" y="98"/>
                      </a:lnTo>
                      <a:lnTo>
                        <a:pt x="163" y="98"/>
                      </a:lnTo>
                      <a:lnTo>
                        <a:pt x="161" y="100"/>
                      </a:lnTo>
                      <a:lnTo>
                        <a:pt x="158" y="98"/>
                      </a:lnTo>
                      <a:lnTo>
                        <a:pt x="156" y="98"/>
                      </a:lnTo>
                      <a:lnTo>
                        <a:pt x="155" y="98"/>
                      </a:lnTo>
                      <a:lnTo>
                        <a:pt x="155" y="96"/>
                      </a:lnTo>
                      <a:lnTo>
                        <a:pt x="153" y="96"/>
                      </a:lnTo>
                      <a:lnTo>
                        <a:pt x="150" y="98"/>
                      </a:lnTo>
                      <a:lnTo>
                        <a:pt x="148" y="101"/>
                      </a:lnTo>
                      <a:lnTo>
                        <a:pt x="145" y="103"/>
                      </a:lnTo>
                      <a:lnTo>
                        <a:pt x="145" y="105"/>
                      </a:lnTo>
                      <a:lnTo>
                        <a:pt x="146" y="105"/>
                      </a:lnTo>
                      <a:lnTo>
                        <a:pt x="146" y="107"/>
                      </a:lnTo>
                      <a:lnTo>
                        <a:pt x="145" y="108"/>
                      </a:lnTo>
                      <a:lnTo>
                        <a:pt x="143" y="110"/>
                      </a:lnTo>
                      <a:lnTo>
                        <a:pt x="143" y="112"/>
                      </a:lnTo>
                      <a:lnTo>
                        <a:pt x="141" y="112"/>
                      </a:lnTo>
                      <a:lnTo>
                        <a:pt x="139" y="112"/>
                      </a:lnTo>
                      <a:lnTo>
                        <a:pt x="136" y="112"/>
                      </a:lnTo>
                      <a:lnTo>
                        <a:pt x="136" y="113"/>
                      </a:lnTo>
                      <a:lnTo>
                        <a:pt x="134" y="113"/>
                      </a:lnTo>
                      <a:lnTo>
                        <a:pt x="136" y="117"/>
                      </a:lnTo>
                      <a:lnTo>
                        <a:pt x="134" y="117"/>
                      </a:lnTo>
                      <a:lnTo>
                        <a:pt x="133" y="117"/>
                      </a:lnTo>
                      <a:lnTo>
                        <a:pt x="133" y="118"/>
                      </a:lnTo>
                      <a:lnTo>
                        <a:pt x="129" y="120"/>
                      </a:lnTo>
                      <a:lnTo>
                        <a:pt x="128" y="122"/>
                      </a:lnTo>
                      <a:lnTo>
                        <a:pt x="128" y="123"/>
                      </a:lnTo>
                      <a:lnTo>
                        <a:pt x="131" y="123"/>
                      </a:lnTo>
                      <a:lnTo>
                        <a:pt x="131" y="125"/>
                      </a:lnTo>
                      <a:lnTo>
                        <a:pt x="128" y="125"/>
                      </a:lnTo>
                      <a:lnTo>
                        <a:pt x="126" y="125"/>
                      </a:lnTo>
                      <a:lnTo>
                        <a:pt x="126" y="127"/>
                      </a:lnTo>
                      <a:lnTo>
                        <a:pt x="128" y="128"/>
                      </a:lnTo>
                      <a:lnTo>
                        <a:pt x="129" y="128"/>
                      </a:lnTo>
                      <a:lnTo>
                        <a:pt x="131" y="128"/>
                      </a:lnTo>
                      <a:lnTo>
                        <a:pt x="129" y="130"/>
                      </a:lnTo>
                      <a:lnTo>
                        <a:pt x="128" y="130"/>
                      </a:lnTo>
                      <a:lnTo>
                        <a:pt x="124" y="132"/>
                      </a:lnTo>
                      <a:lnTo>
                        <a:pt x="123" y="132"/>
                      </a:lnTo>
                      <a:lnTo>
                        <a:pt x="123" y="133"/>
                      </a:lnTo>
                      <a:lnTo>
                        <a:pt x="123" y="135"/>
                      </a:lnTo>
                      <a:lnTo>
                        <a:pt x="121" y="135"/>
                      </a:lnTo>
                      <a:lnTo>
                        <a:pt x="118" y="137"/>
                      </a:lnTo>
                      <a:lnTo>
                        <a:pt x="116" y="139"/>
                      </a:lnTo>
                      <a:lnTo>
                        <a:pt x="119" y="139"/>
                      </a:lnTo>
                      <a:lnTo>
                        <a:pt x="121" y="137"/>
                      </a:lnTo>
                      <a:lnTo>
                        <a:pt x="124" y="137"/>
                      </a:lnTo>
                      <a:lnTo>
                        <a:pt x="124" y="139"/>
                      </a:lnTo>
                      <a:lnTo>
                        <a:pt x="126" y="140"/>
                      </a:lnTo>
                      <a:lnTo>
                        <a:pt x="123" y="140"/>
                      </a:lnTo>
                      <a:lnTo>
                        <a:pt x="121" y="139"/>
                      </a:lnTo>
                      <a:lnTo>
                        <a:pt x="119" y="140"/>
                      </a:lnTo>
                      <a:lnTo>
                        <a:pt x="121" y="142"/>
                      </a:lnTo>
                      <a:lnTo>
                        <a:pt x="119" y="142"/>
                      </a:lnTo>
                      <a:lnTo>
                        <a:pt x="119" y="144"/>
                      </a:lnTo>
                      <a:lnTo>
                        <a:pt x="119" y="145"/>
                      </a:lnTo>
                      <a:lnTo>
                        <a:pt x="118" y="145"/>
                      </a:lnTo>
                      <a:lnTo>
                        <a:pt x="116" y="145"/>
                      </a:lnTo>
                      <a:lnTo>
                        <a:pt x="116" y="147"/>
                      </a:lnTo>
                      <a:lnTo>
                        <a:pt x="116" y="149"/>
                      </a:lnTo>
                      <a:lnTo>
                        <a:pt x="118" y="149"/>
                      </a:lnTo>
                      <a:lnTo>
                        <a:pt x="118" y="152"/>
                      </a:lnTo>
                      <a:lnTo>
                        <a:pt x="119" y="154"/>
                      </a:lnTo>
                      <a:lnTo>
                        <a:pt x="116" y="152"/>
                      </a:lnTo>
                      <a:lnTo>
                        <a:pt x="114" y="150"/>
                      </a:lnTo>
                      <a:lnTo>
                        <a:pt x="113" y="149"/>
                      </a:lnTo>
                      <a:lnTo>
                        <a:pt x="113" y="150"/>
                      </a:lnTo>
                      <a:lnTo>
                        <a:pt x="113" y="152"/>
                      </a:lnTo>
                      <a:lnTo>
                        <a:pt x="113" y="154"/>
                      </a:lnTo>
                      <a:lnTo>
                        <a:pt x="111" y="154"/>
                      </a:lnTo>
                      <a:lnTo>
                        <a:pt x="109" y="155"/>
                      </a:lnTo>
                      <a:lnTo>
                        <a:pt x="111" y="155"/>
                      </a:lnTo>
                      <a:lnTo>
                        <a:pt x="113" y="155"/>
                      </a:lnTo>
                      <a:lnTo>
                        <a:pt x="114" y="154"/>
                      </a:lnTo>
                      <a:lnTo>
                        <a:pt x="114" y="155"/>
                      </a:lnTo>
                      <a:lnTo>
                        <a:pt x="114" y="157"/>
                      </a:lnTo>
                      <a:lnTo>
                        <a:pt x="114" y="159"/>
                      </a:lnTo>
                      <a:lnTo>
                        <a:pt x="113" y="159"/>
                      </a:lnTo>
                      <a:lnTo>
                        <a:pt x="111" y="159"/>
                      </a:lnTo>
                      <a:lnTo>
                        <a:pt x="109" y="159"/>
                      </a:lnTo>
                      <a:lnTo>
                        <a:pt x="107" y="160"/>
                      </a:lnTo>
                      <a:lnTo>
                        <a:pt x="107" y="159"/>
                      </a:lnTo>
                      <a:lnTo>
                        <a:pt x="106" y="159"/>
                      </a:lnTo>
                      <a:lnTo>
                        <a:pt x="104" y="162"/>
                      </a:lnTo>
                      <a:lnTo>
                        <a:pt x="104" y="164"/>
                      </a:lnTo>
                      <a:lnTo>
                        <a:pt x="101" y="164"/>
                      </a:lnTo>
                      <a:lnTo>
                        <a:pt x="99" y="166"/>
                      </a:lnTo>
                      <a:lnTo>
                        <a:pt x="99" y="167"/>
                      </a:lnTo>
                      <a:lnTo>
                        <a:pt x="97" y="169"/>
                      </a:lnTo>
                      <a:lnTo>
                        <a:pt x="101" y="169"/>
                      </a:lnTo>
                      <a:lnTo>
                        <a:pt x="102" y="167"/>
                      </a:lnTo>
                      <a:lnTo>
                        <a:pt x="104" y="167"/>
                      </a:lnTo>
                      <a:lnTo>
                        <a:pt x="102" y="169"/>
                      </a:lnTo>
                      <a:lnTo>
                        <a:pt x="99" y="169"/>
                      </a:lnTo>
                      <a:lnTo>
                        <a:pt x="99" y="171"/>
                      </a:lnTo>
                      <a:lnTo>
                        <a:pt x="101" y="174"/>
                      </a:lnTo>
                      <a:lnTo>
                        <a:pt x="99" y="176"/>
                      </a:lnTo>
                      <a:lnTo>
                        <a:pt x="96" y="176"/>
                      </a:lnTo>
                      <a:lnTo>
                        <a:pt x="94" y="174"/>
                      </a:lnTo>
                      <a:lnTo>
                        <a:pt x="92" y="174"/>
                      </a:lnTo>
                      <a:lnTo>
                        <a:pt x="91" y="174"/>
                      </a:lnTo>
                      <a:lnTo>
                        <a:pt x="89" y="176"/>
                      </a:lnTo>
                      <a:lnTo>
                        <a:pt x="87" y="177"/>
                      </a:lnTo>
                      <a:lnTo>
                        <a:pt x="86" y="177"/>
                      </a:lnTo>
                      <a:lnTo>
                        <a:pt x="86" y="179"/>
                      </a:lnTo>
                      <a:lnTo>
                        <a:pt x="84" y="181"/>
                      </a:lnTo>
                      <a:lnTo>
                        <a:pt x="82" y="181"/>
                      </a:lnTo>
                      <a:lnTo>
                        <a:pt x="80" y="182"/>
                      </a:lnTo>
                      <a:lnTo>
                        <a:pt x="80" y="184"/>
                      </a:lnTo>
                      <a:lnTo>
                        <a:pt x="79" y="186"/>
                      </a:lnTo>
                      <a:lnTo>
                        <a:pt x="77" y="186"/>
                      </a:lnTo>
                      <a:lnTo>
                        <a:pt x="79" y="187"/>
                      </a:lnTo>
                      <a:lnTo>
                        <a:pt x="79" y="189"/>
                      </a:lnTo>
                      <a:lnTo>
                        <a:pt x="75" y="191"/>
                      </a:lnTo>
                      <a:lnTo>
                        <a:pt x="72" y="191"/>
                      </a:lnTo>
                      <a:lnTo>
                        <a:pt x="72" y="194"/>
                      </a:lnTo>
                      <a:lnTo>
                        <a:pt x="74" y="194"/>
                      </a:lnTo>
                      <a:lnTo>
                        <a:pt x="77" y="194"/>
                      </a:lnTo>
                      <a:lnTo>
                        <a:pt x="75" y="196"/>
                      </a:lnTo>
                      <a:lnTo>
                        <a:pt x="77" y="199"/>
                      </a:lnTo>
                      <a:lnTo>
                        <a:pt x="79" y="199"/>
                      </a:lnTo>
                      <a:lnTo>
                        <a:pt x="82" y="198"/>
                      </a:lnTo>
                      <a:lnTo>
                        <a:pt x="84" y="198"/>
                      </a:lnTo>
                      <a:lnTo>
                        <a:pt x="87" y="196"/>
                      </a:lnTo>
                      <a:lnTo>
                        <a:pt x="91" y="194"/>
                      </a:lnTo>
                      <a:lnTo>
                        <a:pt x="94" y="192"/>
                      </a:lnTo>
                      <a:lnTo>
                        <a:pt x="96" y="192"/>
                      </a:lnTo>
                      <a:lnTo>
                        <a:pt x="97" y="191"/>
                      </a:lnTo>
                      <a:lnTo>
                        <a:pt x="99" y="191"/>
                      </a:lnTo>
                      <a:lnTo>
                        <a:pt x="97" y="192"/>
                      </a:lnTo>
                      <a:lnTo>
                        <a:pt x="96" y="194"/>
                      </a:lnTo>
                      <a:lnTo>
                        <a:pt x="94" y="194"/>
                      </a:lnTo>
                      <a:lnTo>
                        <a:pt x="92" y="194"/>
                      </a:lnTo>
                      <a:lnTo>
                        <a:pt x="89" y="196"/>
                      </a:lnTo>
                      <a:lnTo>
                        <a:pt x="87" y="198"/>
                      </a:lnTo>
                      <a:lnTo>
                        <a:pt x="89" y="199"/>
                      </a:lnTo>
                      <a:lnTo>
                        <a:pt x="87" y="199"/>
                      </a:lnTo>
                      <a:lnTo>
                        <a:pt x="86" y="201"/>
                      </a:lnTo>
                      <a:lnTo>
                        <a:pt x="82" y="201"/>
                      </a:lnTo>
                      <a:lnTo>
                        <a:pt x="80" y="201"/>
                      </a:lnTo>
                      <a:lnTo>
                        <a:pt x="79" y="201"/>
                      </a:lnTo>
                      <a:lnTo>
                        <a:pt x="80" y="203"/>
                      </a:lnTo>
                      <a:lnTo>
                        <a:pt x="79" y="203"/>
                      </a:lnTo>
                      <a:lnTo>
                        <a:pt x="75" y="203"/>
                      </a:lnTo>
                      <a:lnTo>
                        <a:pt x="75" y="201"/>
                      </a:lnTo>
                      <a:lnTo>
                        <a:pt x="75" y="199"/>
                      </a:lnTo>
                      <a:lnTo>
                        <a:pt x="74" y="198"/>
                      </a:lnTo>
                      <a:lnTo>
                        <a:pt x="72" y="198"/>
                      </a:lnTo>
                      <a:lnTo>
                        <a:pt x="70" y="198"/>
                      </a:lnTo>
                      <a:lnTo>
                        <a:pt x="69" y="198"/>
                      </a:lnTo>
                      <a:lnTo>
                        <a:pt x="67" y="199"/>
                      </a:lnTo>
                      <a:lnTo>
                        <a:pt x="65" y="199"/>
                      </a:lnTo>
                      <a:lnTo>
                        <a:pt x="65" y="201"/>
                      </a:lnTo>
                      <a:lnTo>
                        <a:pt x="67" y="203"/>
                      </a:lnTo>
                      <a:lnTo>
                        <a:pt x="69" y="203"/>
                      </a:lnTo>
                      <a:lnTo>
                        <a:pt x="65" y="204"/>
                      </a:lnTo>
                      <a:lnTo>
                        <a:pt x="64" y="203"/>
                      </a:lnTo>
                      <a:lnTo>
                        <a:pt x="64" y="201"/>
                      </a:lnTo>
                      <a:lnTo>
                        <a:pt x="60" y="201"/>
                      </a:lnTo>
                      <a:lnTo>
                        <a:pt x="59" y="201"/>
                      </a:lnTo>
                      <a:lnTo>
                        <a:pt x="57" y="203"/>
                      </a:lnTo>
                      <a:lnTo>
                        <a:pt x="55" y="203"/>
                      </a:lnTo>
                      <a:lnTo>
                        <a:pt x="54" y="203"/>
                      </a:lnTo>
                      <a:lnTo>
                        <a:pt x="54" y="204"/>
                      </a:lnTo>
                      <a:lnTo>
                        <a:pt x="54" y="206"/>
                      </a:lnTo>
                      <a:lnTo>
                        <a:pt x="52" y="206"/>
                      </a:lnTo>
                      <a:lnTo>
                        <a:pt x="52" y="208"/>
                      </a:lnTo>
                      <a:lnTo>
                        <a:pt x="50" y="208"/>
                      </a:lnTo>
                      <a:lnTo>
                        <a:pt x="48" y="208"/>
                      </a:lnTo>
                      <a:lnTo>
                        <a:pt x="48" y="206"/>
                      </a:lnTo>
                      <a:lnTo>
                        <a:pt x="47" y="206"/>
                      </a:lnTo>
                      <a:lnTo>
                        <a:pt x="47" y="208"/>
                      </a:lnTo>
                      <a:lnTo>
                        <a:pt x="47" y="209"/>
                      </a:lnTo>
                      <a:lnTo>
                        <a:pt x="45" y="209"/>
                      </a:lnTo>
                      <a:lnTo>
                        <a:pt x="43" y="209"/>
                      </a:lnTo>
                      <a:lnTo>
                        <a:pt x="42" y="209"/>
                      </a:lnTo>
                      <a:lnTo>
                        <a:pt x="40" y="209"/>
                      </a:lnTo>
                      <a:lnTo>
                        <a:pt x="38" y="211"/>
                      </a:lnTo>
                      <a:lnTo>
                        <a:pt x="38" y="213"/>
                      </a:lnTo>
                      <a:lnTo>
                        <a:pt x="37" y="214"/>
                      </a:lnTo>
                      <a:lnTo>
                        <a:pt x="35" y="214"/>
                      </a:lnTo>
                      <a:lnTo>
                        <a:pt x="33" y="214"/>
                      </a:lnTo>
                      <a:lnTo>
                        <a:pt x="30" y="216"/>
                      </a:lnTo>
                      <a:lnTo>
                        <a:pt x="32" y="218"/>
                      </a:lnTo>
                      <a:lnTo>
                        <a:pt x="30" y="219"/>
                      </a:lnTo>
                      <a:lnTo>
                        <a:pt x="33" y="219"/>
                      </a:lnTo>
                      <a:lnTo>
                        <a:pt x="37" y="219"/>
                      </a:lnTo>
                      <a:lnTo>
                        <a:pt x="38" y="221"/>
                      </a:lnTo>
                      <a:lnTo>
                        <a:pt x="40" y="221"/>
                      </a:lnTo>
                      <a:lnTo>
                        <a:pt x="38" y="221"/>
                      </a:lnTo>
                      <a:lnTo>
                        <a:pt x="37" y="223"/>
                      </a:lnTo>
                      <a:lnTo>
                        <a:pt x="38" y="225"/>
                      </a:lnTo>
                      <a:lnTo>
                        <a:pt x="37" y="223"/>
                      </a:lnTo>
                      <a:lnTo>
                        <a:pt x="33" y="223"/>
                      </a:lnTo>
                      <a:lnTo>
                        <a:pt x="32" y="223"/>
                      </a:lnTo>
                      <a:lnTo>
                        <a:pt x="30" y="223"/>
                      </a:lnTo>
                      <a:lnTo>
                        <a:pt x="27" y="223"/>
                      </a:lnTo>
                      <a:lnTo>
                        <a:pt x="25" y="223"/>
                      </a:lnTo>
                      <a:lnTo>
                        <a:pt x="23" y="223"/>
                      </a:lnTo>
                      <a:lnTo>
                        <a:pt x="21" y="223"/>
                      </a:lnTo>
                      <a:lnTo>
                        <a:pt x="20" y="225"/>
                      </a:lnTo>
                      <a:lnTo>
                        <a:pt x="21" y="225"/>
                      </a:lnTo>
                      <a:lnTo>
                        <a:pt x="21" y="226"/>
                      </a:lnTo>
                      <a:lnTo>
                        <a:pt x="20" y="226"/>
                      </a:lnTo>
                      <a:lnTo>
                        <a:pt x="23" y="226"/>
                      </a:lnTo>
                      <a:lnTo>
                        <a:pt x="25" y="226"/>
                      </a:lnTo>
                      <a:lnTo>
                        <a:pt x="23" y="228"/>
                      </a:lnTo>
                      <a:lnTo>
                        <a:pt x="21" y="228"/>
                      </a:lnTo>
                      <a:lnTo>
                        <a:pt x="21" y="230"/>
                      </a:lnTo>
                      <a:lnTo>
                        <a:pt x="23" y="231"/>
                      </a:lnTo>
                      <a:lnTo>
                        <a:pt x="23" y="233"/>
                      </a:lnTo>
                      <a:lnTo>
                        <a:pt x="21" y="230"/>
                      </a:lnTo>
                      <a:lnTo>
                        <a:pt x="20" y="230"/>
                      </a:lnTo>
                      <a:lnTo>
                        <a:pt x="16" y="230"/>
                      </a:lnTo>
                      <a:lnTo>
                        <a:pt x="16" y="231"/>
                      </a:lnTo>
                      <a:lnTo>
                        <a:pt x="15" y="233"/>
                      </a:lnTo>
                      <a:lnTo>
                        <a:pt x="15" y="235"/>
                      </a:lnTo>
                      <a:lnTo>
                        <a:pt x="16" y="235"/>
                      </a:lnTo>
                      <a:lnTo>
                        <a:pt x="16" y="236"/>
                      </a:lnTo>
                      <a:lnTo>
                        <a:pt x="15" y="236"/>
                      </a:lnTo>
                      <a:lnTo>
                        <a:pt x="15" y="235"/>
                      </a:lnTo>
                      <a:lnTo>
                        <a:pt x="13" y="233"/>
                      </a:lnTo>
                      <a:lnTo>
                        <a:pt x="11" y="235"/>
                      </a:lnTo>
                      <a:lnTo>
                        <a:pt x="10" y="235"/>
                      </a:lnTo>
                      <a:lnTo>
                        <a:pt x="6" y="235"/>
                      </a:lnTo>
                      <a:lnTo>
                        <a:pt x="6" y="236"/>
                      </a:lnTo>
                      <a:lnTo>
                        <a:pt x="5" y="235"/>
                      </a:lnTo>
                      <a:lnTo>
                        <a:pt x="3" y="233"/>
                      </a:lnTo>
                      <a:lnTo>
                        <a:pt x="1" y="235"/>
                      </a:lnTo>
                      <a:lnTo>
                        <a:pt x="3" y="236"/>
                      </a:lnTo>
                      <a:lnTo>
                        <a:pt x="3" y="238"/>
                      </a:lnTo>
                      <a:lnTo>
                        <a:pt x="1" y="238"/>
                      </a:lnTo>
                      <a:lnTo>
                        <a:pt x="3" y="240"/>
                      </a:lnTo>
                      <a:lnTo>
                        <a:pt x="5" y="240"/>
                      </a:lnTo>
                      <a:lnTo>
                        <a:pt x="6" y="240"/>
                      </a:lnTo>
                      <a:lnTo>
                        <a:pt x="8" y="240"/>
                      </a:lnTo>
                      <a:lnTo>
                        <a:pt x="10" y="240"/>
                      </a:lnTo>
                      <a:lnTo>
                        <a:pt x="13" y="240"/>
                      </a:lnTo>
                      <a:lnTo>
                        <a:pt x="15" y="238"/>
                      </a:lnTo>
                      <a:lnTo>
                        <a:pt x="16" y="238"/>
                      </a:lnTo>
                      <a:lnTo>
                        <a:pt x="18" y="238"/>
                      </a:lnTo>
                      <a:lnTo>
                        <a:pt x="16" y="238"/>
                      </a:lnTo>
                      <a:lnTo>
                        <a:pt x="13" y="240"/>
                      </a:lnTo>
                      <a:lnTo>
                        <a:pt x="15" y="240"/>
                      </a:lnTo>
                      <a:lnTo>
                        <a:pt x="18" y="240"/>
                      </a:lnTo>
                      <a:lnTo>
                        <a:pt x="20" y="240"/>
                      </a:lnTo>
                      <a:lnTo>
                        <a:pt x="18" y="241"/>
                      </a:lnTo>
                      <a:lnTo>
                        <a:pt x="13" y="241"/>
                      </a:lnTo>
                      <a:lnTo>
                        <a:pt x="11" y="241"/>
                      </a:lnTo>
                      <a:lnTo>
                        <a:pt x="10" y="241"/>
                      </a:lnTo>
                      <a:lnTo>
                        <a:pt x="8" y="241"/>
                      </a:lnTo>
                      <a:lnTo>
                        <a:pt x="6" y="241"/>
                      </a:lnTo>
                      <a:lnTo>
                        <a:pt x="3" y="243"/>
                      </a:lnTo>
                      <a:lnTo>
                        <a:pt x="0" y="243"/>
                      </a:lnTo>
                      <a:lnTo>
                        <a:pt x="0" y="245"/>
                      </a:lnTo>
                      <a:lnTo>
                        <a:pt x="0" y="246"/>
                      </a:lnTo>
                      <a:lnTo>
                        <a:pt x="1" y="246"/>
                      </a:lnTo>
                      <a:lnTo>
                        <a:pt x="3" y="246"/>
                      </a:lnTo>
                      <a:lnTo>
                        <a:pt x="3" y="248"/>
                      </a:lnTo>
                      <a:lnTo>
                        <a:pt x="3" y="250"/>
                      </a:lnTo>
                      <a:lnTo>
                        <a:pt x="1" y="250"/>
                      </a:lnTo>
                      <a:lnTo>
                        <a:pt x="0" y="251"/>
                      </a:lnTo>
                      <a:lnTo>
                        <a:pt x="1" y="253"/>
                      </a:lnTo>
                      <a:lnTo>
                        <a:pt x="0" y="255"/>
                      </a:lnTo>
                      <a:lnTo>
                        <a:pt x="0" y="257"/>
                      </a:lnTo>
                      <a:lnTo>
                        <a:pt x="1" y="257"/>
                      </a:lnTo>
                      <a:lnTo>
                        <a:pt x="1" y="258"/>
                      </a:lnTo>
                      <a:lnTo>
                        <a:pt x="3" y="258"/>
                      </a:lnTo>
                      <a:lnTo>
                        <a:pt x="5" y="258"/>
                      </a:lnTo>
                      <a:lnTo>
                        <a:pt x="8" y="258"/>
                      </a:lnTo>
                      <a:lnTo>
                        <a:pt x="11" y="257"/>
                      </a:lnTo>
                      <a:lnTo>
                        <a:pt x="15" y="257"/>
                      </a:lnTo>
                      <a:lnTo>
                        <a:pt x="16" y="257"/>
                      </a:lnTo>
                      <a:lnTo>
                        <a:pt x="20" y="257"/>
                      </a:lnTo>
                      <a:lnTo>
                        <a:pt x="20" y="255"/>
                      </a:lnTo>
                      <a:lnTo>
                        <a:pt x="23" y="251"/>
                      </a:lnTo>
                      <a:lnTo>
                        <a:pt x="23" y="253"/>
                      </a:lnTo>
                      <a:lnTo>
                        <a:pt x="21" y="257"/>
                      </a:lnTo>
                      <a:lnTo>
                        <a:pt x="23" y="257"/>
                      </a:lnTo>
                      <a:lnTo>
                        <a:pt x="27" y="257"/>
                      </a:lnTo>
                      <a:lnTo>
                        <a:pt x="28" y="257"/>
                      </a:lnTo>
                      <a:lnTo>
                        <a:pt x="30" y="257"/>
                      </a:lnTo>
                      <a:lnTo>
                        <a:pt x="33" y="255"/>
                      </a:lnTo>
                      <a:lnTo>
                        <a:pt x="33" y="253"/>
                      </a:lnTo>
                      <a:lnTo>
                        <a:pt x="35" y="250"/>
                      </a:lnTo>
                      <a:lnTo>
                        <a:pt x="38" y="248"/>
                      </a:lnTo>
                      <a:lnTo>
                        <a:pt x="38" y="250"/>
                      </a:lnTo>
                      <a:lnTo>
                        <a:pt x="37" y="253"/>
                      </a:lnTo>
                      <a:lnTo>
                        <a:pt x="35" y="255"/>
                      </a:lnTo>
                      <a:lnTo>
                        <a:pt x="35" y="257"/>
                      </a:lnTo>
                      <a:lnTo>
                        <a:pt x="37" y="255"/>
                      </a:lnTo>
                      <a:lnTo>
                        <a:pt x="38" y="255"/>
                      </a:lnTo>
                      <a:lnTo>
                        <a:pt x="40" y="255"/>
                      </a:lnTo>
                      <a:lnTo>
                        <a:pt x="37" y="258"/>
                      </a:lnTo>
                      <a:lnTo>
                        <a:pt x="32" y="258"/>
                      </a:lnTo>
                      <a:lnTo>
                        <a:pt x="30" y="262"/>
                      </a:lnTo>
                      <a:lnTo>
                        <a:pt x="33" y="263"/>
                      </a:lnTo>
                      <a:lnTo>
                        <a:pt x="32" y="263"/>
                      </a:lnTo>
                      <a:lnTo>
                        <a:pt x="28" y="265"/>
                      </a:lnTo>
                      <a:lnTo>
                        <a:pt x="28" y="262"/>
                      </a:lnTo>
                      <a:lnTo>
                        <a:pt x="28" y="260"/>
                      </a:lnTo>
                      <a:lnTo>
                        <a:pt x="25" y="258"/>
                      </a:lnTo>
                      <a:lnTo>
                        <a:pt x="21" y="258"/>
                      </a:lnTo>
                      <a:lnTo>
                        <a:pt x="18" y="260"/>
                      </a:lnTo>
                      <a:lnTo>
                        <a:pt x="15" y="260"/>
                      </a:lnTo>
                      <a:lnTo>
                        <a:pt x="13" y="260"/>
                      </a:lnTo>
                      <a:lnTo>
                        <a:pt x="10" y="260"/>
                      </a:lnTo>
                      <a:lnTo>
                        <a:pt x="8" y="262"/>
                      </a:lnTo>
                      <a:lnTo>
                        <a:pt x="5" y="260"/>
                      </a:lnTo>
                      <a:lnTo>
                        <a:pt x="1" y="260"/>
                      </a:lnTo>
                      <a:lnTo>
                        <a:pt x="1" y="262"/>
                      </a:lnTo>
                      <a:lnTo>
                        <a:pt x="0" y="263"/>
                      </a:lnTo>
                      <a:lnTo>
                        <a:pt x="0" y="265"/>
                      </a:lnTo>
                      <a:lnTo>
                        <a:pt x="3" y="265"/>
                      </a:lnTo>
                      <a:lnTo>
                        <a:pt x="5" y="267"/>
                      </a:lnTo>
                      <a:lnTo>
                        <a:pt x="5" y="268"/>
                      </a:lnTo>
                      <a:lnTo>
                        <a:pt x="1" y="267"/>
                      </a:lnTo>
                      <a:lnTo>
                        <a:pt x="0" y="265"/>
                      </a:lnTo>
                      <a:lnTo>
                        <a:pt x="0" y="267"/>
                      </a:lnTo>
                      <a:lnTo>
                        <a:pt x="1" y="272"/>
                      </a:lnTo>
                      <a:lnTo>
                        <a:pt x="3" y="272"/>
                      </a:lnTo>
                      <a:lnTo>
                        <a:pt x="8" y="270"/>
                      </a:lnTo>
                      <a:lnTo>
                        <a:pt x="10" y="268"/>
                      </a:lnTo>
                      <a:lnTo>
                        <a:pt x="6" y="272"/>
                      </a:lnTo>
                      <a:lnTo>
                        <a:pt x="5" y="273"/>
                      </a:lnTo>
                      <a:lnTo>
                        <a:pt x="6" y="273"/>
                      </a:lnTo>
                      <a:lnTo>
                        <a:pt x="5" y="275"/>
                      </a:lnTo>
                      <a:lnTo>
                        <a:pt x="3" y="275"/>
                      </a:lnTo>
                      <a:lnTo>
                        <a:pt x="1" y="277"/>
                      </a:lnTo>
                      <a:lnTo>
                        <a:pt x="1" y="278"/>
                      </a:lnTo>
                      <a:lnTo>
                        <a:pt x="3" y="280"/>
                      </a:lnTo>
                      <a:lnTo>
                        <a:pt x="5" y="280"/>
                      </a:lnTo>
                      <a:lnTo>
                        <a:pt x="6" y="280"/>
                      </a:lnTo>
                      <a:lnTo>
                        <a:pt x="8" y="278"/>
                      </a:lnTo>
                      <a:lnTo>
                        <a:pt x="8" y="280"/>
                      </a:lnTo>
                      <a:lnTo>
                        <a:pt x="10" y="282"/>
                      </a:lnTo>
                      <a:lnTo>
                        <a:pt x="10" y="284"/>
                      </a:lnTo>
                      <a:lnTo>
                        <a:pt x="8" y="284"/>
                      </a:lnTo>
                      <a:lnTo>
                        <a:pt x="5" y="285"/>
                      </a:lnTo>
                      <a:lnTo>
                        <a:pt x="6" y="287"/>
                      </a:lnTo>
                      <a:lnTo>
                        <a:pt x="10" y="285"/>
                      </a:lnTo>
                      <a:lnTo>
                        <a:pt x="11" y="284"/>
                      </a:lnTo>
                      <a:lnTo>
                        <a:pt x="11" y="280"/>
                      </a:lnTo>
                      <a:lnTo>
                        <a:pt x="15" y="278"/>
                      </a:lnTo>
                      <a:lnTo>
                        <a:pt x="16" y="277"/>
                      </a:lnTo>
                      <a:lnTo>
                        <a:pt x="20" y="272"/>
                      </a:lnTo>
                      <a:lnTo>
                        <a:pt x="23" y="270"/>
                      </a:lnTo>
                      <a:lnTo>
                        <a:pt x="23" y="272"/>
                      </a:lnTo>
                      <a:lnTo>
                        <a:pt x="27" y="272"/>
                      </a:lnTo>
                      <a:lnTo>
                        <a:pt x="30" y="272"/>
                      </a:lnTo>
                      <a:lnTo>
                        <a:pt x="25" y="273"/>
                      </a:lnTo>
                      <a:lnTo>
                        <a:pt x="25" y="275"/>
                      </a:lnTo>
                      <a:lnTo>
                        <a:pt x="25" y="277"/>
                      </a:lnTo>
                      <a:lnTo>
                        <a:pt x="23" y="275"/>
                      </a:lnTo>
                      <a:lnTo>
                        <a:pt x="20" y="277"/>
                      </a:lnTo>
                      <a:lnTo>
                        <a:pt x="16" y="280"/>
                      </a:lnTo>
                      <a:lnTo>
                        <a:pt x="18" y="280"/>
                      </a:lnTo>
                      <a:lnTo>
                        <a:pt x="18" y="282"/>
                      </a:lnTo>
                      <a:lnTo>
                        <a:pt x="16" y="284"/>
                      </a:lnTo>
                      <a:lnTo>
                        <a:pt x="13" y="285"/>
                      </a:lnTo>
                      <a:lnTo>
                        <a:pt x="11" y="287"/>
                      </a:lnTo>
                      <a:lnTo>
                        <a:pt x="10" y="289"/>
                      </a:lnTo>
                      <a:lnTo>
                        <a:pt x="11" y="289"/>
                      </a:lnTo>
                      <a:lnTo>
                        <a:pt x="16" y="289"/>
                      </a:lnTo>
                      <a:lnTo>
                        <a:pt x="18" y="289"/>
                      </a:lnTo>
                      <a:lnTo>
                        <a:pt x="20" y="289"/>
                      </a:lnTo>
                      <a:lnTo>
                        <a:pt x="16" y="290"/>
                      </a:lnTo>
                      <a:lnTo>
                        <a:pt x="15" y="290"/>
                      </a:lnTo>
                      <a:lnTo>
                        <a:pt x="13" y="292"/>
                      </a:lnTo>
                      <a:lnTo>
                        <a:pt x="11" y="294"/>
                      </a:lnTo>
                      <a:lnTo>
                        <a:pt x="10" y="292"/>
                      </a:lnTo>
                      <a:lnTo>
                        <a:pt x="8" y="294"/>
                      </a:lnTo>
                      <a:lnTo>
                        <a:pt x="6" y="292"/>
                      </a:lnTo>
                      <a:lnTo>
                        <a:pt x="3" y="295"/>
                      </a:lnTo>
                      <a:lnTo>
                        <a:pt x="3" y="297"/>
                      </a:lnTo>
                      <a:lnTo>
                        <a:pt x="3" y="299"/>
                      </a:lnTo>
                      <a:lnTo>
                        <a:pt x="3" y="300"/>
                      </a:lnTo>
                      <a:lnTo>
                        <a:pt x="5" y="300"/>
                      </a:lnTo>
                      <a:lnTo>
                        <a:pt x="6" y="300"/>
                      </a:lnTo>
                      <a:lnTo>
                        <a:pt x="8" y="299"/>
                      </a:lnTo>
                      <a:lnTo>
                        <a:pt x="8" y="300"/>
                      </a:lnTo>
                      <a:lnTo>
                        <a:pt x="10" y="300"/>
                      </a:lnTo>
                      <a:lnTo>
                        <a:pt x="11" y="299"/>
                      </a:lnTo>
                      <a:lnTo>
                        <a:pt x="10" y="297"/>
                      </a:lnTo>
                      <a:lnTo>
                        <a:pt x="13" y="299"/>
                      </a:lnTo>
                      <a:lnTo>
                        <a:pt x="16" y="297"/>
                      </a:lnTo>
                      <a:lnTo>
                        <a:pt x="18" y="295"/>
                      </a:lnTo>
                      <a:lnTo>
                        <a:pt x="20" y="297"/>
                      </a:lnTo>
                      <a:lnTo>
                        <a:pt x="16" y="299"/>
                      </a:lnTo>
                      <a:lnTo>
                        <a:pt x="15" y="300"/>
                      </a:lnTo>
                      <a:lnTo>
                        <a:pt x="16" y="300"/>
                      </a:lnTo>
                      <a:lnTo>
                        <a:pt x="16" y="302"/>
                      </a:lnTo>
                      <a:lnTo>
                        <a:pt x="15" y="304"/>
                      </a:lnTo>
                      <a:lnTo>
                        <a:pt x="15" y="305"/>
                      </a:lnTo>
                      <a:lnTo>
                        <a:pt x="13" y="307"/>
                      </a:lnTo>
                      <a:lnTo>
                        <a:pt x="13" y="309"/>
                      </a:lnTo>
                      <a:lnTo>
                        <a:pt x="11" y="309"/>
                      </a:lnTo>
                      <a:lnTo>
                        <a:pt x="10" y="309"/>
                      </a:lnTo>
                      <a:lnTo>
                        <a:pt x="10" y="307"/>
                      </a:lnTo>
                      <a:lnTo>
                        <a:pt x="8" y="307"/>
                      </a:lnTo>
                      <a:lnTo>
                        <a:pt x="8" y="310"/>
                      </a:lnTo>
                      <a:lnTo>
                        <a:pt x="6" y="316"/>
                      </a:lnTo>
                      <a:lnTo>
                        <a:pt x="10" y="319"/>
                      </a:lnTo>
                      <a:lnTo>
                        <a:pt x="16" y="322"/>
                      </a:lnTo>
                      <a:lnTo>
                        <a:pt x="20" y="324"/>
                      </a:lnTo>
                      <a:lnTo>
                        <a:pt x="23" y="326"/>
                      </a:lnTo>
                      <a:lnTo>
                        <a:pt x="25" y="322"/>
                      </a:lnTo>
                      <a:lnTo>
                        <a:pt x="25" y="326"/>
                      </a:lnTo>
                      <a:lnTo>
                        <a:pt x="25" y="329"/>
                      </a:lnTo>
                      <a:lnTo>
                        <a:pt x="27" y="327"/>
                      </a:lnTo>
                      <a:lnTo>
                        <a:pt x="28" y="329"/>
                      </a:lnTo>
                      <a:lnTo>
                        <a:pt x="30" y="327"/>
                      </a:lnTo>
                      <a:lnTo>
                        <a:pt x="35" y="327"/>
                      </a:lnTo>
                      <a:lnTo>
                        <a:pt x="32" y="329"/>
                      </a:lnTo>
                      <a:lnTo>
                        <a:pt x="37" y="331"/>
                      </a:lnTo>
                      <a:lnTo>
                        <a:pt x="40" y="329"/>
                      </a:lnTo>
                      <a:lnTo>
                        <a:pt x="43" y="327"/>
                      </a:lnTo>
                      <a:lnTo>
                        <a:pt x="45" y="324"/>
                      </a:lnTo>
                      <a:lnTo>
                        <a:pt x="47" y="327"/>
                      </a:lnTo>
                      <a:lnTo>
                        <a:pt x="54" y="324"/>
                      </a:lnTo>
                      <a:lnTo>
                        <a:pt x="57" y="321"/>
                      </a:lnTo>
                      <a:lnTo>
                        <a:pt x="59" y="317"/>
                      </a:lnTo>
                      <a:lnTo>
                        <a:pt x="62" y="317"/>
                      </a:lnTo>
                      <a:lnTo>
                        <a:pt x="64" y="314"/>
                      </a:lnTo>
                      <a:lnTo>
                        <a:pt x="65" y="312"/>
                      </a:lnTo>
                      <a:lnTo>
                        <a:pt x="67" y="310"/>
                      </a:lnTo>
                      <a:lnTo>
                        <a:pt x="70" y="307"/>
                      </a:lnTo>
                      <a:lnTo>
                        <a:pt x="69" y="305"/>
                      </a:lnTo>
                      <a:lnTo>
                        <a:pt x="74" y="307"/>
                      </a:lnTo>
                      <a:lnTo>
                        <a:pt x="77" y="307"/>
                      </a:lnTo>
                      <a:lnTo>
                        <a:pt x="79" y="307"/>
                      </a:lnTo>
                      <a:lnTo>
                        <a:pt x="80" y="305"/>
                      </a:lnTo>
                      <a:lnTo>
                        <a:pt x="80" y="304"/>
                      </a:lnTo>
                      <a:lnTo>
                        <a:pt x="80" y="302"/>
                      </a:lnTo>
                      <a:lnTo>
                        <a:pt x="82" y="302"/>
                      </a:lnTo>
                      <a:lnTo>
                        <a:pt x="82" y="300"/>
                      </a:lnTo>
                      <a:lnTo>
                        <a:pt x="82" y="299"/>
                      </a:lnTo>
                      <a:lnTo>
                        <a:pt x="80" y="297"/>
                      </a:lnTo>
                      <a:lnTo>
                        <a:pt x="79" y="295"/>
                      </a:lnTo>
                      <a:lnTo>
                        <a:pt x="80" y="295"/>
                      </a:lnTo>
                      <a:lnTo>
                        <a:pt x="80" y="294"/>
                      </a:lnTo>
                      <a:lnTo>
                        <a:pt x="80" y="292"/>
                      </a:lnTo>
                      <a:lnTo>
                        <a:pt x="82" y="294"/>
                      </a:lnTo>
                      <a:lnTo>
                        <a:pt x="82" y="295"/>
                      </a:lnTo>
                      <a:lnTo>
                        <a:pt x="84" y="295"/>
                      </a:lnTo>
                      <a:lnTo>
                        <a:pt x="84" y="294"/>
                      </a:lnTo>
                      <a:lnTo>
                        <a:pt x="84" y="292"/>
                      </a:lnTo>
                      <a:lnTo>
                        <a:pt x="82" y="290"/>
                      </a:lnTo>
                      <a:lnTo>
                        <a:pt x="82" y="289"/>
                      </a:lnTo>
                      <a:lnTo>
                        <a:pt x="84" y="289"/>
                      </a:lnTo>
                      <a:lnTo>
                        <a:pt x="84" y="287"/>
                      </a:lnTo>
                      <a:lnTo>
                        <a:pt x="86" y="287"/>
                      </a:lnTo>
                      <a:lnTo>
                        <a:pt x="87" y="289"/>
                      </a:lnTo>
                      <a:lnTo>
                        <a:pt x="87" y="290"/>
                      </a:lnTo>
                      <a:lnTo>
                        <a:pt x="86" y="290"/>
                      </a:lnTo>
                      <a:lnTo>
                        <a:pt x="86" y="292"/>
                      </a:lnTo>
                      <a:lnTo>
                        <a:pt x="86" y="294"/>
                      </a:lnTo>
                      <a:lnTo>
                        <a:pt x="86" y="299"/>
                      </a:lnTo>
                      <a:lnTo>
                        <a:pt x="86" y="300"/>
                      </a:lnTo>
                      <a:lnTo>
                        <a:pt x="87" y="302"/>
                      </a:lnTo>
                      <a:lnTo>
                        <a:pt x="89" y="302"/>
                      </a:lnTo>
                      <a:lnTo>
                        <a:pt x="91" y="302"/>
                      </a:lnTo>
                      <a:lnTo>
                        <a:pt x="92" y="304"/>
                      </a:lnTo>
                      <a:lnTo>
                        <a:pt x="94" y="304"/>
                      </a:lnTo>
                      <a:lnTo>
                        <a:pt x="96" y="305"/>
                      </a:lnTo>
                      <a:lnTo>
                        <a:pt x="96" y="30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56" name="Freeform 230">
                  <a:extLst>
                    <a:ext uri="{FF2B5EF4-FFF2-40B4-BE49-F238E27FC236}">
                      <a16:creationId xmlns:a16="http://schemas.microsoft.com/office/drawing/2014/main" id="{8BE66C53-C799-9044-9C38-275550D3AC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" y="1"/>
                  <a:ext cx="406" cy="331"/>
                </a:xfrm>
                <a:custGeom>
                  <a:avLst/>
                  <a:gdLst>
                    <a:gd name="T0" fmla="*/ 114 w 406"/>
                    <a:gd name="T1" fmla="*/ 273 h 331"/>
                    <a:gd name="T2" fmla="*/ 107 w 406"/>
                    <a:gd name="T3" fmla="*/ 223 h 331"/>
                    <a:gd name="T4" fmla="*/ 138 w 406"/>
                    <a:gd name="T5" fmla="*/ 187 h 331"/>
                    <a:gd name="T6" fmla="*/ 156 w 406"/>
                    <a:gd name="T7" fmla="*/ 133 h 331"/>
                    <a:gd name="T8" fmla="*/ 180 w 406"/>
                    <a:gd name="T9" fmla="*/ 91 h 331"/>
                    <a:gd name="T10" fmla="*/ 212 w 406"/>
                    <a:gd name="T11" fmla="*/ 71 h 331"/>
                    <a:gd name="T12" fmla="*/ 236 w 406"/>
                    <a:gd name="T13" fmla="*/ 59 h 331"/>
                    <a:gd name="T14" fmla="*/ 263 w 406"/>
                    <a:gd name="T15" fmla="*/ 54 h 331"/>
                    <a:gd name="T16" fmla="*/ 310 w 406"/>
                    <a:gd name="T17" fmla="*/ 66 h 331"/>
                    <a:gd name="T18" fmla="*/ 342 w 406"/>
                    <a:gd name="T19" fmla="*/ 32 h 331"/>
                    <a:gd name="T20" fmla="*/ 379 w 406"/>
                    <a:gd name="T21" fmla="*/ 47 h 331"/>
                    <a:gd name="T22" fmla="*/ 387 w 406"/>
                    <a:gd name="T23" fmla="*/ 47 h 331"/>
                    <a:gd name="T24" fmla="*/ 403 w 406"/>
                    <a:gd name="T25" fmla="*/ 41 h 331"/>
                    <a:gd name="T26" fmla="*/ 387 w 406"/>
                    <a:gd name="T27" fmla="*/ 39 h 331"/>
                    <a:gd name="T28" fmla="*/ 376 w 406"/>
                    <a:gd name="T29" fmla="*/ 27 h 331"/>
                    <a:gd name="T30" fmla="*/ 392 w 406"/>
                    <a:gd name="T31" fmla="*/ 15 h 331"/>
                    <a:gd name="T32" fmla="*/ 372 w 406"/>
                    <a:gd name="T33" fmla="*/ 7 h 331"/>
                    <a:gd name="T34" fmla="*/ 355 w 406"/>
                    <a:gd name="T35" fmla="*/ 9 h 331"/>
                    <a:gd name="T36" fmla="*/ 345 w 406"/>
                    <a:gd name="T37" fmla="*/ 14 h 331"/>
                    <a:gd name="T38" fmla="*/ 330 w 406"/>
                    <a:gd name="T39" fmla="*/ 9 h 331"/>
                    <a:gd name="T40" fmla="*/ 313 w 406"/>
                    <a:gd name="T41" fmla="*/ 22 h 331"/>
                    <a:gd name="T42" fmla="*/ 311 w 406"/>
                    <a:gd name="T43" fmla="*/ 4 h 331"/>
                    <a:gd name="T44" fmla="*/ 288 w 406"/>
                    <a:gd name="T45" fmla="*/ 22 h 331"/>
                    <a:gd name="T46" fmla="*/ 269 w 406"/>
                    <a:gd name="T47" fmla="*/ 27 h 331"/>
                    <a:gd name="T48" fmla="*/ 264 w 406"/>
                    <a:gd name="T49" fmla="*/ 31 h 331"/>
                    <a:gd name="T50" fmla="*/ 246 w 406"/>
                    <a:gd name="T51" fmla="*/ 34 h 331"/>
                    <a:gd name="T52" fmla="*/ 232 w 406"/>
                    <a:gd name="T53" fmla="*/ 36 h 331"/>
                    <a:gd name="T54" fmla="*/ 225 w 406"/>
                    <a:gd name="T55" fmla="*/ 51 h 331"/>
                    <a:gd name="T56" fmla="*/ 209 w 406"/>
                    <a:gd name="T57" fmla="*/ 49 h 331"/>
                    <a:gd name="T58" fmla="*/ 197 w 406"/>
                    <a:gd name="T59" fmla="*/ 61 h 331"/>
                    <a:gd name="T60" fmla="*/ 188 w 406"/>
                    <a:gd name="T61" fmla="*/ 71 h 331"/>
                    <a:gd name="T62" fmla="*/ 177 w 406"/>
                    <a:gd name="T63" fmla="*/ 81 h 331"/>
                    <a:gd name="T64" fmla="*/ 161 w 406"/>
                    <a:gd name="T65" fmla="*/ 88 h 331"/>
                    <a:gd name="T66" fmla="*/ 155 w 406"/>
                    <a:gd name="T67" fmla="*/ 98 h 331"/>
                    <a:gd name="T68" fmla="*/ 136 w 406"/>
                    <a:gd name="T69" fmla="*/ 117 h 331"/>
                    <a:gd name="T70" fmla="*/ 124 w 406"/>
                    <a:gd name="T71" fmla="*/ 132 h 331"/>
                    <a:gd name="T72" fmla="*/ 119 w 406"/>
                    <a:gd name="T73" fmla="*/ 144 h 331"/>
                    <a:gd name="T74" fmla="*/ 111 w 406"/>
                    <a:gd name="T75" fmla="*/ 155 h 331"/>
                    <a:gd name="T76" fmla="*/ 97 w 406"/>
                    <a:gd name="T77" fmla="*/ 169 h 331"/>
                    <a:gd name="T78" fmla="*/ 84 w 406"/>
                    <a:gd name="T79" fmla="*/ 181 h 331"/>
                    <a:gd name="T80" fmla="*/ 84 w 406"/>
                    <a:gd name="T81" fmla="*/ 198 h 331"/>
                    <a:gd name="T82" fmla="*/ 80 w 406"/>
                    <a:gd name="T83" fmla="*/ 201 h 331"/>
                    <a:gd name="T84" fmla="*/ 64 w 406"/>
                    <a:gd name="T85" fmla="*/ 203 h 331"/>
                    <a:gd name="T86" fmla="*/ 45 w 406"/>
                    <a:gd name="T87" fmla="*/ 209 h 331"/>
                    <a:gd name="T88" fmla="*/ 37 w 406"/>
                    <a:gd name="T89" fmla="*/ 223 h 331"/>
                    <a:gd name="T90" fmla="*/ 21 w 406"/>
                    <a:gd name="T91" fmla="*/ 228 h 331"/>
                    <a:gd name="T92" fmla="*/ 6 w 406"/>
                    <a:gd name="T93" fmla="*/ 235 h 331"/>
                    <a:gd name="T94" fmla="*/ 16 w 406"/>
                    <a:gd name="T95" fmla="*/ 238 h 331"/>
                    <a:gd name="T96" fmla="*/ 3 w 406"/>
                    <a:gd name="T97" fmla="*/ 248 h 331"/>
                    <a:gd name="T98" fmla="*/ 23 w 406"/>
                    <a:gd name="T99" fmla="*/ 251 h 331"/>
                    <a:gd name="T100" fmla="*/ 40 w 406"/>
                    <a:gd name="T101" fmla="*/ 255 h 331"/>
                    <a:gd name="T102" fmla="*/ 1 w 406"/>
                    <a:gd name="T103" fmla="*/ 260 h 331"/>
                    <a:gd name="T104" fmla="*/ 5 w 406"/>
                    <a:gd name="T105" fmla="*/ 275 h 331"/>
                    <a:gd name="T106" fmla="*/ 15 w 406"/>
                    <a:gd name="T107" fmla="*/ 278 h 331"/>
                    <a:gd name="T108" fmla="*/ 11 w 406"/>
                    <a:gd name="T109" fmla="*/ 287 h 331"/>
                    <a:gd name="T110" fmla="*/ 5 w 406"/>
                    <a:gd name="T111" fmla="*/ 300 h 331"/>
                    <a:gd name="T112" fmla="*/ 13 w 406"/>
                    <a:gd name="T113" fmla="*/ 307 h 331"/>
                    <a:gd name="T114" fmla="*/ 30 w 406"/>
                    <a:gd name="T115" fmla="*/ 327 h 331"/>
                    <a:gd name="T116" fmla="*/ 74 w 406"/>
                    <a:gd name="T117" fmla="*/ 307 h 331"/>
                    <a:gd name="T118" fmla="*/ 84 w 406"/>
                    <a:gd name="T119" fmla="*/ 294 h 331"/>
                    <a:gd name="T120" fmla="*/ 92 w 406"/>
                    <a:gd name="T121" fmla="*/ 304 h 3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406" h="331">
                      <a:moveTo>
                        <a:pt x="96" y="307"/>
                      </a:moveTo>
                      <a:lnTo>
                        <a:pt x="96" y="310"/>
                      </a:lnTo>
                      <a:lnTo>
                        <a:pt x="97" y="309"/>
                      </a:lnTo>
                      <a:lnTo>
                        <a:pt x="97" y="310"/>
                      </a:lnTo>
                      <a:lnTo>
                        <a:pt x="101" y="309"/>
                      </a:lnTo>
                      <a:lnTo>
                        <a:pt x="102" y="300"/>
                      </a:lnTo>
                      <a:lnTo>
                        <a:pt x="101" y="299"/>
                      </a:lnTo>
                      <a:lnTo>
                        <a:pt x="101" y="295"/>
                      </a:lnTo>
                      <a:lnTo>
                        <a:pt x="102" y="294"/>
                      </a:lnTo>
                      <a:lnTo>
                        <a:pt x="104" y="290"/>
                      </a:lnTo>
                      <a:lnTo>
                        <a:pt x="104" y="287"/>
                      </a:lnTo>
                      <a:lnTo>
                        <a:pt x="107" y="287"/>
                      </a:lnTo>
                      <a:lnTo>
                        <a:pt x="113" y="285"/>
                      </a:lnTo>
                      <a:lnTo>
                        <a:pt x="114" y="282"/>
                      </a:lnTo>
                      <a:lnTo>
                        <a:pt x="114" y="280"/>
                      </a:lnTo>
                      <a:lnTo>
                        <a:pt x="113" y="278"/>
                      </a:lnTo>
                      <a:lnTo>
                        <a:pt x="114" y="273"/>
                      </a:lnTo>
                      <a:lnTo>
                        <a:pt x="116" y="272"/>
                      </a:lnTo>
                      <a:lnTo>
                        <a:pt x="114" y="270"/>
                      </a:lnTo>
                      <a:lnTo>
                        <a:pt x="113" y="265"/>
                      </a:lnTo>
                      <a:lnTo>
                        <a:pt x="109" y="262"/>
                      </a:lnTo>
                      <a:lnTo>
                        <a:pt x="111" y="260"/>
                      </a:lnTo>
                      <a:lnTo>
                        <a:pt x="114" y="258"/>
                      </a:lnTo>
                      <a:lnTo>
                        <a:pt x="118" y="257"/>
                      </a:lnTo>
                      <a:lnTo>
                        <a:pt x="119" y="253"/>
                      </a:lnTo>
                      <a:lnTo>
                        <a:pt x="119" y="248"/>
                      </a:lnTo>
                      <a:lnTo>
                        <a:pt x="113" y="245"/>
                      </a:lnTo>
                      <a:lnTo>
                        <a:pt x="111" y="241"/>
                      </a:lnTo>
                      <a:lnTo>
                        <a:pt x="109" y="238"/>
                      </a:lnTo>
                      <a:lnTo>
                        <a:pt x="109" y="233"/>
                      </a:lnTo>
                      <a:lnTo>
                        <a:pt x="111" y="230"/>
                      </a:lnTo>
                      <a:lnTo>
                        <a:pt x="109" y="226"/>
                      </a:lnTo>
                      <a:lnTo>
                        <a:pt x="107" y="226"/>
                      </a:lnTo>
                      <a:lnTo>
                        <a:pt x="107" y="223"/>
                      </a:lnTo>
                      <a:lnTo>
                        <a:pt x="109" y="221"/>
                      </a:lnTo>
                      <a:lnTo>
                        <a:pt x="109" y="219"/>
                      </a:lnTo>
                      <a:lnTo>
                        <a:pt x="109" y="218"/>
                      </a:lnTo>
                      <a:lnTo>
                        <a:pt x="109" y="214"/>
                      </a:lnTo>
                      <a:lnTo>
                        <a:pt x="111" y="213"/>
                      </a:lnTo>
                      <a:lnTo>
                        <a:pt x="113" y="211"/>
                      </a:lnTo>
                      <a:lnTo>
                        <a:pt x="111" y="209"/>
                      </a:lnTo>
                      <a:lnTo>
                        <a:pt x="109" y="208"/>
                      </a:lnTo>
                      <a:lnTo>
                        <a:pt x="107" y="203"/>
                      </a:lnTo>
                      <a:lnTo>
                        <a:pt x="109" y="199"/>
                      </a:lnTo>
                      <a:lnTo>
                        <a:pt x="111" y="196"/>
                      </a:lnTo>
                      <a:lnTo>
                        <a:pt x="114" y="192"/>
                      </a:lnTo>
                      <a:lnTo>
                        <a:pt x="118" y="191"/>
                      </a:lnTo>
                      <a:lnTo>
                        <a:pt x="123" y="187"/>
                      </a:lnTo>
                      <a:lnTo>
                        <a:pt x="129" y="187"/>
                      </a:lnTo>
                      <a:lnTo>
                        <a:pt x="134" y="187"/>
                      </a:lnTo>
                      <a:lnTo>
                        <a:pt x="138" y="187"/>
                      </a:lnTo>
                      <a:lnTo>
                        <a:pt x="141" y="186"/>
                      </a:lnTo>
                      <a:lnTo>
                        <a:pt x="141" y="182"/>
                      </a:lnTo>
                      <a:lnTo>
                        <a:pt x="141" y="179"/>
                      </a:lnTo>
                      <a:lnTo>
                        <a:pt x="139" y="177"/>
                      </a:lnTo>
                      <a:lnTo>
                        <a:pt x="136" y="174"/>
                      </a:lnTo>
                      <a:lnTo>
                        <a:pt x="134" y="172"/>
                      </a:lnTo>
                      <a:lnTo>
                        <a:pt x="138" y="169"/>
                      </a:lnTo>
                      <a:lnTo>
                        <a:pt x="141" y="166"/>
                      </a:lnTo>
                      <a:lnTo>
                        <a:pt x="145" y="160"/>
                      </a:lnTo>
                      <a:lnTo>
                        <a:pt x="146" y="159"/>
                      </a:lnTo>
                      <a:lnTo>
                        <a:pt x="148" y="149"/>
                      </a:lnTo>
                      <a:lnTo>
                        <a:pt x="148" y="142"/>
                      </a:lnTo>
                      <a:lnTo>
                        <a:pt x="148" y="139"/>
                      </a:lnTo>
                      <a:lnTo>
                        <a:pt x="148" y="135"/>
                      </a:lnTo>
                      <a:lnTo>
                        <a:pt x="150" y="135"/>
                      </a:lnTo>
                      <a:lnTo>
                        <a:pt x="153" y="135"/>
                      </a:lnTo>
                      <a:lnTo>
                        <a:pt x="156" y="133"/>
                      </a:lnTo>
                      <a:lnTo>
                        <a:pt x="158" y="132"/>
                      </a:lnTo>
                      <a:lnTo>
                        <a:pt x="160" y="130"/>
                      </a:lnTo>
                      <a:lnTo>
                        <a:pt x="160" y="127"/>
                      </a:lnTo>
                      <a:lnTo>
                        <a:pt x="161" y="123"/>
                      </a:lnTo>
                      <a:lnTo>
                        <a:pt x="165" y="120"/>
                      </a:lnTo>
                      <a:lnTo>
                        <a:pt x="168" y="117"/>
                      </a:lnTo>
                      <a:lnTo>
                        <a:pt x="170" y="115"/>
                      </a:lnTo>
                      <a:lnTo>
                        <a:pt x="175" y="112"/>
                      </a:lnTo>
                      <a:lnTo>
                        <a:pt x="177" y="110"/>
                      </a:lnTo>
                      <a:lnTo>
                        <a:pt x="177" y="108"/>
                      </a:lnTo>
                      <a:lnTo>
                        <a:pt x="177" y="107"/>
                      </a:lnTo>
                      <a:lnTo>
                        <a:pt x="175" y="103"/>
                      </a:lnTo>
                      <a:lnTo>
                        <a:pt x="173" y="101"/>
                      </a:lnTo>
                      <a:lnTo>
                        <a:pt x="173" y="100"/>
                      </a:lnTo>
                      <a:lnTo>
                        <a:pt x="178" y="96"/>
                      </a:lnTo>
                      <a:lnTo>
                        <a:pt x="180" y="95"/>
                      </a:lnTo>
                      <a:lnTo>
                        <a:pt x="180" y="91"/>
                      </a:lnTo>
                      <a:lnTo>
                        <a:pt x="182" y="88"/>
                      </a:lnTo>
                      <a:lnTo>
                        <a:pt x="183" y="86"/>
                      </a:lnTo>
                      <a:lnTo>
                        <a:pt x="187" y="85"/>
                      </a:lnTo>
                      <a:lnTo>
                        <a:pt x="188" y="83"/>
                      </a:lnTo>
                      <a:lnTo>
                        <a:pt x="192" y="83"/>
                      </a:lnTo>
                      <a:lnTo>
                        <a:pt x="195" y="83"/>
                      </a:lnTo>
                      <a:lnTo>
                        <a:pt x="199" y="86"/>
                      </a:lnTo>
                      <a:lnTo>
                        <a:pt x="200" y="86"/>
                      </a:lnTo>
                      <a:lnTo>
                        <a:pt x="202" y="83"/>
                      </a:lnTo>
                      <a:lnTo>
                        <a:pt x="204" y="80"/>
                      </a:lnTo>
                      <a:lnTo>
                        <a:pt x="204" y="78"/>
                      </a:lnTo>
                      <a:lnTo>
                        <a:pt x="204" y="76"/>
                      </a:lnTo>
                      <a:lnTo>
                        <a:pt x="204" y="73"/>
                      </a:lnTo>
                      <a:lnTo>
                        <a:pt x="205" y="71"/>
                      </a:lnTo>
                      <a:lnTo>
                        <a:pt x="207" y="71"/>
                      </a:lnTo>
                      <a:lnTo>
                        <a:pt x="209" y="71"/>
                      </a:lnTo>
                      <a:lnTo>
                        <a:pt x="212" y="71"/>
                      </a:lnTo>
                      <a:lnTo>
                        <a:pt x="215" y="71"/>
                      </a:lnTo>
                      <a:lnTo>
                        <a:pt x="219" y="71"/>
                      </a:lnTo>
                      <a:lnTo>
                        <a:pt x="220" y="71"/>
                      </a:lnTo>
                      <a:lnTo>
                        <a:pt x="224" y="73"/>
                      </a:lnTo>
                      <a:lnTo>
                        <a:pt x="225" y="73"/>
                      </a:lnTo>
                      <a:lnTo>
                        <a:pt x="229" y="73"/>
                      </a:lnTo>
                      <a:lnTo>
                        <a:pt x="231" y="74"/>
                      </a:lnTo>
                      <a:lnTo>
                        <a:pt x="232" y="73"/>
                      </a:lnTo>
                      <a:lnTo>
                        <a:pt x="234" y="73"/>
                      </a:lnTo>
                      <a:lnTo>
                        <a:pt x="234" y="71"/>
                      </a:lnTo>
                      <a:lnTo>
                        <a:pt x="232" y="71"/>
                      </a:lnTo>
                      <a:lnTo>
                        <a:pt x="232" y="68"/>
                      </a:lnTo>
                      <a:lnTo>
                        <a:pt x="234" y="66"/>
                      </a:lnTo>
                      <a:lnTo>
                        <a:pt x="234" y="64"/>
                      </a:lnTo>
                      <a:lnTo>
                        <a:pt x="236" y="63"/>
                      </a:lnTo>
                      <a:lnTo>
                        <a:pt x="236" y="61"/>
                      </a:lnTo>
                      <a:lnTo>
                        <a:pt x="236" y="59"/>
                      </a:lnTo>
                      <a:lnTo>
                        <a:pt x="234" y="58"/>
                      </a:lnTo>
                      <a:lnTo>
                        <a:pt x="234" y="56"/>
                      </a:lnTo>
                      <a:lnTo>
                        <a:pt x="236" y="56"/>
                      </a:lnTo>
                      <a:lnTo>
                        <a:pt x="237" y="56"/>
                      </a:lnTo>
                      <a:lnTo>
                        <a:pt x="239" y="56"/>
                      </a:lnTo>
                      <a:lnTo>
                        <a:pt x="241" y="56"/>
                      </a:lnTo>
                      <a:lnTo>
                        <a:pt x="242" y="56"/>
                      </a:lnTo>
                      <a:lnTo>
                        <a:pt x="242" y="54"/>
                      </a:lnTo>
                      <a:lnTo>
                        <a:pt x="246" y="54"/>
                      </a:lnTo>
                      <a:lnTo>
                        <a:pt x="247" y="54"/>
                      </a:lnTo>
                      <a:lnTo>
                        <a:pt x="251" y="54"/>
                      </a:lnTo>
                      <a:lnTo>
                        <a:pt x="249" y="53"/>
                      </a:lnTo>
                      <a:lnTo>
                        <a:pt x="249" y="51"/>
                      </a:lnTo>
                      <a:lnTo>
                        <a:pt x="252" y="49"/>
                      </a:lnTo>
                      <a:lnTo>
                        <a:pt x="256" y="49"/>
                      </a:lnTo>
                      <a:lnTo>
                        <a:pt x="261" y="53"/>
                      </a:lnTo>
                      <a:lnTo>
                        <a:pt x="263" y="54"/>
                      </a:lnTo>
                      <a:lnTo>
                        <a:pt x="266" y="58"/>
                      </a:lnTo>
                      <a:lnTo>
                        <a:pt x="269" y="59"/>
                      </a:lnTo>
                      <a:lnTo>
                        <a:pt x="269" y="63"/>
                      </a:lnTo>
                      <a:lnTo>
                        <a:pt x="271" y="64"/>
                      </a:lnTo>
                      <a:lnTo>
                        <a:pt x="274" y="64"/>
                      </a:lnTo>
                      <a:lnTo>
                        <a:pt x="279" y="66"/>
                      </a:lnTo>
                      <a:lnTo>
                        <a:pt x="283" y="66"/>
                      </a:lnTo>
                      <a:lnTo>
                        <a:pt x="286" y="66"/>
                      </a:lnTo>
                      <a:lnTo>
                        <a:pt x="288" y="66"/>
                      </a:lnTo>
                      <a:lnTo>
                        <a:pt x="291" y="64"/>
                      </a:lnTo>
                      <a:lnTo>
                        <a:pt x="293" y="63"/>
                      </a:lnTo>
                      <a:lnTo>
                        <a:pt x="296" y="61"/>
                      </a:lnTo>
                      <a:lnTo>
                        <a:pt x="298" y="63"/>
                      </a:lnTo>
                      <a:lnTo>
                        <a:pt x="301" y="64"/>
                      </a:lnTo>
                      <a:lnTo>
                        <a:pt x="301" y="66"/>
                      </a:lnTo>
                      <a:lnTo>
                        <a:pt x="305" y="68"/>
                      </a:lnTo>
                      <a:lnTo>
                        <a:pt x="310" y="66"/>
                      </a:lnTo>
                      <a:lnTo>
                        <a:pt x="313" y="64"/>
                      </a:lnTo>
                      <a:lnTo>
                        <a:pt x="315" y="61"/>
                      </a:lnTo>
                      <a:lnTo>
                        <a:pt x="318" y="59"/>
                      </a:lnTo>
                      <a:lnTo>
                        <a:pt x="323" y="58"/>
                      </a:lnTo>
                      <a:lnTo>
                        <a:pt x="323" y="56"/>
                      </a:lnTo>
                      <a:lnTo>
                        <a:pt x="323" y="54"/>
                      </a:lnTo>
                      <a:lnTo>
                        <a:pt x="323" y="53"/>
                      </a:lnTo>
                      <a:lnTo>
                        <a:pt x="323" y="49"/>
                      </a:lnTo>
                      <a:lnTo>
                        <a:pt x="323" y="47"/>
                      </a:lnTo>
                      <a:lnTo>
                        <a:pt x="323" y="44"/>
                      </a:lnTo>
                      <a:lnTo>
                        <a:pt x="323" y="42"/>
                      </a:lnTo>
                      <a:lnTo>
                        <a:pt x="325" y="39"/>
                      </a:lnTo>
                      <a:lnTo>
                        <a:pt x="327" y="36"/>
                      </a:lnTo>
                      <a:lnTo>
                        <a:pt x="330" y="34"/>
                      </a:lnTo>
                      <a:lnTo>
                        <a:pt x="333" y="32"/>
                      </a:lnTo>
                      <a:lnTo>
                        <a:pt x="337" y="32"/>
                      </a:lnTo>
                      <a:lnTo>
                        <a:pt x="342" y="32"/>
                      </a:lnTo>
                      <a:lnTo>
                        <a:pt x="345" y="32"/>
                      </a:lnTo>
                      <a:lnTo>
                        <a:pt x="349" y="31"/>
                      </a:lnTo>
                      <a:lnTo>
                        <a:pt x="352" y="29"/>
                      </a:lnTo>
                      <a:lnTo>
                        <a:pt x="355" y="29"/>
                      </a:lnTo>
                      <a:lnTo>
                        <a:pt x="359" y="29"/>
                      </a:lnTo>
                      <a:lnTo>
                        <a:pt x="360" y="29"/>
                      </a:lnTo>
                      <a:lnTo>
                        <a:pt x="362" y="31"/>
                      </a:lnTo>
                      <a:lnTo>
                        <a:pt x="364" y="32"/>
                      </a:lnTo>
                      <a:lnTo>
                        <a:pt x="365" y="34"/>
                      </a:lnTo>
                      <a:lnTo>
                        <a:pt x="369" y="36"/>
                      </a:lnTo>
                      <a:lnTo>
                        <a:pt x="370" y="36"/>
                      </a:lnTo>
                      <a:lnTo>
                        <a:pt x="374" y="37"/>
                      </a:lnTo>
                      <a:lnTo>
                        <a:pt x="376" y="39"/>
                      </a:lnTo>
                      <a:lnTo>
                        <a:pt x="377" y="41"/>
                      </a:lnTo>
                      <a:lnTo>
                        <a:pt x="379" y="44"/>
                      </a:lnTo>
                      <a:lnTo>
                        <a:pt x="379" y="46"/>
                      </a:lnTo>
                      <a:lnTo>
                        <a:pt x="379" y="47"/>
                      </a:lnTo>
                      <a:lnTo>
                        <a:pt x="377" y="47"/>
                      </a:lnTo>
                      <a:lnTo>
                        <a:pt x="376" y="49"/>
                      </a:lnTo>
                      <a:lnTo>
                        <a:pt x="372" y="51"/>
                      </a:lnTo>
                      <a:lnTo>
                        <a:pt x="372" y="53"/>
                      </a:lnTo>
                      <a:lnTo>
                        <a:pt x="372" y="54"/>
                      </a:lnTo>
                      <a:lnTo>
                        <a:pt x="376" y="56"/>
                      </a:lnTo>
                      <a:lnTo>
                        <a:pt x="377" y="56"/>
                      </a:lnTo>
                      <a:lnTo>
                        <a:pt x="377" y="54"/>
                      </a:lnTo>
                      <a:lnTo>
                        <a:pt x="379" y="54"/>
                      </a:lnTo>
                      <a:lnTo>
                        <a:pt x="379" y="53"/>
                      </a:lnTo>
                      <a:lnTo>
                        <a:pt x="379" y="51"/>
                      </a:lnTo>
                      <a:lnTo>
                        <a:pt x="381" y="51"/>
                      </a:lnTo>
                      <a:lnTo>
                        <a:pt x="382" y="51"/>
                      </a:lnTo>
                      <a:lnTo>
                        <a:pt x="382" y="49"/>
                      </a:lnTo>
                      <a:lnTo>
                        <a:pt x="384" y="49"/>
                      </a:lnTo>
                      <a:lnTo>
                        <a:pt x="386" y="49"/>
                      </a:lnTo>
                      <a:lnTo>
                        <a:pt x="387" y="47"/>
                      </a:lnTo>
                      <a:lnTo>
                        <a:pt x="389" y="47"/>
                      </a:lnTo>
                      <a:lnTo>
                        <a:pt x="391" y="47"/>
                      </a:lnTo>
                      <a:lnTo>
                        <a:pt x="391" y="46"/>
                      </a:lnTo>
                      <a:lnTo>
                        <a:pt x="391" y="44"/>
                      </a:lnTo>
                      <a:lnTo>
                        <a:pt x="391" y="42"/>
                      </a:lnTo>
                      <a:lnTo>
                        <a:pt x="392" y="42"/>
                      </a:lnTo>
                      <a:lnTo>
                        <a:pt x="392" y="41"/>
                      </a:lnTo>
                      <a:lnTo>
                        <a:pt x="394" y="41"/>
                      </a:lnTo>
                      <a:lnTo>
                        <a:pt x="394" y="42"/>
                      </a:lnTo>
                      <a:lnTo>
                        <a:pt x="396" y="42"/>
                      </a:lnTo>
                      <a:lnTo>
                        <a:pt x="397" y="42"/>
                      </a:lnTo>
                      <a:lnTo>
                        <a:pt x="397" y="44"/>
                      </a:lnTo>
                      <a:lnTo>
                        <a:pt x="399" y="44"/>
                      </a:lnTo>
                      <a:lnTo>
                        <a:pt x="401" y="44"/>
                      </a:lnTo>
                      <a:lnTo>
                        <a:pt x="401" y="42"/>
                      </a:lnTo>
                      <a:lnTo>
                        <a:pt x="403" y="42"/>
                      </a:lnTo>
                      <a:lnTo>
                        <a:pt x="403" y="41"/>
                      </a:lnTo>
                      <a:lnTo>
                        <a:pt x="404" y="41"/>
                      </a:lnTo>
                      <a:lnTo>
                        <a:pt x="404" y="39"/>
                      </a:lnTo>
                      <a:lnTo>
                        <a:pt x="404" y="37"/>
                      </a:lnTo>
                      <a:lnTo>
                        <a:pt x="403" y="37"/>
                      </a:lnTo>
                      <a:lnTo>
                        <a:pt x="399" y="37"/>
                      </a:lnTo>
                      <a:lnTo>
                        <a:pt x="399" y="36"/>
                      </a:lnTo>
                      <a:lnTo>
                        <a:pt x="397" y="36"/>
                      </a:lnTo>
                      <a:lnTo>
                        <a:pt x="396" y="37"/>
                      </a:lnTo>
                      <a:lnTo>
                        <a:pt x="396" y="41"/>
                      </a:lnTo>
                      <a:lnTo>
                        <a:pt x="394" y="41"/>
                      </a:lnTo>
                      <a:lnTo>
                        <a:pt x="394" y="39"/>
                      </a:lnTo>
                      <a:lnTo>
                        <a:pt x="392" y="39"/>
                      </a:lnTo>
                      <a:lnTo>
                        <a:pt x="391" y="37"/>
                      </a:lnTo>
                      <a:lnTo>
                        <a:pt x="391" y="39"/>
                      </a:lnTo>
                      <a:lnTo>
                        <a:pt x="391" y="41"/>
                      </a:lnTo>
                      <a:lnTo>
                        <a:pt x="389" y="39"/>
                      </a:lnTo>
                      <a:lnTo>
                        <a:pt x="387" y="39"/>
                      </a:lnTo>
                      <a:lnTo>
                        <a:pt x="386" y="39"/>
                      </a:lnTo>
                      <a:lnTo>
                        <a:pt x="382" y="41"/>
                      </a:lnTo>
                      <a:lnTo>
                        <a:pt x="384" y="37"/>
                      </a:lnTo>
                      <a:lnTo>
                        <a:pt x="386" y="37"/>
                      </a:lnTo>
                      <a:lnTo>
                        <a:pt x="387" y="36"/>
                      </a:lnTo>
                      <a:lnTo>
                        <a:pt x="389" y="36"/>
                      </a:lnTo>
                      <a:lnTo>
                        <a:pt x="387" y="34"/>
                      </a:lnTo>
                      <a:lnTo>
                        <a:pt x="386" y="34"/>
                      </a:lnTo>
                      <a:lnTo>
                        <a:pt x="381" y="34"/>
                      </a:lnTo>
                      <a:lnTo>
                        <a:pt x="382" y="32"/>
                      </a:lnTo>
                      <a:lnTo>
                        <a:pt x="381" y="32"/>
                      </a:lnTo>
                      <a:lnTo>
                        <a:pt x="376" y="31"/>
                      </a:lnTo>
                      <a:lnTo>
                        <a:pt x="374" y="29"/>
                      </a:lnTo>
                      <a:lnTo>
                        <a:pt x="369" y="27"/>
                      </a:lnTo>
                      <a:lnTo>
                        <a:pt x="369" y="26"/>
                      </a:lnTo>
                      <a:lnTo>
                        <a:pt x="372" y="26"/>
                      </a:lnTo>
                      <a:lnTo>
                        <a:pt x="376" y="27"/>
                      </a:lnTo>
                      <a:lnTo>
                        <a:pt x="377" y="27"/>
                      </a:lnTo>
                      <a:lnTo>
                        <a:pt x="379" y="27"/>
                      </a:lnTo>
                      <a:lnTo>
                        <a:pt x="382" y="27"/>
                      </a:lnTo>
                      <a:lnTo>
                        <a:pt x="386" y="29"/>
                      </a:lnTo>
                      <a:lnTo>
                        <a:pt x="389" y="29"/>
                      </a:lnTo>
                      <a:lnTo>
                        <a:pt x="392" y="27"/>
                      </a:lnTo>
                      <a:lnTo>
                        <a:pt x="396" y="26"/>
                      </a:lnTo>
                      <a:lnTo>
                        <a:pt x="397" y="24"/>
                      </a:lnTo>
                      <a:lnTo>
                        <a:pt x="399" y="24"/>
                      </a:lnTo>
                      <a:lnTo>
                        <a:pt x="403" y="22"/>
                      </a:lnTo>
                      <a:lnTo>
                        <a:pt x="406" y="21"/>
                      </a:lnTo>
                      <a:lnTo>
                        <a:pt x="404" y="19"/>
                      </a:lnTo>
                      <a:lnTo>
                        <a:pt x="401" y="17"/>
                      </a:lnTo>
                      <a:lnTo>
                        <a:pt x="399" y="17"/>
                      </a:lnTo>
                      <a:lnTo>
                        <a:pt x="399" y="15"/>
                      </a:lnTo>
                      <a:lnTo>
                        <a:pt x="394" y="15"/>
                      </a:lnTo>
                      <a:lnTo>
                        <a:pt x="392" y="15"/>
                      </a:lnTo>
                      <a:lnTo>
                        <a:pt x="394" y="14"/>
                      </a:lnTo>
                      <a:lnTo>
                        <a:pt x="392" y="12"/>
                      </a:lnTo>
                      <a:lnTo>
                        <a:pt x="391" y="12"/>
                      </a:lnTo>
                      <a:lnTo>
                        <a:pt x="389" y="10"/>
                      </a:lnTo>
                      <a:lnTo>
                        <a:pt x="387" y="12"/>
                      </a:lnTo>
                      <a:lnTo>
                        <a:pt x="384" y="12"/>
                      </a:lnTo>
                      <a:lnTo>
                        <a:pt x="384" y="10"/>
                      </a:lnTo>
                      <a:lnTo>
                        <a:pt x="381" y="12"/>
                      </a:lnTo>
                      <a:lnTo>
                        <a:pt x="379" y="12"/>
                      </a:lnTo>
                      <a:lnTo>
                        <a:pt x="377" y="12"/>
                      </a:lnTo>
                      <a:lnTo>
                        <a:pt x="377" y="10"/>
                      </a:lnTo>
                      <a:lnTo>
                        <a:pt x="379" y="10"/>
                      </a:lnTo>
                      <a:lnTo>
                        <a:pt x="377" y="9"/>
                      </a:lnTo>
                      <a:lnTo>
                        <a:pt x="377" y="7"/>
                      </a:lnTo>
                      <a:lnTo>
                        <a:pt x="376" y="7"/>
                      </a:lnTo>
                      <a:lnTo>
                        <a:pt x="374" y="7"/>
                      </a:lnTo>
                      <a:lnTo>
                        <a:pt x="372" y="7"/>
                      </a:lnTo>
                      <a:lnTo>
                        <a:pt x="369" y="7"/>
                      </a:lnTo>
                      <a:lnTo>
                        <a:pt x="367" y="9"/>
                      </a:lnTo>
                      <a:lnTo>
                        <a:pt x="367" y="12"/>
                      </a:lnTo>
                      <a:lnTo>
                        <a:pt x="365" y="15"/>
                      </a:lnTo>
                      <a:lnTo>
                        <a:pt x="367" y="17"/>
                      </a:lnTo>
                      <a:lnTo>
                        <a:pt x="364" y="19"/>
                      </a:lnTo>
                      <a:lnTo>
                        <a:pt x="362" y="19"/>
                      </a:lnTo>
                      <a:lnTo>
                        <a:pt x="360" y="17"/>
                      </a:lnTo>
                      <a:lnTo>
                        <a:pt x="359" y="17"/>
                      </a:lnTo>
                      <a:lnTo>
                        <a:pt x="357" y="17"/>
                      </a:lnTo>
                      <a:lnTo>
                        <a:pt x="360" y="15"/>
                      </a:lnTo>
                      <a:lnTo>
                        <a:pt x="362" y="14"/>
                      </a:lnTo>
                      <a:lnTo>
                        <a:pt x="360" y="12"/>
                      </a:lnTo>
                      <a:lnTo>
                        <a:pt x="357" y="14"/>
                      </a:lnTo>
                      <a:lnTo>
                        <a:pt x="354" y="14"/>
                      </a:lnTo>
                      <a:lnTo>
                        <a:pt x="359" y="10"/>
                      </a:lnTo>
                      <a:lnTo>
                        <a:pt x="355" y="9"/>
                      </a:lnTo>
                      <a:lnTo>
                        <a:pt x="357" y="7"/>
                      </a:lnTo>
                      <a:lnTo>
                        <a:pt x="362" y="9"/>
                      </a:lnTo>
                      <a:lnTo>
                        <a:pt x="365" y="5"/>
                      </a:lnTo>
                      <a:lnTo>
                        <a:pt x="365" y="4"/>
                      </a:lnTo>
                      <a:lnTo>
                        <a:pt x="362" y="4"/>
                      </a:lnTo>
                      <a:lnTo>
                        <a:pt x="362" y="2"/>
                      </a:lnTo>
                      <a:lnTo>
                        <a:pt x="360" y="0"/>
                      </a:lnTo>
                      <a:lnTo>
                        <a:pt x="359" y="0"/>
                      </a:lnTo>
                      <a:lnTo>
                        <a:pt x="355" y="2"/>
                      </a:lnTo>
                      <a:lnTo>
                        <a:pt x="354" y="0"/>
                      </a:lnTo>
                      <a:lnTo>
                        <a:pt x="352" y="0"/>
                      </a:lnTo>
                      <a:lnTo>
                        <a:pt x="350" y="4"/>
                      </a:lnTo>
                      <a:lnTo>
                        <a:pt x="350" y="5"/>
                      </a:lnTo>
                      <a:lnTo>
                        <a:pt x="349" y="9"/>
                      </a:lnTo>
                      <a:lnTo>
                        <a:pt x="347" y="10"/>
                      </a:lnTo>
                      <a:lnTo>
                        <a:pt x="345" y="12"/>
                      </a:lnTo>
                      <a:lnTo>
                        <a:pt x="345" y="14"/>
                      </a:lnTo>
                      <a:lnTo>
                        <a:pt x="344" y="14"/>
                      </a:lnTo>
                      <a:lnTo>
                        <a:pt x="344" y="15"/>
                      </a:lnTo>
                      <a:lnTo>
                        <a:pt x="344" y="17"/>
                      </a:lnTo>
                      <a:lnTo>
                        <a:pt x="340" y="17"/>
                      </a:lnTo>
                      <a:lnTo>
                        <a:pt x="337" y="19"/>
                      </a:lnTo>
                      <a:lnTo>
                        <a:pt x="335" y="21"/>
                      </a:lnTo>
                      <a:lnTo>
                        <a:pt x="335" y="17"/>
                      </a:lnTo>
                      <a:lnTo>
                        <a:pt x="337" y="14"/>
                      </a:lnTo>
                      <a:lnTo>
                        <a:pt x="335" y="12"/>
                      </a:lnTo>
                      <a:lnTo>
                        <a:pt x="337" y="10"/>
                      </a:lnTo>
                      <a:lnTo>
                        <a:pt x="337" y="9"/>
                      </a:lnTo>
                      <a:lnTo>
                        <a:pt x="337" y="7"/>
                      </a:lnTo>
                      <a:lnTo>
                        <a:pt x="337" y="5"/>
                      </a:lnTo>
                      <a:lnTo>
                        <a:pt x="335" y="4"/>
                      </a:lnTo>
                      <a:lnTo>
                        <a:pt x="333" y="5"/>
                      </a:lnTo>
                      <a:lnTo>
                        <a:pt x="332" y="7"/>
                      </a:lnTo>
                      <a:lnTo>
                        <a:pt x="330" y="9"/>
                      </a:lnTo>
                      <a:lnTo>
                        <a:pt x="327" y="12"/>
                      </a:lnTo>
                      <a:lnTo>
                        <a:pt x="325" y="15"/>
                      </a:lnTo>
                      <a:lnTo>
                        <a:pt x="323" y="15"/>
                      </a:lnTo>
                      <a:lnTo>
                        <a:pt x="322" y="17"/>
                      </a:lnTo>
                      <a:lnTo>
                        <a:pt x="320" y="19"/>
                      </a:lnTo>
                      <a:lnTo>
                        <a:pt x="318" y="21"/>
                      </a:lnTo>
                      <a:lnTo>
                        <a:pt x="317" y="24"/>
                      </a:lnTo>
                      <a:lnTo>
                        <a:pt x="318" y="22"/>
                      </a:lnTo>
                      <a:lnTo>
                        <a:pt x="317" y="26"/>
                      </a:lnTo>
                      <a:lnTo>
                        <a:pt x="315" y="27"/>
                      </a:lnTo>
                      <a:lnTo>
                        <a:pt x="313" y="29"/>
                      </a:lnTo>
                      <a:lnTo>
                        <a:pt x="310" y="29"/>
                      </a:lnTo>
                      <a:lnTo>
                        <a:pt x="310" y="27"/>
                      </a:lnTo>
                      <a:lnTo>
                        <a:pt x="310" y="26"/>
                      </a:lnTo>
                      <a:lnTo>
                        <a:pt x="311" y="24"/>
                      </a:lnTo>
                      <a:lnTo>
                        <a:pt x="313" y="24"/>
                      </a:lnTo>
                      <a:lnTo>
                        <a:pt x="313" y="22"/>
                      </a:lnTo>
                      <a:lnTo>
                        <a:pt x="313" y="21"/>
                      </a:lnTo>
                      <a:lnTo>
                        <a:pt x="313" y="19"/>
                      </a:lnTo>
                      <a:lnTo>
                        <a:pt x="313" y="17"/>
                      </a:lnTo>
                      <a:lnTo>
                        <a:pt x="315" y="17"/>
                      </a:lnTo>
                      <a:lnTo>
                        <a:pt x="315" y="15"/>
                      </a:lnTo>
                      <a:lnTo>
                        <a:pt x="318" y="12"/>
                      </a:lnTo>
                      <a:lnTo>
                        <a:pt x="320" y="10"/>
                      </a:lnTo>
                      <a:lnTo>
                        <a:pt x="322" y="10"/>
                      </a:lnTo>
                      <a:lnTo>
                        <a:pt x="323" y="7"/>
                      </a:lnTo>
                      <a:lnTo>
                        <a:pt x="322" y="7"/>
                      </a:lnTo>
                      <a:lnTo>
                        <a:pt x="322" y="5"/>
                      </a:lnTo>
                      <a:lnTo>
                        <a:pt x="318" y="7"/>
                      </a:lnTo>
                      <a:lnTo>
                        <a:pt x="317" y="9"/>
                      </a:lnTo>
                      <a:lnTo>
                        <a:pt x="315" y="9"/>
                      </a:lnTo>
                      <a:lnTo>
                        <a:pt x="313" y="7"/>
                      </a:lnTo>
                      <a:lnTo>
                        <a:pt x="311" y="5"/>
                      </a:lnTo>
                      <a:lnTo>
                        <a:pt x="311" y="4"/>
                      </a:lnTo>
                      <a:lnTo>
                        <a:pt x="310" y="4"/>
                      </a:lnTo>
                      <a:lnTo>
                        <a:pt x="308" y="5"/>
                      </a:lnTo>
                      <a:lnTo>
                        <a:pt x="306" y="4"/>
                      </a:lnTo>
                      <a:lnTo>
                        <a:pt x="305" y="4"/>
                      </a:lnTo>
                      <a:lnTo>
                        <a:pt x="305" y="7"/>
                      </a:lnTo>
                      <a:lnTo>
                        <a:pt x="305" y="9"/>
                      </a:lnTo>
                      <a:lnTo>
                        <a:pt x="301" y="7"/>
                      </a:lnTo>
                      <a:lnTo>
                        <a:pt x="300" y="7"/>
                      </a:lnTo>
                      <a:lnTo>
                        <a:pt x="301" y="10"/>
                      </a:lnTo>
                      <a:lnTo>
                        <a:pt x="305" y="12"/>
                      </a:lnTo>
                      <a:lnTo>
                        <a:pt x="301" y="14"/>
                      </a:lnTo>
                      <a:lnTo>
                        <a:pt x="300" y="15"/>
                      </a:lnTo>
                      <a:lnTo>
                        <a:pt x="300" y="17"/>
                      </a:lnTo>
                      <a:lnTo>
                        <a:pt x="298" y="17"/>
                      </a:lnTo>
                      <a:lnTo>
                        <a:pt x="293" y="17"/>
                      </a:lnTo>
                      <a:lnTo>
                        <a:pt x="290" y="21"/>
                      </a:lnTo>
                      <a:lnTo>
                        <a:pt x="288" y="22"/>
                      </a:lnTo>
                      <a:lnTo>
                        <a:pt x="286" y="24"/>
                      </a:lnTo>
                      <a:lnTo>
                        <a:pt x="284" y="24"/>
                      </a:lnTo>
                      <a:lnTo>
                        <a:pt x="284" y="26"/>
                      </a:lnTo>
                      <a:lnTo>
                        <a:pt x="284" y="27"/>
                      </a:lnTo>
                      <a:lnTo>
                        <a:pt x="284" y="29"/>
                      </a:lnTo>
                      <a:lnTo>
                        <a:pt x="283" y="32"/>
                      </a:lnTo>
                      <a:lnTo>
                        <a:pt x="281" y="32"/>
                      </a:lnTo>
                      <a:lnTo>
                        <a:pt x="279" y="31"/>
                      </a:lnTo>
                      <a:lnTo>
                        <a:pt x="279" y="29"/>
                      </a:lnTo>
                      <a:lnTo>
                        <a:pt x="281" y="29"/>
                      </a:lnTo>
                      <a:lnTo>
                        <a:pt x="278" y="27"/>
                      </a:lnTo>
                      <a:lnTo>
                        <a:pt x="279" y="26"/>
                      </a:lnTo>
                      <a:lnTo>
                        <a:pt x="276" y="26"/>
                      </a:lnTo>
                      <a:lnTo>
                        <a:pt x="273" y="26"/>
                      </a:lnTo>
                      <a:lnTo>
                        <a:pt x="271" y="26"/>
                      </a:lnTo>
                      <a:lnTo>
                        <a:pt x="271" y="27"/>
                      </a:lnTo>
                      <a:lnTo>
                        <a:pt x="269" y="27"/>
                      </a:lnTo>
                      <a:lnTo>
                        <a:pt x="268" y="27"/>
                      </a:lnTo>
                      <a:lnTo>
                        <a:pt x="268" y="26"/>
                      </a:lnTo>
                      <a:lnTo>
                        <a:pt x="268" y="24"/>
                      </a:lnTo>
                      <a:lnTo>
                        <a:pt x="266" y="24"/>
                      </a:lnTo>
                      <a:lnTo>
                        <a:pt x="266" y="22"/>
                      </a:lnTo>
                      <a:lnTo>
                        <a:pt x="263" y="24"/>
                      </a:lnTo>
                      <a:lnTo>
                        <a:pt x="263" y="22"/>
                      </a:lnTo>
                      <a:lnTo>
                        <a:pt x="261" y="24"/>
                      </a:lnTo>
                      <a:lnTo>
                        <a:pt x="261" y="27"/>
                      </a:lnTo>
                      <a:lnTo>
                        <a:pt x="259" y="26"/>
                      </a:lnTo>
                      <a:lnTo>
                        <a:pt x="258" y="22"/>
                      </a:lnTo>
                      <a:lnTo>
                        <a:pt x="258" y="26"/>
                      </a:lnTo>
                      <a:lnTo>
                        <a:pt x="258" y="27"/>
                      </a:lnTo>
                      <a:lnTo>
                        <a:pt x="259" y="27"/>
                      </a:lnTo>
                      <a:lnTo>
                        <a:pt x="263" y="29"/>
                      </a:lnTo>
                      <a:lnTo>
                        <a:pt x="264" y="29"/>
                      </a:lnTo>
                      <a:lnTo>
                        <a:pt x="264" y="31"/>
                      </a:lnTo>
                      <a:lnTo>
                        <a:pt x="263" y="32"/>
                      </a:lnTo>
                      <a:lnTo>
                        <a:pt x="263" y="34"/>
                      </a:lnTo>
                      <a:lnTo>
                        <a:pt x="264" y="36"/>
                      </a:lnTo>
                      <a:lnTo>
                        <a:pt x="264" y="39"/>
                      </a:lnTo>
                      <a:lnTo>
                        <a:pt x="263" y="37"/>
                      </a:lnTo>
                      <a:lnTo>
                        <a:pt x="259" y="34"/>
                      </a:lnTo>
                      <a:lnTo>
                        <a:pt x="258" y="32"/>
                      </a:lnTo>
                      <a:lnTo>
                        <a:pt x="254" y="31"/>
                      </a:lnTo>
                      <a:lnTo>
                        <a:pt x="252" y="31"/>
                      </a:lnTo>
                      <a:lnTo>
                        <a:pt x="254" y="34"/>
                      </a:lnTo>
                      <a:lnTo>
                        <a:pt x="252" y="34"/>
                      </a:lnTo>
                      <a:lnTo>
                        <a:pt x="251" y="36"/>
                      </a:lnTo>
                      <a:lnTo>
                        <a:pt x="249" y="36"/>
                      </a:lnTo>
                      <a:lnTo>
                        <a:pt x="247" y="36"/>
                      </a:lnTo>
                      <a:lnTo>
                        <a:pt x="247" y="34"/>
                      </a:lnTo>
                      <a:lnTo>
                        <a:pt x="249" y="32"/>
                      </a:lnTo>
                      <a:lnTo>
                        <a:pt x="246" y="34"/>
                      </a:lnTo>
                      <a:lnTo>
                        <a:pt x="244" y="36"/>
                      </a:lnTo>
                      <a:lnTo>
                        <a:pt x="244" y="37"/>
                      </a:lnTo>
                      <a:lnTo>
                        <a:pt x="242" y="37"/>
                      </a:lnTo>
                      <a:lnTo>
                        <a:pt x="242" y="41"/>
                      </a:lnTo>
                      <a:lnTo>
                        <a:pt x="241" y="42"/>
                      </a:lnTo>
                      <a:lnTo>
                        <a:pt x="239" y="44"/>
                      </a:lnTo>
                      <a:lnTo>
                        <a:pt x="237" y="47"/>
                      </a:lnTo>
                      <a:lnTo>
                        <a:pt x="234" y="49"/>
                      </a:lnTo>
                      <a:lnTo>
                        <a:pt x="236" y="47"/>
                      </a:lnTo>
                      <a:lnTo>
                        <a:pt x="237" y="46"/>
                      </a:lnTo>
                      <a:lnTo>
                        <a:pt x="237" y="44"/>
                      </a:lnTo>
                      <a:lnTo>
                        <a:pt x="237" y="39"/>
                      </a:lnTo>
                      <a:lnTo>
                        <a:pt x="239" y="36"/>
                      </a:lnTo>
                      <a:lnTo>
                        <a:pt x="237" y="32"/>
                      </a:lnTo>
                      <a:lnTo>
                        <a:pt x="236" y="34"/>
                      </a:lnTo>
                      <a:lnTo>
                        <a:pt x="234" y="34"/>
                      </a:lnTo>
                      <a:lnTo>
                        <a:pt x="232" y="36"/>
                      </a:lnTo>
                      <a:lnTo>
                        <a:pt x="231" y="39"/>
                      </a:lnTo>
                      <a:lnTo>
                        <a:pt x="229" y="42"/>
                      </a:lnTo>
                      <a:lnTo>
                        <a:pt x="227" y="46"/>
                      </a:lnTo>
                      <a:lnTo>
                        <a:pt x="227" y="44"/>
                      </a:lnTo>
                      <a:lnTo>
                        <a:pt x="227" y="41"/>
                      </a:lnTo>
                      <a:lnTo>
                        <a:pt x="227" y="39"/>
                      </a:lnTo>
                      <a:lnTo>
                        <a:pt x="227" y="37"/>
                      </a:lnTo>
                      <a:lnTo>
                        <a:pt x="225" y="37"/>
                      </a:lnTo>
                      <a:lnTo>
                        <a:pt x="222" y="37"/>
                      </a:lnTo>
                      <a:lnTo>
                        <a:pt x="220" y="37"/>
                      </a:lnTo>
                      <a:lnTo>
                        <a:pt x="219" y="39"/>
                      </a:lnTo>
                      <a:lnTo>
                        <a:pt x="217" y="41"/>
                      </a:lnTo>
                      <a:lnTo>
                        <a:pt x="217" y="42"/>
                      </a:lnTo>
                      <a:lnTo>
                        <a:pt x="219" y="44"/>
                      </a:lnTo>
                      <a:lnTo>
                        <a:pt x="220" y="47"/>
                      </a:lnTo>
                      <a:lnTo>
                        <a:pt x="224" y="47"/>
                      </a:lnTo>
                      <a:lnTo>
                        <a:pt x="225" y="51"/>
                      </a:lnTo>
                      <a:lnTo>
                        <a:pt x="225" y="53"/>
                      </a:lnTo>
                      <a:lnTo>
                        <a:pt x="222" y="53"/>
                      </a:lnTo>
                      <a:lnTo>
                        <a:pt x="222" y="51"/>
                      </a:lnTo>
                      <a:lnTo>
                        <a:pt x="220" y="49"/>
                      </a:lnTo>
                      <a:lnTo>
                        <a:pt x="217" y="47"/>
                      </a:lnTo>
                      <a:lnTo>
                        <a:pt x="215" y="46"/>
                      </a:lnTo>
                      <a:lnTo>
                        <a:pt x="212" y="44"/>
                      </a:lnTo>
                      <a:lnTo>
                        <a:pt x="210" y="44"/>
                      </a:lnTo>
                      <a:lnTo>
                        <a:pt x="209" y="44"/>
                      </a:lnTo>
                      <a:lnTo>
                        <a:pt x="210" y="46"/>
                      </a:lnTo>
                      <a:lnTo>
                        <a:pt x="212" y="47"/>
                      </a:lnTo>
                      <a:lnTo>
                        <a:pt x="215" y="49"/>
                      </a:lnTo>
                      <a:lnTo>
                        <a:pt x="214" y="51"/>
                      </a:lnTo>
                      <a:lnTo>
                        <a:pt x="212" y="51"/>
                      </a:lnTo>
                      <a:lnTo>
                        <a:pt x="210" y="49"/>
                      </a:lnTo>
                      <a:lnTo>
                        <a:pt x="209" y="51"/>
                      </a:lnTo>
                      <a:lnTo>
                        <a:pt x="209" y="49"/>
                      </a:lnTo>
                      <a:lnTo>
                        <a:pt x="205" y="49"/>
                      </a:lnTo>
                      <a:lnTo>
                        <a:pt x="207" y="46"/>
                      </a:lnTo>
                      <a:lnTo>
                        <a:pt x="205" y="44"/>
                      </a:lnTo>
                      <a:lnTo>
                        <a:pt x="204" y="46"/>
                      </a:lnTo>
                      <a:lnTo>
                        <a:pt x="204" y="47"/>
                      </a:lnTo>
                      <a:lnTo>
                        <a:pt x="202" y="49"/>
                      </a:lnTo>
                      <a:lnTo>
                        <a:pt x="202" y="51"/>
                      </a:lnTo>
                      <a:lnTo>
                        <a:pt x="202" y="53"/>
                      </a:lnTo>
                      <a:lnTo>
                        <a:pt x="204" y="53"/>
                      </a:lnTo>
                      <a:lnTo>
                        <a:pt x="202" y="54"/>
                      </a:lnTo>
                      <a:lnTo>
                        <a:pt x="200" y="54"/>
                      </a:lnTo>
                      <a:lnTo>
                        <a:pt x="197" y="56"/>
                      </a:lnTo>
                      <a:lnTo>
                        <a:pt x="195" y="56"/>
                      </a:lnTo>
                      <a:lnTo>
                        <a:pt x="195" y="58"/>
                      </a:lnTo>
                      <a:lnTo>
                        <a:pt x="195" y="59"/>
                      </a:lnTo>
                      <a:lnTo>
                        <a:pt x="195" y="61"/>
                      </a:lnTo>
                      <a:lnTo>
                        <a:pt x="197" y="61"/>
                      </a:lnTo>
                      <a:lnTo>
                        <a:pt x="199" y="63"/>
                      </a:lnTo>
                      <a:lnTo>
                        <a:pt x="197" y="61"/>
                      </a:lnTo>
                      <a:lnTo>
                        <a:pt x="197" y="64"/>
                      </a:lnTo>
                      <a:lnTo>
                        <a:pt x="193" y="64"/>
                      </a:lnTo>
                      <a:lnTo>
                        <a:pt x="192" y="64"/>
                      </a:lnTo>
                      <a:lnTo>
                        <a:pt x="193" y="66"/>
                      </a:lnTo>
                      <a:lnTo>
                        <a:pt x="193" y="68"/>
                      </a:lnTo>
                      <a:lnTo>
                        <a:pt x="190" y="66"/>
                      </a:lnTo>
                      <a:lnTo>
                        <a:pt x="188" y="68"/>
                      </a:lnTo>
                      <a:lnTo>
                        <a:pt x="187" y="68"/>
                      </a:lnTo>
                      <a:lnTo>
                        <a:pt x="182" y="68"/>
                      </a:lnTo>
                      <a:lnTo>
                        <a:pt x="180" y="69"/>
                      </a:lnTo>
                      <a:lnTo>
                        <a:pt x="178" y="71"/>
                      </a:lnTo>
                      <a:lnTo>
                        <a:pt x="182" y="73"/>
                      </a:lnTo>
                      <a:lnTo>
                        <a:pt x="185" y="71"/>
                      </a:lnTo>
                      <a:lnTo>
                        <a:pt x="187" y="71"/>
                      </a:lnTo>
                      <a:lnTo>
                        <a:pt x="188" y="71"/>
                      </a:lnTo>
                      <a:lnTo>
                        <a:pt x="190" y="73"/>
                      </a:lnTo>
                      <a:lnTo>
                        <a:pt x="193" y="71"/>
                      </a:lnTo>
                      <a:lnTo>
                        <a:pt x="195" y="71"/>
                      </a:lnTo>
                      <a:lnTo>
                        <a:pt x="195" y="73"/>
                      </a:lnTo>
                      <a:lnTo>
                        <a:pt x="193" y="73"/>
                      </a:lnTo>
                      <a:lnTo>
                        <a:pt x="192" y="74"/>
                      </a:lnTo>
                      <a:lnTo>
                        <a:pt x="190" y="76"/>
                      </a:lnTo>
                      <a:lnTo>
                        <a:pt x="188" y="76"/>
                      </a:lnTo>
                      <a:lnTo>
                        <a:pt x="187" y="74"/>
                      </a:lnTo>
                      <a:lnTo>
                        <a:pt x="183" y="74"/>
                      </a:lnTo>
                      <a:lnTo>
                        <a:pt x="180" y="74"/>
                      </a:lnTo>
                      <a:lnTo>
                        <a:pt x="178" y="74"/>
                      </a:lnTo>
                      <a:lnTo>
                        <a:pt x="175" y="74"/>
                      </a:lnTo>
                      <a:lnTo>
                        <a:pt x="175" y="76"/>
                      </a:lnTo>
                      <a:lnTo>
                        <a:pt x="175" y="78"/>
                      </a:lnTo>
                      <a:lnTo>
                        <a:pt x="177" y="80"/>
                      </a:lnTo>
                      <a:lnTo>
                        <a:pt x="177" y="81"/>
                      </a:lnTo>
                      <a:lnTo>
                        <a:pt x="175" y="81"/>
                      </a:lnTo>
                      <a:lnTo>
                        <a:pt x="177" y="83"/>
                      </a:lnTo>
                      <a:lnTo>
                        <a:pt x="177" y="86"/>
                      </a:lnTo>
                      <a:lnTo>
                        <a:pt x="175" y="85"/>
                      </a:lnTo>
                      <a:lnTo>
                        <a:pt x="175" y="86"/>
                      </a:lnTo>
                      <a:lnTo>
                        <a:pt x="173" y="88"/>
                      </a:lnTo>
                      <a:lnTo>
                        <a:pt x="172" y="85"/>
                      </a:lnTo>
                      <a:lnTo>
                        <a:pt x="172" y="83"/>
                      </a:lnTo>
                      <a:lnTo>
                        <a:pt x="172" y="80"/>
                      </a:lnTo>
                      <a:lnTo>
                        <a:pt x="168" y="81"/>
                      </a:lnTo>
                      <a:lnTo>
                        <a:pt x="168" y="83"/>
                      </a:lnTo>
                      <a:lnTo>
                        <a:pt x="165" y="83"/>
                      </a:lnTo>
                      <a:lnTo>
                        <a:pt x="168" y="85"/>
                      </a:lnTo>
                      <a:lnTo>
                        <a:pt x="166" y="85"/>
                      </a:lnTo>
                      <a:lnTo>
                        <a:pt x="165" y="85"/>
                      </a:lnTo>
                      <a:lnTo>
                        <a:pt x="163" y="86"/>
                      </a:lnTo>
                      <a:lnTo>
                        <a:pt x="161" y="88"/>
                      </a:lnTo>
                      <a:lnTo>
                        <a:pt x="163" y="90"/>
                      </a:lnTo>
                      <a:lnTo>
                        <a:pt x="165" y="91"/>
                      </a:lnTo>
                      <a:lnTo>
                        <a:pt x="163" y="91"/>
                      </a:lnTo>
                      <a:lnTo>
                        <a:pt x="165" y="93"/>
                      </a:lnTo>
                      <a:lnTo>
                        <a:pt x="163" y="93"/>
                      </a:lnTo>
                      <a:lnTo>
                        <a:pt x="161" y="95"/>
                      </a:lnTo>
                      <a:lnTo>
                        <a:pt x="160" y="96"/>
                      </a:lnTo>
                      <a:lnTo>
                        <a:pt x="158" y="96"/>
                      </a:lnTo>
                      <a:lnTo>
                        <a:pt x="161" y="96"/>
                      </a:lnTo>
                      <a:lnTo>
                        <a:pt x="165" y="96"/>
                      </a:lnTo>
                      <a:lnTo>
                        <a:pt x="166" y="96"/>
                      </a:lnTo>
                      <a:lnTo>
                        <a:pt x="165" y="98"/>
                      </a:lnTo>
                      <a:lnTo>
                        <a:pt x="163" y="98"/>
                      </a:lnTo>
                      <a:lnTo>
                        <a:pt x="161" y="100"/>
                      </a:lnTo>
                      <a:lnTo>
                        <a:pt x="158" y="98"/>
                      </a:lnTo>
                      <a:lnTo>
                        <a:pt x="156" y="98"/>
                      </a:lnTo>
                      <a:lnTo>
                        <a:pt x="155" y="98"/>
                      </a:lnTo>
                      <a:lnTo>
                        <a:pt x="155" y="96"/>
                      </a:lnTo>
                      <a:lnTo>
                        <a:pt x="153" y="96"/>
                      </a:lnTo>
                      <a:lnTo>
                        <a:pt x="150" y="98"/>
                      </a:lnTo>
                      <a:lnTo>
                        <a:pt x="148" y="101"/>
                      </a:lnTo>
                      <a:lnTo>
                        <a:pt x="145" y="103"/>
                      </a:lnTo>
                      <a:lnTo>
                        <a:pt x="145" y="105"/>
                      </a:lnTo>
                      <a:lnTo>
                        <a:pt x="146" y="105"/>
                      </a:lnTo>
                      <a:lnTo>
                        <a:pt x="146" y="107"/>
                      </a:lnTo>
                      <a:lnTo>
                        <a:pt x="145" y="108"/>
                      </a:lnTo>
                      <a:lnTo>
                        <a:pt x="143" y="110"/>
                      </a:lnTo>
                      <a:lnTo>
                        <a:pt x="143" y="112"/>
                      </a:lnTo>
                      <a:lnTo>
                        <a:pt x="141" y="112"/>
                      </a:lnTo>
                      <a:lnTo>
                        <a:pt x="139" y="112"/>
                      </a:lnTo>
                      <a:lnTo>
                        <a:pt x="136" y="112"/>
                      </a:lnTo>
                      <a:lnTo>
                        <a:pt x="136" y="113"/>
                      </a:lnTo>
                      <a:lnTo>
                        <a:pt x="134" y="113"/>
                      </a:lnTo>
                      <a:lnTo>
                        <a:pt x="136" y="117"/>
                      </a:lnTo>
                      <a:lnTo>
                        <a:pt x="134" y="117"/>
                      </a:lnTo>
                      <a:lnTo>
                        <a:pt x="133" y="117"/>
                      </a:lnTo>
                      <a:lnTo>
                        <a:pt x="133" y="118"/>
                      </a:lnTo>
                      <a:lnTo>
                        <a:pt x="129" y="120"/>
                      </a:lnTo>
                      <a:lnTo>
                        <a:pt x="128" y="122"/>
                      </a:lnTo>
                      <a:lnTo>
                        <a:pt x="128" y="123"/>
                      </a:lnTo>
                      <a:lnTo>
                        <a:pt x="131" y="123"/>
                      </a:lnTo>
                      <a:lnTo>
                        <a:pt x="131" y="125"/>
                      </a:lnTo>
                      <a:lnTo>
                        <a:pt x="128" y="125"/>
                      </a:lnTo>
                      <a:lnTo>
                        <a:pt x="126" y="125"/>
                      </a:lnTo>
                      <a:lnTo>
                        <a:pt x="126" y="127"/>
                      </a:lnTo>
                      <a:lnTo>
                        <a:pt x="128" y="128"/>
                      </a:lnTo>
                      <a:lnTo>
                        <a:pt x="129" y="128"/>
                      </a:lnTo>
                      <a:lnTo>
                        <a:pt x="131" y="128"/>
                      </a:lnTo>
                      <a:lnTo>
                        <a:pt x="129" y="130"/>
                      </a:lnTo>
                      <a:lnTo>
                        <a:pt x="128" y="130"/>
                      </a:lnTo>
                      <a:lnTo>
                        <a:pt x="124" y="132"/>
                      </a:lnTo>
                      <a:lnTo>
                        <a:pt x="123" y="132"/>
                      </a:lnTo>
                      <a:lnTo>
                        <a:pt x="123" y="133"/>
                      </a:lnTo>
                      <a:lnTo>
                        <a:pt x="123" y="135"/>
                      </a:lnTo>
                      <a:lnTo>
                        <a:pt x="121" y="135"/>
                      </a:lnTo>
                      <a:lnTo>
                        <a:pt x="118" y="137"/>
                      </a:lnTo>
                      <a:lnTo>
                        <a:pt x="116" y="139"/>
                      </a:lnTo>
                      <a:lnTo>
                        <a:pt x="119" y="139"/>
                      </a:lnTo>
                      <a:lnTo>
                        <a:pt x="121" y="137"/>
                      </a:lnTo>
                      <a:lnTo>
                        <a:pt x="124" y="137"/>
                      </a:lnTo>
                      <a:lnTo>
                        <a:pt x="124" y="139"/>
                      </a:lnTo>
                      <a:lnTo>
                        <a:pt x="126" y="140"/>
                      </a:lnTo>
                      <a:lnTo>
                        <a:pt x="123" y="140"/>
                      </a:lnTo>
                      <a:lnTo>
                        <a:pt x="121" y="139"/>
                      </a:lnTo>
                      <a:lnTo>
                        <a:pt x="119" y="140"/>
                      </a:lnTo>
                      <a:lnTo>
                        <a:pt x="121" y="142"/>
                      </a:lnTo>
                      <a:lnTo>
                        <a:pt x="119" y="142"/>
                      </a:lnTo>
                      <a:lnTo>
                        <a:pt x="119" y="144"/>
                      </a:lnTo>
                      <a:lnTo>
                        <a:pt x="119" y="145"/>
                      </a:lnTo>
                      <a:lnTo>
                        <a:pt x="118" y="145"/>
                      </a:lnTo>
                      <a:lnTo>
                        <a:pt x="116" y="145"/>
                      </a:lnTo>
                      <a:lnTo>
                        <a:pt x="116" y="147"/>
                      </a:lnTo>
                      <a:lnTo>
                        <a:pt x="116" y="149"/>
                      </a:lnTo>
                      <a:lnTo>
                        <a:pt x="118" y="149"/>
                      </a:lnTo>
                      <a:lnTo>
                        <a:pt x="118" y="152"/>
                      </a:lnTo>
                      <a:lnTo>
                        <a:pt x="119" y="154"/>
                      </a:lnTo>
                      <a:lnTo>
                        <a:pt x="116" y="152"/>
                      </a:lnTo>
                      <a:lnTo>
                        <a:pt x="114" y="150"/>
                      </a:lnTo>
                      <a:lnTo>
                        <a:pt x="113" y="149"/>
                      </a:lnTo>
                      <a:lnTo>
                        <a:pt x="113" y="150"/>
                      </a:lnTo>
                      <a:lnTo>
                        <a:pt x="113" y="152"/>
                      </a:lnTo>
                      <a:lnTo>
                        <a:pt x="113" y="154"/>
                      </a:lnTo>
                      <a:lnTo>
                        <a:pt x="111" y="154"/>
                      </a:lnTo>
                      <a:lnTo>
                        <a:pt x="109" y="155"/>
                      </a:lnTo>
                      <a:lnTo>
                        <a:pt x="111" y="155"/>
                      </a:lnTo>
                      <a:lnTo>
                        <a:pt x="113" y="155"/>
                      </a:lnTo>
                      <a:lnTo>
                        <a:pt x="114" y="154"/>
                      </a:lnTo>
                      <a:lnTo>
                        <a:pt x="114" y="155"/>
                      </a:lnTo>
                      <a:lnTo>
                        <a:pt x="114" y="157"/>
                      </a:lnTo>
                      <a:lnTo>
                        <a:pt x="114" y="159"/>
                      </a:lnTo>
                      <a:lnTo>
                        <a:pt x="113" y="159"/>
                      </a:lnTo>
                      <a:lnTo>
                        <a:pt x="111" y="159"/>
                      </a:lnTo>
                      <a:lnTo>
                        <a:pt x="109" y="159"/>
                      </a:lnTo>
                      <a:lnTo>
                        <a:pt x="107" y="160"/>
                      </a:lnTo>
                      <a:lnTo>
                        <a:pt x="107" y="159"/>
                      </a:lnTo>
                      <a:lnTo>
                        <a:pt x="106" y="159"/>
                      </a:lnTo>
                      <a:lnTo>
                        <a:pt x="104" y="162"/>
                      </a:lnTo>
                      <a:lnTo>
                        <a:pt x="104" y="164"/>
                      </a:lnTo>
                      <a:lnTo>
                        <a:pt x="101" y="164"/>
                      </a:lnTo>
                      <a:lnTo>
                        <a:pt x="99" y="166"/>
                      </a:lnTo>
                      <a:lnTo>
                        <a:pt x="99" y="167"/>
                      </a:lnTo>
                      <a:lnTo>
                        <a:pt x="97" y="169"/>
                      </a:lnTo>
                      <a:lnTo>
                        <a:pt x="101" y="169"/>
                      </a:lnTo>
                      <a:lnTo>
                        <a:pt x="102" y="167"/>
                      </a:lnTo>
                      <a:lnTo>
                        <a:pt x="104" y="167"/>
                      </a:lnTo>
                      <a:lnTo>
                        <a:pt x="102" y="169"/>
                      </a:lnTo>
                      <a:lnTo>
                        <a:pt x="99" y="169"/>
                      </a:lnTo>
                      <a:lnTo>
                        <a:pt x="99" y="171"/>
                      </a:lnTo>
                      <a:lnTo>
                        <a:pt x="101" y="174"/>
                      </a:lnTo>
                      <a:lnTo>
                        <a:pt x="99" y="176"/>
                      </a:lnTo>
                      <a:lnTo>
                        <a:pt x="96" y="176"/>
                      </a:lnTo>
                      <a:lnTo>
                        <a:pt x="94" y="174"/>
                      </a:lnTo>
                      <a:lnTo>
                        <a:pt x="92" y="174"/>
                      </a:lnTo>
                      <a:lnTo>
                        <a:pt x="91" y="174"/>
                      </a:lnTo>
                      <a:lnTo>
                        <a:pt x="89" y="176"/>
                      </a:lnTo>
                      <a:lnTo>
                        <a:pt x="87" y="177"/>
                      </a:lnTo>
                      <a:lnTo>
                        <a:pt x="86" y="177"/>
                      </a:lnTo>
                      <a:lnTo>
                        <a:pt x="86" y="179"/>
                      </a:lnTo>
                      <a:lnTo>
                        <a:pt x="84" y="181"/>
                      </a:lnTo>
                      <a:lnTo>
                        <a:pt x="82" y="181"/>
                      </a:lnTo>
                      <a:lnTo>
                        <a:pt x="80" y="182"/>
                      </a:lnTo>
                      <a:lnTo>
                        <a:pt x="80" y="184"/>
                      </a:lnTo>
                      <a:lnTo>
                        <a:pt x="79" y="186"/>
                      </a:lnTo>
                      <a:lnTo>
                        <a:pt x="77" y="186"/>
                      </a:lnTo>
                      <a:lnTo>
                        <a:pt x="79" y="187"/>
                      </a:lnTo>
                      <a:lnTo>
                        <a:pt x="79" y="189"/>
                      </a:lnTo>
                      <a:lnTo>
                        <a:pt x="75" y="191"/>
                      </a:lnTo>
                      <a:lnTo>
                        <a:pt x="72" y="191"/>
                      </a:lnTo>
                      <a:lnTo>
                        <a:pt x="72" y="194"/>
                      </a:lnTo>
                      <a:lnTo>
                        <a:pt x="74" y="194"/>
                      </a:lnTo>
                      <a:lnTo>
                        <a:pt x="77" y="194"/>
                      </a:lnTo>
                      <a:lnTo>
                        <a:pt x="75" y="196"/>
                      </a:lnTo>
                      <a:lnTo>
                        <a:pt x="77" y="199"/>
                      </a:lnTo>
                      <a:lnTo>
                        <a:pt x="79" y="199"/>
                      </a:lnTo>
                      <a:lnTo>
                        <a:pt x="82" y="198"/>
                      </a:lnTo>
                      <a:lnTo>
                        <a:pt x="84" y="198"/>
                      </a:lnTo>
                      <a:lnTo>
                        <a:pt x="87" y="196"/>
                      </a:lnTo>
                      <a:lnTo>
                        <a:pt x="91" y="194"/>
                      </a:lnTo>
                      <a:lnTo>
                        <a:pt x="94" y="192"/>
                      </a:lnTo>
                      <a:lnTo>
                        <a:pt x="96" y="192"/>
                      </a:lnTo>
                      <a:lnTo>
                        <a:pt x="97" y="191"/>
                      </a:lnTo>
                      <a:lnTo>
                        <a:pt x="99" y="191"/>
                      </a:lnTo>
                      <a:lnTo>
                        <a:pt x="97" y="192"/>
                      </a:lnTo>
                      <a:lnTo>
                        <a:pt x="96" y="194"/>
                      </a:lnTo>
                      <a:lnTo>
                        <a:pt x="94" y="194"/>
                      </a:lnTo>
                      <a:lnTo>
                        <a:pt x="92" y="194"/>
                      </a:lnTo>
                      <a:lnTo>
                        <a:pt x="89" y="196"/>
                      </a:lnTo>
                      <a:lnTo>
                        <a:pt x="87" y="198"/>
                      </a:lnTo>
                      <a:lnTo>
                        <a:pt x="89" y="199"/>
                      </a:lnTo>
                      <a:lnTo>
                        <a:pt x="87" y="199"/>
                      </a:lnTo>
                      <a:lnTo>
                        <a:pt x="86" y="201"/>
                      </a:lnTo>
                      <a:lnTo>
                        <a:pt x="82" y="201"/>
                      </a:lnTo>
                      <a:lnTo>
                        <a:pt x="80" y="201"/>
                      </a:lnTo>
                      <a:lnTo>
                        <a:pt x="79" y="201"/>
                      </a:lnTo>
                      <a:lnTo>
                        <a:pt x="80" y="203"/>
                      </a:lnTo>
                      <a:lnTo>
                        <a:pt x="79" y="203"/>
                      </a:lnTo>
                      <a:lnTo>
                        <a:pt x="75" y="203"/>
                      </a:lnTo>
                      <a:lnTo>
                        <a:pt x="75" y="201"/>
                      </a:lnTo>
                      <a:lnTo>
                        <a:pt x="75" y="199"/>
                      </a:lnTo>
                      <a:lnTo>
                        <a:pt x="74" y="198"/>
                      </a:lnTo>
                      <a:lnTo>
                        <a:pt x="72" y="198"/>
                      </a:lnTo>
                      <a:lnTo>
                        <a:pt x="70" y="198"/>
                      </a:lnTo>
                      <a:lnTo>
                        <a:pt x="69" y="198"/>
                      </a:lnTo>
                      <a:lnTo>
                        <a:pt x="67" y="199"/>
                      </a:lnTo>
                      <a:lnTo>
                        <a:pt x="65" y="199"/>
                      </a:lnTo>
                      <a:lnTo>
                        <a:pt x="65" y="201"/>
                      </a:lnTo>
                      <a:lnTo>
                        <a:pt x="67" y="203"/>
                      </a:lnTo>
                      <a:lnTo>
                        <a:pt x="69" y="203"/>
                      </a:lnTo>
                      <a:lnTo>
                        <a:pt x="65" y="204"/>
                      </a:lnTo>
                      <a:lnTo>
                        <a:pt x="64" y="203"/>
                      </a:lnTo>
                      <a:lnTo>
                        <a:pt x="64" y="201"/>
                      </a:lnTo>
                      <a:lnTo>
                        <a:pt x="60" y="201"/>
                      </a:lnTo>
                      <a:lnTo>
                        <a:pt x="59" y="201"/>
                      </a:lnTo>
                      <a:lnTo>
                        <a:pt x="57" y="203"/>
                      </a:lnTo>
                      <a:lnTo>
                        <a:pt x="55" y="203"/>
                      </a:lnTo>
                      <a:lnTo>
                        <a:pt x="54" y="203"/>
                      </a:lnTo>
                      <a:lnTo>
                        <a:pt x="54" y="204"/>
                      </a:lnTo>
                      <a:lnTo>
                        <a:pt x="54" y="206"/>
                      </a:lnTo>
                      <a:lnTo>
                        <a:pt x="52" y="206"/>
                      </a:lnTo>
                      <a:lnTo>
                        <a:pt x="52" y="208"/>
                      </a:lnTo>
                      <a:lnTo>
                        <a:pt x="50" y="208"/>
                      </a:lnTo>
                      <a:lnTo>
                        <a:pt x="48" y="208"/>
                      </a:lnTo>
                      <a:lnTo>
                        <a:pt x="48" y="206"/>
                      </a:lnTo>
                      <a:lnTo>
                        <a:pt x="47" y="206"/>
                      </a:lnTo>
                      <a:lnTo>
                        <a:pt x="47" y="208"/>
                      </a:lnTo>
                      <a:lnTo>
                        <a:pt x="47" y="209"/>
                      </a:lnTo>
                      <a:lnTo>
                        <a:pt x="45" y="209"/>
                      </a:lnTo>
                      <a:lnTo>
                        <a:pt x="43" y="209"/>
                      </a:lnTo>
                      <a:lnTo>
                        <a:pt x="42" y="209"/>
                      </a:lnTo>
                      <a:lnTo>
                        <a:pt x="40" y="209"/>
                      </a:lnTo>
                      <a:lnTo>
                        <a:pt x="38" y="211"/>
                      </a:lnTo>
                      <a:lnTo>
                        <a:pt x="38" y="213"/>
                      </a:lnTo>
                      <a:lnTo>
                        <a:pt x="37" y="214"/>
                      </a:lnTo>
                      <a:lnTo>
                        <a:pt x="35" y="214"/>
                      </a:lnTo>
                      <a:lnTo>
                        <a:pt x="33" y="214"/>
                      </a:lnTo>
                      <a:lnTo>
                        <a:pt x="30" y="216"/>
                      </a:lnTo>
                      <a:lnTo>
                        <a:pt x="32" y="218"/>
                      </a:lnTo>
                      <a:lnTo>
                        <a:pt x="30" y="219"/>
                      </a:lnTo>
                      <a:lnTo>
                        <a:pt x="33" y="219"/>
                      </a:lnTo>
                      <a:lnTo>
                        <a:pt x="37" y="219"/>
                      </a:lnTo>
                      <a:lnTo>
                        <a:pt x="38" y="221"/>
                      </a:lnTo>
                      <a:lnTo>
                        <a:pt x="40" y="221"/>
                      </a:lnTo>
                      <a:lnTo>
                        <a:pt x="38" y="221"/>
                      </a:lnTo>
                      <a:lnTo>
                        <a:pt x="37" y="223"/>
                      </a:lnTo>
                      <a:lnTo>
                        <a:pt x="38" y="225"/>
                      </a:lnTo>
                      <a:lnTo>
                        <a:pt x="37" y="223"/>
                      </a:lnTo>
                      <a:lnTo>
                        <a:pt x="33" y="223"/>
                      </a:lnTo>
                      <a:lnTo>
                        <a:pt x="32" y="223"/>
                      </a:lnTo>
                      <a:lnTo>
                        <a:pt x="30" y="223"/>
                      </a:lnTo>
                      <a:lnTo>
                        <a:pt x="27" y="223"/>
                      </a:lnTo>
                      <a:lnTo>
                        <a:pt x="25" y="223"/>
                      </a:lnTo>
                      <a:lnTo>
                        <a:pt x="23" y="223"/>
                      </a:lnTo>
                      <a:lnTo>
                        <a:pt x="21" y="223"/>
                      </a:lnTo>
                      <a:lnTo>
                        <a:pt x="20" y="225"/>
                      </a:lnTo>
                      <a:lnTo>
                        <a:pt x="21" y="225"/>
                      </a:lnTo>
                      <a:lnTo>
                        <a:pt x="21" y="226"/>
                      </a:lnTo>
                      <a:lnTo>
                        <a:pt x="20" y="226"/>
                      </a:lnTo>
                      <a:lnTo>
                        <a:pt x="23" y="226"/>
                      </a:lnTo>
                      <a:lnTo>
                        <a:pt x="25" y="226"/>
                      </a:lnTo>
                      <a:lnTo>
                        <a:pt x="23" y="228"/>
                      </a:lnTo>
                      <a:lnTo>
                        <a:pt x="21" y="228"/>
                      </a:lnTo>
                      <a:lnTo>
                        <a:pt x="21" y="230"/>
                      </a:lnTo>
                      <a:lnTo>
                        <a:pt x="23" y="231"/>
                      </a:lnTo>
                      <a:lnTo>
                        <a:pt x="23" y="233"/>
                      </a:lnTo>
                      <a:lnTo>
                        <a:pt x="21" y="230"/>
                      </a:lnTo>
                      <a:lnTo>
                        <a:pt x="20" y="230"/>
                      </a:lnTo>
                      <a:lnTo>
                        <a:pt x="16" y="230"/>
                      </a:lnTo>
                      <a:lnTo>
                        <a:pt x="16" y="231"/>
                      </a:lnTo>
                      <a:lnTo>
                        <a:pt x="15" y="233"/>
                      </a:lnTo>
                      <a:lnTo>
                        <a:pt x="15" y="235"/>
                      </a:lnTo>
                      <a:lnTo>
                        <a:pt x="16" y="235"/>
                      </a:lnTo>
                      <a:lnTo>
                        <a:pt x="16" y="236"/>
                      </a:lnTo>
                      <a:lnTo>
                        <a:pt x="15" y="236"/>
                      </a:lnTo>
                      <a:lnTo>
                        <a:pt x="15" y="235"/>
                      </a:lnTo>
                      <a:lnTo>
                        <a:pt x="13" y="233"/>
                      </a:lnTo>
                      <a:lnTo>
                        <a:pt x="11" y="235"/>
                      </a:lnTo>
                      <a:lnTo>
                        <a:pt x="10" y="235"/>
                      </a:lnTo>
                      <a:lnTo>
                        <a:pt x="6" y="235"/>
                      </a:lnTo>
                      <a:lnTo>
                        <a:pt x="6" y="236"/>
                      </a:lnTo>
                      <a:lnTo>
                        <a:pt x="5" y="235"/>
                      </a:lnTo>
                      <a:lnTo>
                        <a:pt x="3" y="233"/>
                      </a:lnTo>
                      <a:lnTo>
                        <a:pt x="1" y="235"/>
                      </a:lnTo>
                      <a:lnTo>
                        <a:pt x="3" y="236"/>
                      </a:lnTo>
                      <a:lnTo>
                        <a:pt x="3" y="238"/>
                      </a:lnTo>
                      <a:lnTo>
                        <a:pt x="1" y="238"/>
                      </a:lnTo>
                      <a:lnTo>
                        <a:pt x="3" y="240"/>
                      </a:lnTo>
                      <a:lnTo>
                        <a:pt x="5" y="240"/>
                      </a:lnTo>
                      <a:lnTo>
                        <a:pt x="6" y="240"/>
                      </a:lnTo>
                      <a:lnTo>
                        <a:pt x="8" y="240"/>
                      </a:lnTo>
                      <a:lnTo>
                        <a:pt x="10" y="240"/>
                      </a:lnTo>
                      <a:lnTo>
                        <a:pt x="13" y="240"/>
                      </a:lnTo>
                      <a:lnTo>
                        <a:pt x="15" y="238"/>
                      </a:lnTo>
                      <a:lnTo>
                        <a:pt x="16" y="238"/>
                      </a:lnTo>
                      <a:lnTo>
                        <a:pt x="18" y="238"/>
                      </a:lnTo>
                      <a:lnTo>
                        <a:pt x="16" y="238"/>
                      </a:lnTo>
                      <a:lnTo>
                        <a:pt x="13" y="240"/>
                      </a:lnTo>
                      <a:lnTo>
                        <a:pt x="15" y="240"/>
                      </a:lnTo>
                      <a:lnTo>
                        <a:pt x="18" y="240"/>
                      </a:lnTo>
                      <a:lnTo>
                        <a:pt x="20" y="240"/>
                      </a:lnTo>
                      <a:lnTo>
                        <a:pt x="18" y="241"/>
                      </a:lnTo>
                      <a:lnTo>
                        <a:pt x="13" y="241"/>
                      </a:lnTo>
                      <a:lnTo>
                        <a:pt x="11" y="241"/>
                      </a:lnTo>
                      <a:lnTo>
                        <a:pt x="10" y="241"/>
                      </a:lnTo>
                      <a:lnTo>
                        <a:pt x="8" y="241"/>
                      </a:lnTo>
                      <a:lnTo>
                        <a:pt x="6" y="241"/>
                      </a:lnTo>
                      <a:lnTo>
                        <a:pt x="3" y="243"/>
                      </a:lnTo>
                      <a:lnTo>
                        <a:pt x="0" y="243"/>
                      </a:lnTo>
                      <a:lnTo>
                        <a:pt x="0" y="245"/>
                      </a:lnTo>
                      <a:lnTo>
                        <a:pt x="0" y="246"/>
                      </a:lnTo>
                      <a:lnTo>
                        <a:pt x="1" y="246"/>
                      </a:lnTo>
                      <a:lnTo>
                        <a:pt x="3" y="246"/>
                      </a:lnTo>
                      <a:lnTo>
                        <a:pt x="3" y="248"/>
                      </a:lnTo>
                      <a:lnTo>
                        <a:pt x="3" y="250"/>
                      </a:lnTo>
                      <a:lnTo>
                        <a:pt x="1" y="250"/>
                      </a:lnTo>
                      <a:lnTo>
                        <a:pt x="0" y="251"/>
                      </a:lnTo>
                      <a:lnTo>
                        <a:pt x="1" y="253"/>
                      </a:lnTo>
                      <a:lnTo>
                        <a:pt x="0" y="255"/>
                      </a:lnTo>
                      <a:lnTo>
                        <a:pt x="0" y="257"/>
                      </a:lnTo>
                      <a:lnTo>
                        <a:pt x="1" y="257"/>
                      </a:lnTo>
                      <a:lnTo>
                        <a:pt x="1" y="258"/>
                      </a:lnTo>
                      <a:lnTo>
                        <a:pt x="3" y="258"/>
                      </a:lnTo>
                      <a:lnTo>
                        <a:pt x="5" y="258"/>
                      </a:lnTo>
                      <a:lnTo>
                        <a:pt x="8" y="258"/>
                      </a:lnTo>
                      <a:lnTo>
                        <a:pt x="11" y="257"/>
                      </a:lnTo>
                      <a:lnTo>
                        <a:pt x="15" y="257"/>
                      </a:lnTo>
                      <a:lnTo>
                        <a:pt x="16" y="257"/>
                      </a:lnTo>
                      <a:lnTo>
                        <a:pt x="20" y="257"/>
                      </a:lnTo>
                      <a:lnTo>
                        <a:pt x="20" y="255"/>
                      </a:lnTo>
                      <a:lnTo>
                        <a:pt x="23" y="251"/>
                      </a:lnTo>
                      <a:lnTo>
                        <a:pt x="23" y="253"/>
                      </a:lnTo>
                      <a:lnTo>
                        <a:pt x="21" y="257"/>
                      </a:lnTo>
                      <a:lnTo>
                        <a:pt x="23" y="257"/>
                      </a:lnTo>
                      <a:lnTo>
                        <a:pt x="27" y="257"/>
                      </a:lnTo>
                      <a:lnTo>
                        <a:pt x="28" y="257"/>
                      </a:lnTo>
                      <a:lnTo>
                        <a:pt x="30" y="257"/>
                      </a:lnTo>
                      <a:lnTo>
                        <a:pt x="33" y="255"/>
                      </a:lnTo>
                      <a:lnTo>
                        <a:pt x="33" y="253"/>
                      </a:lnTo>
                      <a:lnTo>
                        <a:pt x="35" y="250"/>
                      </a:lnTo>
                      <a:lnTo>
                        <a:pt x="38" y="248"/>
                      </a:lnTo>
                      <a:lnTo>
                        <a:pt x="38" y="250"/>
                      </a:lnTo>
                      <a:lnTo>
                        <a:pt x="37" y="253"/>
                      </a:lnTo>
                      <a:lnTo>
                        <a:pt x="35" y="255"/>
                      </a:lnTo>
                      <a:lnTo>
                        <a:pt x="35" y="257"/>
                      </a:lnTo>
                      <a:lnTo>
                        <a:pt x="37" y="255"/>
                      </a:lnTo>
                      <a:lnTo>
                        <a:pt x="38" y="255"/>
                      </a:lnTo>
                      <a:lnTo>
                        <a:pt x="40" y="255"/>
                      </a:lnTo>
                      <a:lnTo>
                        <a:pt x="37" y="258"/>
                      </a:lnTo>
                      <a:lnTo>
                        <a:pt x="32" y="258"/>
                      </a:lnTo>
                      <a:lnTo>
                        <a:pt x="30" y="262"/>
                      </a:lnTo>
                      <a:lnTo>
                        <a:pt x="33" y="263"/>
                      </a:lnTo>
                      <a:lnTo>
                        <a:pt x="32" y="263"/>
                      </a:lnTo>
                      <a:lnTo>
                        <a:pt x="28" y="265"/>
                      </a:lnTo>
                      <a:lnTo>
                        <a:pt x="28" y="262"/>
                      </a:lnTo>
                      <a:lnTo>
                        <a:pt x="28" y="260"/>
                      </a:lnTo>
                      <a:lnTo>
                        <a:pt x="25" y="258"/>
                      </a:lnTo>
                      <a:lnTo>
                        <a:pt x="21" y="258"/>
                      </a:lnTo>
                      <a:lnTo>
                        <a:pt x="18" y="260"/>
                      </a:lnTo>
                      <a:lnTo>
                        <a:pt x="15" y="260"/>
                      </a:lnTo>
                      <a:lnTo>
                        <a:pt x="13" y="260"/>
                      </a:lnTo>
                      <a:lnTo>
                        <a:pt x="10" y="260"/>
                      </a:lnTo>
                      <a:lnTo>
                        <a:pt x="8" y="262"/>
                      </a:lnTo>
                      <a:lnTo>
                        <a:pt x="5" y="260"/>
                      </a:lnTo>
                      <a:lnTo>
                        <a:pt x="1" y="260"/>
                      </a:lnTo>
                      <a:lnTo>
                        <a:pt x="1" y="262"/>
                      </a:lnTo>
                      <a:lnTo>
                        <a:pt x="0" y="263"/>
                      </a:lnTo>
                      <a:lnTo>
                        <a:pt x="0" y="265"/>
                      </a:lnTo>
                      <a:lnTo>
                        <a:pt x="3" y="265"/>
                      </a:lnTo>
                      <a:lnTo>
                        <a:pt x="5" y="267"/>
                      </a:lnTo>
                      <a:lnTo>
                        <a:pt x="5" y="268"/>
                      </a:lnTo>
                      <a:lnTo>
                        <a:pt x="1" y="267"/>
                      </a:lnTo>
                      <a:lnTo>
                        <a:pt x="0" y="265"/>
                      </a:lnTo>
                      <a:lnTo>
                        <a:pt x="0" y="267"/>
                      </a:lnTo>
                      <a:lnTo>
                        <a:pt x="1" y="272"/>
                      </a:lnTo>
                      <a:lnTo>
                        <a:pt x="3" y="272"/>
                      </a:lnTo>
                      <a:lnTo>
                        <a:pt x="8" y="270"/>
                      </a:lnTo>
                      <a:lnTo>
                        <a:pt x="10" y="268"/>
                      </a:lnTo>
                      <a:lnTo>
                        <a:pt x="6" y="272"/>
                      </a:lnTo>
                      <a:lnTo>
                        <a:pt x="5" y="273"/>
                      </a:lnTo>
                      <a:lnTo>
                        <a:pt x="6" y="273"/>
                      </a:lnTo>
                      <a:lnTo>
                        <a:pt x="5" y="275"/>
                      </a:lnTo>
                      <a:lnTo>
                        <a:pt x="3" y="275"/>
                      </a:lnTo>
                      <a:lnTo>
                        <a:pt x="1" y="277"/>
                      </a:lnTo>
                      <a:lnTo>
                        <a:pt x="1" y="278"/>
                      </a:lnTo>
                      <a:lnTo>
                        <a:pt x="3" y="280"/>
                      </a:lnTo>
                      <a:lnTo>
                        <a:pt x="5" y="280"/>
                      </a:lnTo>
                      <a:lnTo>
                        <a:pt x="6" y="280"/>
                      </a:lnTo>
                      <a:lnTo>
                        <a:pt x="8" y="278"/>
                      </a:lnTo>
                      <a:lnTo>
                        <a:pt x="8" y="280"/>
                      </a:lnTo>
                      <a:lnTo>
                        <a:pt x="10" y="282"/>
                      </a:lnTo>
                      <a:lnTo>
                        <a:pt x="10" y="284"/>
                      </a:lnTo>
                      <a:lnTo>
                        <a:pt x="8" y="284"/>
                      </a:lnTo>
                      <a:lnTo>
                        <a:pt x="5" y="285"/>
                      </a:lnTo>
                      <a:lnTo>
                        <a:pt x="6" y="287"/>
                      </a:lnTo>
                      <a:lnTo>
                        <a:pt x="10" y="285"/>
                      </a:lnTo>
                      <a:lnTo>
                        <a:pt x="11" y="284"/>
                      </a:lnTo>
                      <a:lnTo>
                        <a:pt x="11" y="280"/>
                      </a:lnTo>
                      <a:lnTo>
                        <a:pt x="15" y="278"/>
                      </a:lnTo>
                      <a:lnTo>
                        <a:pt x="16" y="277"/>
                      </a:lnTo>
                      <a:lnTo>
                        <a:pt x="20" y="272"/>
                      </a:lnTo>
                      <a:lnTo>
                        <a:pt x="23" y="270"/>
                      </a:lnTo>
                      <a:lnTo>
                        <a:pt x="23" y="272"/>
                      </a:lnTo>
                      <a:lnTo>
                        <a:pt x="27" y="272"/>
                      </a:lnTo>
                      <a:lnTo>
                        <a:pt x="30" y="272"/>
                      </a:lnTo>
                      <a:lnTo>
                        <a:pt x="25" y="273"/>
                      </a:lnTo>
                      <a:lnTo>
                        <a:pt x="25" y="275"/>
                      </a:lnTo>
                      <a:lnTo>
                        <a:pt x="25" y="277"/>
                      </a:lnTo>
                      <a:lnTo>
                        <a:pt x="23" y="275"/>
                      </a:lnTo>
                      <a:lnTo>
                        <a:pt x="20" y="277"/>
                      </a:lnTo>
                      <a:lnTo>
                        <a:pt x="16" y="280"/>
                      </a:lnTo>
                      <a:lnTo>
                        <a:pt x="18" y="280"/>
                      </a:lnTo>
                      <a:lnTo>
                        <a:pt x="18" y="282"/>
                      </a:lnTo>
                      <a:lnTo>
                        <a:pt x="16" y="284"/>
                      </a:lnTo>
                      <a:lnTo>
                        <a:pt x="13" y="285"/>
                      </a:lnTo>
                      <a:lnTo>
                        <a:pt x="11" y="287"/>
                      </a:lnTo>
                      <a:lnTo>
                        <a:pt x="10" y="289"/>
                      </a:lnTo>
                      <a:lnTo>
                        <a:pt x="11" y="289"/>
                      </a:lnTo>
                      <a:lnTo>
                        <a:pt x="16" y="289"/>
                      </a:lnTo>
                      <a:lnTo>
                        <a:pt x="18" y="289"/>
                      </a:lnTo>
                      <a:lnTo>
                        <a:pt x="20" y="289"/>
                      </a:lnTo>
                      <a:lnTo>
                        <a:pt x="16" y="290"/>
                      </a:lnTo>
                      <a:lnTo>
                        <a:pt x="15" y="290"/>
                      </a:lnTo>
                      <a:lnTo>
                        <a:pt x="13" y="292"/>
                      </a:lnTo>
                      <a:lnTo>
                        <a:pt x="11" y="294"/>
                      </a:lnTo>
                      <a:lnTo>
                        <a:pt x="10" y="292"/>
                      </a:lnTo>
                      <a:lnTo>
                        <a:pt x="8" y="294"/>
                      </a:lnTo>
                      <a:lnTo>
                        <a:pt x="6" y="292"/>
                      </a:lnTo>
                      <a:lnTo>
                        <a:pt x="3" y="295"/>
                      </a:lnTo>
                      <a:lnTo>
                        <a:pt x="3" y="297"/>
                      </a:lnTo>
                      <a:lnTo>
                        <a:pt x="3" y="299"/>
                      </a:lnTo>
                      <a:lnTo>
                        <a:pt x="3" y="300"/>
                      </a:lnTo>
                      <a:lnTo>
                        <a:pt x="5" y="300"/>
                      </a:lnTo>
                      <a:lnTo>
                        <a:pt x="6" y="300"/>
                      </a:lnTo>
                      <a:lnTo>
                        <a:pt x="8" y="299"/>
                      </a:lnTo>
                      <a:lnTo>
                        <a:pt x="8" y="300"/>
                      </a:lnTo>
                      <a:lnTo>
                        <a:pt x="10" y="300"/>
                      </a:lnTo>
                      <a:lnTo>
                        <a:pt x="11" y="299"/>
                      </a:lnTo>
                      <a:lnTo>
                        <a:pt x="10" y="297"/>
                      </a:lnTo>
                      <a:lnTo>
                        <a:pt x="13" y="299"/>
                      </a:lnTo>
                      <a:lnTo>
                        <a:pt x="16" y="297"/>
                      </a:lnTo>
                      <a:lnTo>
                        <a:pt x="18" y="295"/>
                      </a:lnTo>
                      <a:lnTo>
                        <a:pt x="20" y="297"/>
                      </a:lnTo>
                      <a:lnTo>
                        <a:pt x="16" y="299"/>
                      </a:lnTo>
                      <a:lnTo>
                        <a:pt x="15" y="300"/>
                      </a:lnTo>
                      <a:lnTo>
                        <a:pt x="16" y="300"/>
                      </a:lnTo>
                      <a:lnTo>
                        <a:pt x="16" y="302"/>
                      </a:lnTo>
                      <a:lnTo>
                        <a:pt x="15" y="304"/>
                      </a:lnTo>
                      <a:lnTo>
                        <a:pt x="15" y="305"/>
                      </a:lnTo>
                      <a:lnTo>
                        <a:pt x="13" y="307"/>
                      </a:lnTo>
                      <a:lnTo>
                        <a:pt x="13" y="309"/>
                      </a:lnTo>
                      <a:lnTo>
                        <a:pt x="11" y="309"/>
                      </a:lnTo>
                      <a:lnTo>
                        <a:pt x="10" y="309"/>
                      </a:lnTo>
                      <a:lnTo>
                        <a:pt x="10" y="307"/>
                      </a:lnTo>
                      <a:lnTo>
                        <a:pt x="8" y="307"/>
                      </a:lnTo>
                      <a:lnTo>
                        <a:pt x="8" y="310"/>
                      </a:lnTo>
                      <a:lnTo>
                        <a:pt x="6" y="316"/>
                      </a:lnTo>
                      <a:lnTo>
                        <a:pt x="10" y="319"/>
                      </a:lnTo>
                      <a:lnTo>
                        <a:pt x="16" y="322"/>
                      </a:lnTo>
                      <a:lnTo>
                        <a:pt x="20" y="324"/>
                      </a:lnTo>
                      <a:lnTo>
                        <a:pt x="23" y="326"/>
                      </a:lnTo>
                      <a:lnTo>
                        <a:pt x="25" y="322"/>
                      </a:lnTo>
                      <a:lnTo>
                        <a:pt x="25" y="326"/>
                      </a:lnTo>
                      <a:lnTo>
                        <a:pt x="25" y="329"/>
                      </a:lnTo>
                      <a:lnTo>
                        <a:pt x="27" y="327"/>
                      </a:lnTo>
                      <a:lnTo>
                        <a:pt x="28" y="329"/>
                      </a:lnTo>
                      <a:lnTo>
                        <a:pt x="30" y="327"/>
                      </a:lnTo>
                      <a:lnTo>
                        <a:pt x="35" y="327"/>
                      </a:lnTo>
                      <a:lnTo>
                        <a:pt x="32" y="329"/>
                      </a:lnTo>
                      <a:lnTo>
                        <a:pt x="37" y="331"/>
                      </a:lnTo>
                      <a:lnTo>
                        <a:pt x="40" y="329"/>
                      </a:lnTo>
                      <a:lnTo>
                        <a:pt x="43" y="327"/>
                      </a:lnTo>
                      <a:lnTo>
                        <a:pt x="45" y="324"/>
                      </a:lnTo>
                      <a:lnTo>
                        <a:pt x="47" y="327"/>
                      </a:lnTo>
                      <a:lnTo>
                        <a:pt x="54" y="324"/>
                      </a:lnTo>
                      <a:lnTo>
                        <a:pt x="57" y="321"/>
                      </a:lnTo>
                      <a:lnTo>
                        <a:pt x="59" y="317"/>
                      </a:lnTo>
                      <a:lnTo>
                        <a:pt x="62" y="317"/>
                      </a:lnTo>
                      <a:lnTo>
                        <a:pt x="64" y="314"/>
                      </a:lnTo>
                      <a:lnTo>
                        <a:pt x="65" y="312"/>
                      </a:lnTo>
                      <a:lnTo>
                        <a:pt x="67" y="310"/>
                      </a:lnTo>
                      <a:lnTo>
                        <a:pt x="70" y="307"/>
                      </a:lnTo>
                      <a:lnTo>
                        <a:pt x="69" y="305"/>
                      </a:lnTo>
                      <a:lnTo>
                        <a:pt x="74" y="307"/>
                      </a:lnTo>
                      <a:lnTo>
                        <a:pt x="77" y="307"/>
                      </a:lnTo>
                      <a:lnTo>
                        <a:pt x="79" y="307"/>
                      </a:lnTo>
                      <a:lnTo>
                        <a:pt x="80" y="305"/>
                      </a:lnTo>
                      <a:lnTo>
                        <a:pt x="80" y="304"/>
                      </a:lnTo>
                      <a:lnTo>
                        <a:pt x="80" y="302"/>
                      </a:lnTo>
                      <a:lnTo>
                        <a:pt x="82" y="302"/>
                      </a:lnTo>
                      <a:lnTo>
                        <a:pt x="82" y="300"/>
                      </a:lnTo>
                      <a:lnTo>
                        <a:pt x="82" y="299"/>
                      </a:lnTo>
                      <a:lnTo>
                        <a:pt x="80" y="297"/>
                      </a:lnTo>
                      <a:lnTo>
                        <a:pt x="79" y="295"/>
                      </a:lnTo>
                      <a:lnTo>
                        <a:pt x="80" y="295"/>
                      </a:lnTo>
                      <a:lnTo>
                        <a:pt x="80" y="294"/>
                      </a:lnTo>
                      <a:lnTo>
                        <a:pt x="80" y="292"/>
                      </a:lnTo>
                      <a:lnTo>
                        <a:pt x="82" y="294"/>
                      </a:lnTo>
                      <a:lnTo>
                        <a:pt x="82" y="295"/>
                      </a:lnTo>
                      <a:lnTo>
                        <a:pt x="84" y="295"/>
                      </a:lnTo>
                      <a:lnTo>
                        <a:pt x="84" y="294"/>
                      </a:lnTo>
                      <a:lnTo>
                        <a:pt x="84" y="292"/>
                      </a:lnTo>
                      <a:lnTo>
                        <a:pt x="82" y="290"/>
                      </a:lnTo>
                      <a:lnTo>
                        <a:pt x="82" y="289"/>
                      </a:lnTo>
                      <a:lnTo>
                        <a:pt x="84" y="289"/>
                      </a:lnTo>
                      <a:lnTo>
                        <a:pt x="84" y="287"/>
                      </a:lnTo>
                      <a:lnTo>
                        <a:pt x="86" y="287"/>
                      </a:lnTo>
                      <a:lnTo>
                        <a:pt x="87" y="289"/>
                      </a:lnTo>
                      <a:lnTo>
                        <a:pt x="87" y="290"/>
                      </a:lnTo>
                      <a:lnTo>
                        <a:pt x="86" y="290"/>
                      </a:lnTo>
                      <a:lnTo>
                        <a:pt x="86" y="292"/>
                      </a:lnTo>
                      <a:lnTo>
                        <a:pt x="86" y="294"/>
                      </a:lnTo>
                      <a:lnTo>
                        <a:pt x="86" y="299"/>
                      </a:lnTo>
                      <a:lnTo>
                        <a:pt x="86" y="300"/>
                      </a:lnTo>
                      <a:lnTo>
                        <a:pt x="87" y="302"/>
                      </a:lnTo>
                      <a:lnTo>
                        <a:pt x="89" y="302"/>
                      </a:lnTo>
                      <a:lnTo>
                        <a:pt x="91" y="302"/>
                      </a:lnTo>
                      <a:lnTo>
                        <a:pt x="92" y="304"/>
                      </a:lnTo>
                      <a:lnTo>
                        <a:pt x="94" y="304"/>
                      </a:lnTo>
                      <a:lnTo>
                        <a:pt x="96" y="305"/>
                      </a:lnTo>
                      <a:lnTo>
                        <a:pt x="96" y="307"/>
                      </a:lnTo>
                      <a:close/>
                    </a:path>
                  </a:pathLst>
                </a:custGeom>
                <a:solidFill>
                  <a:srgbClr val="EB1562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92" name="Group 1791">
                <a:extLst>
                  <a:ext uri="{FF2B5EF4-FFF2-40B4-BE49-F238E27FC236}">
                    <a16:creationId xmlns:a16="http://schemas.microsoft.com/office/drawing/2014/main" id="{E4FD9E14-C68E-EE4B-8122-C82F1AC80E5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83" y="60"/>
                <a:ext cx="37" cy="21"/>
                <a:chOff x="383" y="60"/>
                <a:chExt cx="37" cy="21"/>
              </a:xfrm>
            </p:grpSpPr>
            <p:sp>
              <p:nvSpPr>
                <p:cNvPr id="1853" name="Freeform 227">
                  <a:extLst>
                    <a:ext uri="{FF2B5EF4-FFF2-40B4-BE49-F238E27FC236}">
                      <a16:creationId xmlns:a16="http://schemas.microsoft.com/office/drawing/2014/main" id="{133B71E8-163E-A248-A914-F55D0D2230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3" y="60"/>
                  <a:ext cx="37" cy="21"/>
                </a:xfrm>
                <a:custGeom>
                  <a:avLst/>
                  <a:gdLst>
                    <a:gd name="T0" fmla="*/ 22 w 37"/>
                    <a:gd name="T1" fmla="*/ 2 h 21"/>
                    <a:gd name="T2" fmla="*/ 20 w 37"/>
                    <a:gd name="T3" fmla="*/ 2 h 21"/>
                    <a:gd name="T4" fmla="*/ 20 w 37"/>
                    <a:gd name="T5" fmla="*/ 4 h 21"/>
                    <a:gd name="T6" fmla="*/ 20 w 37"/>
                    <a:gd name="T7" fmla="*/ 5 h 21"/>
                    <a:gd name="T8" fmla="*/ 20 w 37"/>
                    <a:gd name="T9" fmla="*/ 7 h 21"/>
                    <a:gd name="T10" fmla="*/ 18 w 37"/>
                    <a:gd name="T11" fmla="*/ 7 h 21"/>
                    <a:gd name="T12" fmla="*/ 18 w 37"/>
                    <a:gd name="T13" fmla="*/ 9 h 21"/>
                    <a:gd name="T14" fmla="*/ 18 w 37"/>
                    <a:gd name="T15" fmla="*/ 10 h 21"/>
                    <a:gd name="T16" fmla="*/ 17 w 37"/>
                    <a:gd name="T17" fmla="*/ 10 h 21"/>
                    <a:gd name="T18" fmla="*/ 15 w 37"/>
                    <a:gd name="T19" fmla="*/ 12 h 21"/>
                    <a:gd name="T20" fmla="*/ 13 w 37"/>
                    <a:gd name="T21" fmla="*/ 14 h 21"/>
                    <a:gd name="T22" fmla="*/ 12 w 37"/>
                    <a:gd name="T23" fmla="*/ 14 h 21"/>
                    <a:gd name="T24" fmla="*/ 10 w 37"/>
                    <a:gd name="T25" fmla="*/ 14 h 21"/>
                    <a:gd name="T26" fmla="*/ 8 w 37"/>
                    <a:gd name="T27" fmla="*/ 15 h 21"/>
                    <a:gd name="T28" fmla="*/ 5 w 37"/>
                    <a:gd name="T29" fmla="*/ 15 h 21"/>
                    <a:gd name="T30" fmla="*/ 3 w 37"/>
                    <a:gd name="T31" fmla="*/ 15 h 21"/>
                    <a:gd name="T32" fmla="*/ 2 w 37"/>
                    <a:gd name="T33" fmla="*/ 17 h 21"/>
                    <a:gd name="T34" fmla="*/ 2 w 37"/>
                    <a:gd name="T35" fmla="*/ 19 h 21"/>
                    <a:gd name="T36" fmla="*/ 0 w 37"/>
                    <a:gd name="T37" fmla="*/ 21 h 21"/>
                    <a:gd name="T38" fmla="*/ 2 w 37"/>
                    <a:gd name="T39" fmla="*/ 21 h 21"/>
                    <a:gd name="T40" fmla="*/ 3 w 37"/>
                    <a:gd name="T41" fmla="*/ 21 h 21"/>
                    <a:gd name="T42" fmla="*/ 7 w 37"/>
                    <a:gd name="T43" fmla="*/ 21 h 21"/>
                    <a:gd name="T44" fmla="*/ 8 w 37"/>
                    <a:gd name="T45" fmla="*/ 19 h 21"/>
                    <a:gd name="T46" fmla="*/ 10 w 37"/>
                    <a:gd name="T47" fmla="*/ 19 h 21"/>
                    <a:gd name="T48" fmla="*/ 10 w 37"/>
                    <a:gd name="T49" fmla="*/ 21 h 21"/>
                    <a:gd name="T50" fmla="*/ 12 w 37"/>
                    <a:gd name="T51" fmla="*/ 19 h 21"/>
                    <a:gd name="T52" fmla="*/ 15 w 37"/>
                    <a:gd name="T53" fmla="*/ 17 h 21"/>
                    <a:gd name="T54" fmla="*/ 18 w 37"/>
                    <a:gd name="T55" fmla="*/ 15 h 21"/>
                    <a:gd name="T56" fmla="*/ 20 w 37"/>
                    <a:gd name="T57" fmla="*/ 14 h 21"/>
                    <a:gd name="T58" fmla="*/ 20 w 37"/>
                    <a:gd name="T59" fmla="*/ 15 h 21"/>
                    <a:gd name="T60" fmla="*/ 22 w 37"/>
                    <a:gd name="T61" fmla="*/ 17 h 21"/>
                    <a:gd name="T62" fmla="*/ 23 w 37"/>
                    <a:gd name="T63" fmla="*/ 17 h 21"/>
                    <a:gd name="T64" fmla="*/ 23 w 37"/>
                    <a:gd name="T65" fmla="*/ 15 h 21"/>
                    <a:gd name="T66" fmla="*/ 23 w 37"/>
                    <a:gd name="T67" fmla="*/ 14 h 21"/>
                    <a:gd name="T68" fmla="*/ 25 w 37"/>
                    <a:gd name="T69" fmla="*/ 14 h 21"/>
                    <a:gd name="T70" fmla="*/ 27 w 37"/>
                    <a:gd name="T71" fmla="*/ 12 h 21"/>
                    <a:gd name="T72" fmla="*/ 27 w 37"/>
                    <a:gd name="T73" fmla="*/ 14 h 21"/>
                    <a:gd name="T74" fmla="*/ 29 w 37"/>
                    <a:gd name="T75" fmla="*/ 12 h 21"/>
                    <a:gd name="T76" fmla="*/ 30 w 37"/>
                    <a:gd name="T77" fmla="*/ 10 h 21"/>
                    <a:gd name="T78" fmla="*/ 34 w 37"/>
                    <a:gd name="T79" fmla="*/ 10 h 21"/>
                    <a:gd name="T80" fmla="*/ 35 w 37"/>
                    <a:gd name="T81" fmla="*/ 9 h 21"/>
                    <a:gd name="T82" fmla="*/ 37 w 37"/>
                    <a:gd name="T83" fmla="*/ 7 h 21"/>
                    <a:gd name="T84" fmla="*/ 35 w 37"/>
                    <a:gd name="T85" fmla="*/ 5 h 21"/>
                    <a:gd name="T86" fmla="*/ 34 w 37"/>
                    <a:gd name="T87" fmla="*/ 4 h 21"/>
                    <a:gd name="T88" fmla="*/ 30 w 37"/>
                    <a:gd name="T89" fmla="*/ 2 h 21"/>
                    <a:gd name="T90" fmla="*/ 30 w 37"/>
                    <a:gd name="T91" fmla="*/ 4 h 21"/>
                    <a:gd name="T92" fmla="*/ 30 w 37"/>
                    <a:gd name="T93" fmla="*/ 5 h 21"/>
                    <a:gd name="T94" fmla="*/ 29 w 37"/>
                    <a:gd name="T95" fmla="*/ 5 h 21"/>
                    <a:gd name="T96" fmla="*/ 27 w 37"/>
                    <a:gd name="T97" fmla="*/ 9 h 21"/>
                    <a:gd name="T98" fmla="*/ 25 w 37"/>
                    <a:gd name="T99" fmla="*/ 9 h 21"/>
                    <a:gd name="T100" fmla="*/ 23 w 37"/>
                    <a:gd name="T101" fmla="*/ 10 h 21"/>
                    <a:gd name="T102" fmla="*/ 25 w 37"/>
                    <a:gd name="T103" fmla="*/ 9 h 21"/>
                    <a:gd name="T104" fmla="*/ 27 w 37"/>
                    <a:gd name="T105" fmla="*/ 5 h 21"/>
                    <a:gd name="T106" fmla="*/ 25 w 37"/>
                    <a:gd name="T107" fmla="*/ 5 h 21"/>
                    <a:gd name="T108" fmla="*/ 25 w 37"/>
                    <a:gd name="T109" fmla="*/ 4 h 21"/>
                    <a:gd name="T110" fmla="*/ 25 w 37"/>
                    <a:gd name="T111" fmla="*/ 2 h 21"/>
                    <a:gd name="T112" fmla="*/ 23 w 37"/>
                    <a:gd name="T113" fmla="*/ 0 h 21"/>
                    <a:gd name="T114" fmla="*/ 22 w 37"/>
                    <a:gd name="T115" fmla="*/ 0 h 21"/>
                    <a:gd name="T116" fmla="*/ 22 w 37"/>
                    <a:gd name="T117" fmla="*/ 2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37" h="21">
                      <a:moveTo>
                        <a:pt x="22" y="2"/>
                      </a:moveTo>
                      <a:lnTo>
                        <a:pt x="20" y="2"/>
                      </a:lnTo>
                      <a:lnTo>
                        <a:pt x="20" y="4"/>
                      </a:lnTo>
                      <a:lnTo>
                        <a:pt x="20" y="5"/>
                      </a:lnTo>
                      <a:lnTo>
                        <a:pt x="20" y="7"/>
                      </a:lnTo>
                      <a:lnTo>
                        <a:pt x="18" y="7"/>
                      </a:lnTo>
                      <a:lnTo>
                        <a:pt x="18" y="9"/>
                      </a:lnTo>
                      <a:lnTo>
                        <a:pt x="18" y="10"/>
                      </a:lnTo>
                      <a:lnTo>
                        <a:pt x="17" y="10"/>
                      </a:lnTo>
                      <a:lnTo>
                        <a:pt x="15" y="12"/>
                      </a:lnTo>
                      <a:lnTo>
                        <a:pt x="13" y="14"/>
                      </a:lnTo>
                      <a:lnTo>
                        <a:pt x="12" y="14"/>
                      </a:lnTo>
                      <a:lnTo>
                        <a:pt x="10" y="14"/>
                      </a:lnTo>
                      <a:lnTo>
                        <a:pt x="8" y="15"/>
                      </a:lnTo>
                      <a:lnTo>
                        <a:pt x="5" y="15"/>
                      </a:lnTo>
                      <a:lnTo>
                        <a:pt x="3" y="15"/>
                      </a:lnTo>
                      <a:lnTo>
                        <a:pt x="2" y="17"/>
                      </a:lnTo>
                      <a:lnTo>
                        <a:pt x="2" y="19"/>
                      </a:lnTo>
                      <a:lnTo>
                        <a:pt x="0" y="21"/>
                      </a:lnTo>
                      <a:lnTo>
                        <a:pt x="2" y="21"/>
                      </a:lnTo>
                      <a:lnTo>
                        <a:pt x="3" y="21"/>
                      </a:lnTo>
                      <a:lnTo>
                        <a:pt x="7" y="21"/>
                      </a:lnTo>
                      <a:lnTo>
                        <a:pt x="8" y="19"/>
                      </a:lnTo>
                      <a:lnTo>
                        <a:pt x="10" y="19"/>
                      </a:lnTo>
                      <a:lnTo>
                        <a:pt x="10" y="21"/>
                      </a:lnTo>
                      <a:lnTo>
                        <a:pt x="12" y="19"/>
                      </a:lnTo>
                      <a:lnTo>
                        <a:pt x="15" y="17"/>
                      </a:lnTo>
                      <a:lnTo>
                        <a:pt x="18" y="15"/>
                      </a:lnTo>
                      <a:lnTo>
                        <a:pt x="20" y="14"/>
                      </a:lnTo>
                      <a:lnTo>
                        <a:pt x="20" y="15"/>
                      </a:lnTo>
                      <a:lnTo>
                        <a:pt x="22" y="17"/>
                      </a:lnTo>
                      <a:lnTo>
                        <a:pt x="23" y="17"/>
                      </a:lnTo>
                      <a:lnTo>
                        <a:pt x="23" y="15"/>
                      </a:lnTo>
                      <a:lnTo>
                        <a:pt x="23" y="14"/>
                      </a:lnTo>
                      <a:lnTo>
                        <a:pt x="25" y="14"/>
                      </a:lnTo>
                      <a:lnTo>
                        <a:pt x="27" y="12"/>
                      </a:lnTo>
                      <a:lnTo>
                        <a:pt x="27" y="14"/>
                      </a:lnTo>
                      <a:lnTo>
                        <a:pt x="29" y="12"/>
                      </a:lnTo>
                      <a:lnTo>
                        <a:pt x="30" y="10"/>
                      </a:lnTo>
                      <a:lnTo>
                        <a:pt x="34" y="10"/>
                      </a:lnTo>
                      <a:lnTo>
                        <a:pt x="35" y="9"/>
                      </a:lnTo>
                      <a:lnTo>
                        <a:pt x="37" y="7"/>
                      </a:lnTo>
                      <a:lnTo>
                        <a:pt x="35" y="5"/>
                      </a:lnTo>
                      <a:lnTo>
                        <a:pt x="34" y="4"/>
                      </a:lnTo>
                      <a:lnTo>
                        <a:pt x="30" y="2"/>
                      </a:lnTo>
                      <a:lnTo>
                        <a:pt x="30" y="4"/>
                      </a:lnTo>
                      <a:lnTo>
                        <a:pt x="30" y="5"/>
                      </a:lnTo>
                      <a:lnTo>
                        <a:pt x="29" y="5"/>
                      </a:lnTo>
                      <a:lnTo>
                        <a:pt x="27" y="9"/>
                      </a:lnTo>
                      <a:lnTo>
                        <a:pt x="25" y="9"/>
                      </a:lnTo>
                      <a:lnTo>
                        <a:pt x="23" y="10"/>
                      </a:lnTo>
                      <a:lnTo>
                        <a:pt x="25" y="9"/>
                      </a:lnTo>
                      <a:lnTo>
                        <a:pt x="27" y="5"/>
                      </a:lnTo>
                      <a:lnTo>
                        <a:pt x="25" y="5"/>
                      </a:lnTo>
                      <a:lnTo>
                        <a:pt x="25" y="4"/>
                      </a:lnTo>
                      <a:lnTo>
                        <a:pt x="25" y="2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2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54" name="Freeform 228">
                  <a:extLst>
                    <a:ext uri="{FF2B5EF4-FFF2-40B4-BE49-F238E27FC236}">
                      <a16:creationId xmlns:a16="http://schemas.microsoft.com/office/drawing/2014/main" id="{C3D5E4E5-309D-5C4E-9AF7-BF9FADC8A9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3" y="60"/>
                  <a:ext cx="37" cy="21"/>
                </a:xfrm>
                <a:custGeom>
                  <a:avLst/>
                  <a:gdLst>
                    <a:gd name="T0" fmla="*/ 22 w 37"/>
                    <a:gd name="T1" fmla="*/ 2 h 21"/>
                    <a:gd name="T2" fmla="*/ 20 w 37"/>
                    <a:gd name="T3" fmla="*/ 2 h 21"/>
                    <a:gd name="T4" fmla="*/ 20 w 37"/>
                    <a:gd name="T5" fmla="*/ 4 h 21"/>
                    <a:gd name="T6" fmla="*/ 20 w 37"/>
                    <a:gd name="T7" fmla="*/ 5 h 21"/>
                    <a:gd name="T8" fmla="*/ 20 w 37"/>
                    <a:gd name="T9" fmla="*/ 7 h 21"/>
                    <a:gd name="T10" fmla="*/ 18 w 37"/>
                    <a:gd name="T11" fmla="*/ 7 h 21"/>
                    <a:gd name="T12" fmla="*/ 18 w 37"/>
                    <a:gd name="T13" fmla="*/ 9 h 21"/>
                    <a:gd name="T14" fmla="*/ 18 w 37"/>
                    <a:gd name="T15" fmla="*/ 10 h 21"/>
                    <a:gd name="T16" fmla="*/ 17 w 37"/>
                    <a:gd name="T17" fmla="*/ 10 h 21"/>
                    <a:gd name="T18" fmla="*/ 15 w 37"/>
                    <a:gd name="T19" fmla="*/ 12 h 21"/>
                    <a:gd name="T20" fmla="*/ 13 w 37"/>
                    <a:gd name="T21" fmla="*/ 14 h 21"/>
                    <a:gd name="T22" fmla="*/ 12 w 37"/>
                    <a:gd name="T23" fmla="*/ 14 h 21"/>
                    <a:gd name="T24" fmla="*/ 10 w 37"/>
                    <a:gd name="T25" fmla="*/ 14 h 21"/>
                    <a:gd name="T26" fmla="*/ 8 w 37"/>
                    <a:gd name="T27" fmla="*/ 15 h 21"/>
                    <a:gd name="T28" fmla="*/ 5 w 37"/>
                    <a:gd name="T29" fmla="*/ 15 h 21"/>
                    <a:gd name="T30" fmla="*/ 3 w 37"/>
                    <a:gd name="T31" fmla="*/ 15 h 21"/>
                    <a:gd name="T32" fmla="*/ 2 w 37"/>
                    <a:gd name="T33" fmla="*/ 17 h 21"/>
                    <a:gd name="T34" fmla="*/ 2 w 37"/>
                    <a:gd name="T35" fmla="*/ 19 h 21"/>
                    <a:gd name="T36" fmla="*/ 0 w 37"/>
                    <a:gd name="T37" fmla="*/ 21 h 21"/>
                    <a:gd name="T38" fmla="*/ 2 w 37"/>
                    <a:gd name="T39" fmla="*/ 21 h 21"/>
                    <a:gd name="T40" fmla="*/ 3 w 37"/>
                    <a:gd name="T41" fmla="*/ 21 h 21"/>
                    <a:gd name="T42" fmla="*/ 7 w 37"/>
                    <a:gd name="T43" fmla="*/ 21 h 21"/>
                    <a:gd name="T44" fmla="*/ 8 w 37"/>
                    <a:gd name="T45" fmla="*/ 19 h 21"/>
                    <a:gd name="T46" fmla="*/ 10 w 37"/>
                    <a:gd name="T47" fmla="*/ 19 h 21"/>
                    <a:gd name="T48" fmla="*/ 10 w 37"/>
                    <a:gd name="T49" fmla="*/ 21 h 21"/>
                    <a:gd name="T50" fmla="*/ 12 w 37"/>
                    <a:gd name="T51" fmla="*/ 19 h 21"/>
                    <a:gd name="T52" fmla="*/ 15 w 37"/>
                    <a:gd name="T53" fmla="*/ 17 h 21"/>
                    <a:gd name="T54" fmla="*/ 18 w 37"/>
                    <a:gd name="T55" fmla="*/ 15 h 21"/>
                    <a:gd name="T56" fmla="*/ 20 w 37"/>
                    <a:gd name="T57" fmla="*/ 14 h 21"/>
                    <a:gd name="T58" fmla="*/ 20 w 37"/>
                    <a:gd name="T59" fmla="*/ 15 h 21"/>
                    <a:gd name="T60" fmla="*/ 22 w 37"/>
                    <a:gd name="T61" fmla="*/ 17 h 21"/>
                    <a:gd name="T62" fmla="*/ 23 w 37"/>
                    <a:gd name="T63" fmla="*/ 17 h 21"/>
                    <a:gd name="T64" fmla="*/ 23 w 37"/>
                    <a:gd name="T65" fmla="*/ 15 h 21"/>
                    <a:gd name="T66" fmla="*/ 23 w 37"/>
                    <a:gd name="T67" fmla="*/ 14 h 21"/>
                    <a:gd name="T68" fmla="*/ 25 w 37"/>
                    <a:gd name="T69" fmla="*/ 14 h 21"/>
                    <a:gd name="T70" fmla="*/ 27 w 37"/>
                    <a:gd name="T71" fmla="*/ 12 h 21"/>
                    <a:gd name="T72" fmla="*/ 27 w 37"/>
                    <a:gd name="T73" fmla="*/ 14 h 21"/>
                    <a:gd name="T74" fmla="*/ 29 w 37"/>
                    <a:gd name="T75" fmla="*/ 12 h 21"/>
                    <a:gd name="T76" fmla="*/ 30 w 37"/>
                    <a:gd name="T77" fmla="*/ 10 h 21"/>
                    <a:gd name="T78" fmla="*/ 34 w 37"/>
                    <a:gd name="T79" fmla="*/ 10 h 21"/>
                    <a:gd name="T80" fmla="*/ 35 w 37"/>
                    <a:gd name="T81" fmla="*/ 9 h 21"/>
                    <a:gd name="T82" fmla="*/ 37 w 37"/>
                    <a:gd name="T83" fmla="*/ 7 h 21"/>
                    <a:gd name="T84" fmla="*/ 35 w 37"/>
                    <a:gd name="T85" fmla="*/ 5 h 21"/>
                    <a:gd name="T86" fmla="*/ 34 w 37"/>
                    <a:gd name="T87" fmla="*/ 4 h 21"/>
                    <a:gd name="T88" fmla="*/ 30 w 37"/>
                    <a:gd name="T89" fmla="*/ 2 h 21"/>
                    <a:gd name="T90" fmla="*/ 30 w 37"/>
                    <a:gd name="T91" fmla="*/ 4 h 21"/>
                    <a:gd name="T92" fmla="*/ 30 w 37"/>
                    <a:gd name="T93" fmla="*/ 5 h 21"/>
                    <a:gd name="T94" fmla="*/ 29 w 37"/>
                    <a:gd name="T95" fmla="*/ 5 h 21"/>
                    <a:gd name="T96" fmla="*/ 27 w 37"/>
                    <a:gd name="T97" fmla="*/ 9 h 21"/>
                    <a:gd name="T98" fmla="*/ 25 w 37"/>
                    <a:gd name="T99" fmla="*/ 9 h 21"/>
                    <a:gd name="T100" fmla="*/ 23 w 37"/>
                    <a:gd name="T101" fmla="*/ 10 h 21"/>
                    <a:gd name="T102" fmla="*/ 25 w 37"/>
                    <a:gd name="T103" fmla="*/ 9 h 21"/>
                    <a:gd name="T104" fmla="*/ 27 w 37"/>
                    <a:gd name="T105" fmla="*/ 5 h 21"/>
                    <a:gd name="T106" fmla="*/ 25 w 37"/>
                    <a:gd name="T107" fmla="*/ 5 h 21"/>
                    <a:gd name="T108" fmla="*/ 25 w 37"/>
                    <a:gd name="T109" fmla="*/ 4 h 21"/>
                    <a:gd name="T110" fmla="*/ 25 w 37"/>
                    <a:gd name="T111" fmla="*/ 2 h 21"/>
                    <a:gd name="T112" fmla="*/ 23 w 37"/>
                    <a:gd name="T113" fmla="*/ 0 h 21"/>
                    <a:gd name="T114" fmla="*/ 22 w 37"/>
                    <a:gd name="T115" fmla="*/ 0 h 21"/>
                    <a:gd name="T116" fmla="*/ 22 w 37"/>
                    <a:gd name="T117" fmla="*/ 2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37" h="21">
                      <a:moveTo>
                        <a:pt x="22" y="2"/>
                      </a:moveTo>
                      <a:lnTo>
                        <a:pt x="20" y="2"/>
                      </a:lnTo>
                      <a:lnTo>
                        <a:pt x="20" y="4"/>
                      </a:lnTo>
                      <a:lnTo>
                        <a:pt x="20" y="5"/>
                      </a:lnTo>
                      <a:lnTo>
                        <a:pt x="20" y="7"/>
                      </a:lnTo>
                      <a:lnTo>
                        <a:pt x="18" y="7"/>
                      </a:lnTo>
                      <a:lnTo>
                        <a:pt x="18" y="9"/>
                      </a:lnTo>
                      <a:lnTo>
                        <a:pt x="18" y="10"/>
                      </a:lnTo>
                      <a:lnTo>
                        <a:pt x="17" y="10"/>
                      </a:lnTo>
                      <a:lnTo>
                        <a:pt x="15" y="12"/>
                      </a:lnTo>
                      <a:lnTo>
                        <a:pt x="13" y="14"/>
                      </a:lnTo>
                      <a:lnTo>
                        <a:pt x="12" y="14"/>
                      </a:lnTo>
                      <a:lnTo>
                        <a:pt x="10" y="14"/>
                      </a:lnTo>
                      <a:lnTo>
                        <a:pt x="8" y="15"/>
                      </a:lnTo>
                      <a:lnTo>
                        <a:pt x="5" y="15"/>
                      </a:lnTo>
                      <a:lnTo>
                        <a:pt x="3" y="15"/>
                      </a:lnTo>
                      <a:lnTo>
                        <a:pt x="2" y="17"/>
                      </a:lnTo>
                      <a:lnTo>
                        <a:pt x="2" y="19"/>
                      </a:lnTo>
                      <a:lnTo>
                        <a:pt x="0" y="21"/>
                      </a:lnTo>
                      <a:lnTo>
                        <a:pt x="2" y="21"/>
                      </a:lnTo>
                      <a:lnTo>
                        <a:pt x="3" y="21"/>
                      </a:lnTo>
                      <a:lnTo>
                        <a:pt x="7" y="21"/>
                      </a:lnTo>
                      <a:lnTo>
                        <a:pt x="8" y="19"/>
                      </a:lnTo>
                      <a:lnTo>
                        <a:pt x="10" y="19"/>
                      </a:lnTo>
                      <a:lnTo>
                        <a:pt x="10" y="21"/>
                      </a:lnTo>
                      <a:lnTo>
                        <a:pt x="12" y="19"/>
                      </a:lnTo>
                      <a:lnTo>
                        <a:pt x="15" y="17"/>
                      </a:lnTo>
                      <a:lnTo>
                        <a:pt x="18" y="15"/>
                      </a:lnTo>
                      <a:lnTo>
                        <a:pt x="20" y="14"/>
                      </a:lnTo>
                      <a:lnTo>
                        <a:pt x="20" y="15"/>
                      </a:lnTo>
                      <a:lnTo>
                        <a:pt x="22" y="17"/>
                      </a:lnTo>
                      <a:lnTo>
                        <a:pt x="23" y="17"/>
                      </a:lnTo>
                      <a:lnTo>
                        <a:pt x="23" y="15"/>
                      </a:lnTo>
                      <a:lnTo>
                        <a:pt x="23" y="14"/>
                      </a:lnTo>
                      <a:lnTo>
                        <a:pt x="25" y="14"/>
                      </a:lnTo>
                      <a:lnTo>
                        <a:pt x="27" y="12"/>
                      </a:lnTo>
                      <a:lnTo>
                        <a:pt x="27" y="14"/>
                      </a:lnTo>
                      <a:lnTo>
                        <a:pt x="29" y="12"/>
                      </a:lnTo>
                      <a:lnTo>
                        <a:pt x="30" y="10"/>
                      </a:lnTo>
                      <a:lnTo>
                        <a:pt x="34" y="10"/>
                      </a:lnTo>
                      <a:lnTo>
                        <a:pt x="35" y="9"/>
                      </a:lnTo>
                      <a:lnTo>
                        <a:pt x="37" y="7"/>
                      </a:lnTo>
                      <a:lnTo>
                        <a:pt x="35" y="5"/>
                      </a:lnTo>
                      <a:lnTo>
                        <a:pt x="34" y="4"/>
                      </a:lnTo>
                      <a:lnTo>
                        <a:pt x="30" y="2"/>
                      </a:lnTo>
                      <a:lnTo>
                        <a:pt x="30" y="4"/>
                      </a:lnTo>
                      <a:lnTo>
                        <a:pt x="30" y="5"/>
                      </a:lnTo>
                      <a:lnTo>
                        <a:pt x="29" y="5"/>
                      </a:lnTo>
                      <a:lnTo>
                        <a:pt x="27" y="9"/>
                      </a:lnTo>
                      <a:lnTo>
                        <a:pt x="25" y="9"/>
                      </a:lnTo>
                      <a:lnTo>
                        <a:pt x="23" y="10"/>
                      </a:lnTo>
                      <a:lnTo>
                        <a:pt x="25" y="9"/>
                      </a:lnTo>
                      <a:lnTo>
                        <a:pt x="27" y="5"/>
                      </a:lnTo>
                      <a:lnTo>
                        <a:pt x="25" y="5"/>
                      </a:lnTo>
                      <a:lnTo>
                        <a:pt x="25" y="4"/>
                      </a:lnTo>
                      <a:lnTo>
                        <a:pt x="25" y="2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2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93" name="Group 1792">
                <a:extLst>
                  <a:ext uri="{FF2B5EF4-FFF2-40B4-BE49-F238E27FC236}">
                    <a16:creationId xmlns:a16="http://schemas.microsoft.com/office/drawing/2014/main" id="{205AD371-BE41-E34C-8EC5-C9A2D2986FC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86" y="60"/>
                <a:ext cx="14" cy="10"/>
                <a:chOff x="386" y="60"/>
                <a:chExt cx="14" cy="10"/>
              </a:xfrm>
            </p:grpSpPr>
            <p:sp>
              <p:nvSpPr>
                <p:cNvPr id="1851" name="Freeform 225">
                  <a:extLst>
                    <a:ext uri="{FF2B5EF4-FFF2-40B4-BE49-F238E27FC236}">
                      <a16:creationId xmlns:a16="http://schemas.microsoft.com/office/drawing/2014/main" id="{D9A3990E-3AB3-B546-9B35-7E41AE782E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" y="60"/>
                  <a:ext cx="14" cy="10"/>
                </a:xfrm>
                <a:custGeom>
                  <a:avLst/>
                  <a:gdLst>
                    <a:gd name="T0" fmla="*/ 0 w 14"/>
                    <a:gd name="T1" fmla="*/ 9 h 10"/>
                    <a:gd name="T2" fmla="*/ 0 w 14"/>
                    <a:gd name="T3" fmla="*/ 10 h 10"/>
                    <a:gd name="T4" fmla="*/ 4 w 14"/>
                    <a:gd name="T5" fmla="*/ 9 h 10"/>
                    <a:gd name="T6" fmla="*/ 5 w 14"/>
                    <a:gd name="T7" fmla="*/ 9 h 10"/>
                    <a:gd name="T8" fmla="*/ 7 w 14"/>
                    <a:gd name="T9" fmla="*/ 7 h 10"/>
                    <a:gd name="T10" fmla="*/ 9 w 14"/>
                    <a:gd name="T11" fmla="*/ 9 h 10"/>
                    <a:gd name="T12" fmla="*/ 10 w 14"/>
                    <a:gd name="T13" fmla="*/ 7 h 10"/>
                    <a:gd name="T14" fmla="*/ 9 w 14"/>
                    <a:gd name="T15" fmla="*/ 7 h 10"/>
                    <a:gd name="T16" fmla="*/ 7 w 14"/>
                    <a:gd name="T17" fmla="*/ 9 h 10"/>
                    <a:gd name="T18" fmla="*/ 7 w 14"/>
                    <a:gd name="T19" fmla="*/ 10 h 10"/>
                    <a:gd name="T20" fmla="*/ 10 w 14"/>
                    <a:gd name="T21" fmla="*/ 10 h 10"/>
                    <a:gd name="T22" fmla="*/ 12 w 14"/>
                    <a:gd name="T23" fmla="*/ 9 h 10"/>
                    <a:gd name="T24" fmla="*/ 14 w 14"/>
                    <a:gd name="T25" fmla="*/ 9 h 10"/>
                    <a:gd name="T26" fmla="*/ 14 w 14"/>
                    <a:gd name="T27" fmla="*/ 7 h 10"/>
                    <a:gd name="T28" fmla="*/ 14 w 14"/>
                    <a:gd name="T29" fmla="*/ 5 h 10"/>
                    <a:gd name="T30" fmla="*/ 14 w 14"/>
                    <a:gd name="T31" fmla="*/ 4 h 10"/>
                    <a:gd name="T32" fmla="*/ 12 w 14"/>
                    <a:gd name="T33" fmla="*/ 2 h 10"/>
                    <a:gd name="T34" fmla="*/ 10 w 14"/>
                    <a:gd name="T35" fmla="*/ 0 h 10"/>
                    <a:gd name="T36" fmla="*/ 10 w 14"/>
                    <a:gd name="T37" fmla="*/ 2 h 10"/>
                    <a:gd name="T38" fmla="*/ 10 w 14"/>
                    <a:gd name="T39" fmla="*/ 4 h 10"/>
                    <a:gd name="T40" fmla="*/ 7 w 14"/>
                    <a:gd name="T41" fmla="*/ 4 h 10"/>
                    <a:gd name="T42" fmla="*/ 7 w 14"/>
                    <a:gd name="T43" fmla="*/ 2 h 10"/>
                    <a:gd name="T44" fmla="*/ 5 w 14"/>
                    <a:gd name="T45" fmla="*/ 4 h 10"/>
                    <a:gd name="T46" fmla="*/ 5 w 14"/>
                    <a:gd name="T47" fmla="*/ 5 h 10"/>
                    <a:gd name="T48" fmla="*/ 4 w 14"/>
                    <a:gd name="T49" fmla="*/ 5 h 10"/>
                    <a:gd name="T50" fmla="*/ 2 w 14"/>
                    <a:gd name="T51" fmla="*/ 5 h 10"/>
                    <a:gd name="T52" fmla="*/ 0 w 14"/>
                    <a:gd name="T53" fmla="*/ 7 h 10"/>
                    <a:gd name="T54" fmla="*/ 2 w 14"/>
                    <a:gd name="T55" fmla="*/ 7 h 10"/>
                    <a:gd name="T56" fmla="*/ 0 w 14"/>
                    <a:gd name="T57" fmla="*/ 7 h 10"/>
                    <a:gd name="T58" fmla="*/ 0 w 14"/>
                    <a:gd name="T59" fmla="*/ 9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4" h="10">
                      <a:moveTo>
                        <a:pt x="0" y="9"/>
                      </a:moveTo>
                      <a:lnTo>
                        <a:pt x="0" y="10"/>
                      </a:lnTo>
                      <a:lnTo>
                        <a:pt x="4" y="9"/>
                      </a:lnTo>
                      <a:lnTo>
                        <a:pt x="5" y="9"/>
                      </a:lnTo>
                      <a:lnTo>
                        <a:pt x="7" y="7"/>
                      </a:lnTo>
                      <a:lnTo>
                        <a:pt x="9" y="9"/>
                      </a:lnTo>
                      <a:lnTo>
                        <a:pt x="10" y="7"/>
                      </a:lnTo>
                      <a:lnTo>
                        <a:pt x="9" y="7"/>
                      </a:lnTo>
                      <a:lnTo>
                        <a:pt x="7" y="9"/>
                      </a:lnTo>
                      <a:lnTo>
                        <a:pt x="7" y="10"/>
                      </a:lnTo>
                      <a:lnTo>
                        <a:pt x="10" y="10"/>
                      </a:lnTo>
                      <a:lnTo>
                        <a:pt x="12" y="9"/>
                      </a:lnTo>
                      <a:lnTo>
                        <a:pt x="14" y="9"/>
                      </a:lnTo>
                      <a:lnTo>
                        <a:pt x="14" y="7"/>
                      </a:lnTo>
                      <a:lnTo>
                        <a:pt x="14" y="5"/>
                      </a:lnTo>
                      <a:lnTo>
                        <a:pt x="14" y="4"/>
                      </a:lnTo>
                      <a:lnTo>
                        <a:pt x="12" y="2"/>
                      </a:lnTo>
                      <a:lnTo>
                        <a:pt x="10" y="0"/>
                      </a:lnTo>
                      <a:lnTo>
                        <a:pt x="10" y="2"/>
                      </a:lnTo>
                      <a:lnTo>
                        <a:pt x="10" y="4"/>
                      </a:lnTo>
                      <a:lnTo>
                        <a:pt x="7" y="4"/>
                      </a:lnTo>
                      <a:lnTo>
                        <a:pt x="7" y="2"/>
                      </a:lnTo>
                      <a:lnTo>
                        <a:pt x="5" y="4"/>
                      </a:lnTo>
                      <a:lnTo>
                        <a:pt x="5" y="5"/>
                      </a:lnTo>
                      <a:lnTo>
                        <a:pt x="4" y="5"/>
                      </a:lnTo>
                      <a:lnTo>
                        <a:pt x="2" y="5"/>
                      </a:lnTo>
                      <a:lnTo>
                        <a:pt x="0" y="7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52" name="Freeform 226">
                  <a:extLst>
                    <a:ext uri="{FF2B5EF4-FFF2-40B4-BE49-F238E27FC236}">
                      <a16:creationId xmlns:a16="http://schemas.microsoft.com/office/drawing/2014/main" id="{2636AC23-B8C5-5849-9500-97E1FCD2C9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" y="60"/>
                  <a:ext cx="14" cy="10"/>
                </a:xfrm>
                <a:custGeom>
                  <a:avLst/>
                  <a:gdLst>
                    <a:gd name="T0" fmla="*/ 0 w 14"/>
                    <a:gd name="T1" fmla="*/ 9 h 10"/>
                    <a:gd name="T2" fmla="*/ 0 w 14"/>
                    <a:gd name="T3" fmla="*/ 10 h 10"/>
                    <a:gd name="T4" fmla="*/ 4 w 14"/>
                    <a:gd name="T5" fmla="*/ 9 h 10"/>
                    <a:gd name="T6" fmla="*/ 5 w 14"/>
                    <a:gd name="T7" fmla="*/ 9 h 10"/>
                    <a:gd name="T8" fmla="*/ 7 w 14"/>
                    <a:gd name="T9" fmla="*/ 7 h 10"/>
                    <a:gd name="T10" fmla="*/ 9 w 14"/>
                    <a:gd name="T11" fmla="*/ 9 h 10"/>
                    <a:gd name="T12" fmla="*/ 10 w 14"/>
                    <a:gd name="T13" fmla="*/ 7 h 10"/>
                    <a:gd name="T14" fmla="*/ 9 w 14"/>
                    <a:gd name="T15" fmla="*/ 7 h 10"/>
                    <a:gd name="T16" fmla="*/ 7 w 14"/>
                    <a:gd name="T17" fmla="*/ 9 h 10"/>
                    <a:gd name="T18" fmla="*/ 7 w 14"/>
                    <a:gd name="T19" fmla="*/ 10 h 10"/>
                    <a:gd name="T20" fmla="*/ 10 w 14"/>
                    <a:gd name="T21" fmla="*/ 10 h 10"/>
                    <a:gd name="T22" fmla="*/ 12 w 14"/>
                    <a:gd name="T23" fmla="*/ 9 h 10"/>
                    <a:gd name="T24" fmla="*/ 14 w 14"/>
                    <a:gd name="T25" fmla="*/ 9 h 10"/>
                    <a:gd name="T26" fmla="*/ 14 w 14"/>
                    <a:gd name="T27" fmla="*/ 7 h 10"/>
                    <a:gd name="T28" fmla="*/ 14 w 14"/>
                    <a:gd name="T29" fmla="*/ 5 h 10"/>
                    <a:gd name="T30" fmla="*/ 14 w 14"/>
                    <a:gd name="T31" fmla="*/ 4 h 10"/>
                    <a:gd name="T32" fmla="*/ 12 w 14"/>
                    <a:gd name="T33" fmla="*/ 2 h 10"/>
                    <a:gd name="T34" fmla="*/ 10 w 14"/>
                    <a:gd name="T35" fmla="*/ 0 h 10"/>
                    <a:gd name="T36" fmla="*/ 10 w 14"/>
                    <a:gd name="T37" fmla="*/ 2 h 10"/>
                    <a:gd name="T38" fmla="*/ 10 w 14"/>
                    <a:gd name="T39" fmla="*/ 4 h 10"/>
                    <a:gd name="T40" fmla="*/ 7 w 14"/>
                    <a:gd name="T41" fmla="*/ 4 h 10"/>
                    <a:gd name="T42" fmla="*/ 7 w 14"/>
                    <a:gd name="T43" fmla="*/ 2 h 10"/>
                    <a:gd name="T44" fmla="*/ 5 w 14"/>
                    <a:gd name="T45" fmla="*/ 4 h 10"/>
                    <a:gd name="T46" fmla="*/ 5 w 14"/>
                    <a:gd name="T47" fmla="*/ 5 h 10"/>
                    <a:gd name="T48" fmla="*/ 4 w 14"/>
                    <a:gd name="T49" fmla="*/ 5 h 10"/>
                    <a:gd name="T50" fmla="*/ 2 w 14"/>
                    <a:gd name="T51" fmla="*/ 5 h 10"/>
                    <a:gd name="T52" fmla="*/ 0 w 14"/>
                    <a:gd name="T53" fmla="*/ 7 h 10"/>
                    <a:gd name="T54" fmla="*/ 2 w 14"/>
                    <a:gd name="T55" fmla="*/ 7 h 10"/>
                    <a:gd name="T56" fmla="*/ 0 w 14"/>
                    <a:gd name="T57" fmla="*/ 7 h 10"/>
                    <a:gd name="T58" fmla="*/ 0 w 14"/>
                    <a:gd name="T59" fmla="*/ 9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4" h="10">
                      <a:moveTo>
                        <a:pt x="0" y="9"/>
                      </a:moveTo>
                      <a:lnTo>
                        <a:pt x="0" y="10"/>
                      </a:lnTo>
                      <a:lnTo>
                        <a:pt x="4" y="9"/>
                      </a:lnTo>
                      <a:lnTo>
                        <a:pt x="5" y="9"/>
                      </a:lnTo>
                      <a:lnTo>
                        <a:pt x="7" y="7"/>
                      </a:lnTo>
                      <a:lnTo>
                        <a:pt x="9" y="9"/>
                      </a:lnTo>
                      <a:lnTo>
                        <a:pt x="10" y="7"/>
                      </a:lnTo>
                      <a:lnTo>
                        <a:pt x="9" y="7"/>
                      </a:lnTo>
                      <a:lnTo>
                        <a:pt x="7" y="9"/>
                      </a:lnTo>
                      <a:lnTo>
                        <a:pt x="7" y="10"/>
                      </a:lnTo>
                      <a:lnTo>
                        <a:pt x="10" y="10"/>
                      </a:lnTo>
                      <a:lnTo>
                        <a:pt x="12" y="9"/>
                      </a:lnTo>
                      <a:lnTo>
                        <a:pt x="14" y="9"/>
                      </a:lnTo>
                      <a:lnTo>
                        <a:pt x="14" y="7"/>
                      </a:lnTo>
                      <a:lnTo>
                        <a:pt x="14" y="5"/>
                      </a:lnTo>
                      <a:lnTo>
                        <a:pt x="14" y="4"/>
                      </a:lnTo>
                      <a:lnTo>
                        <a:pt x="12" y="2"/>
                      </a:lnTo>
                      <a:lnTo>
                        <a:pt x="10" y="0"/>
                      </a:lnTo>
                      <a:lnTo>
                        <a:pt x="10" y="2"/>
                      </a:lnTo>
                      <a:lnTo>
                        <a:pt x="10" y="4"/>
                      </a:lnTo>
                      <a:lnTo>
                        <a:pt x="7" y="4"/>
                      </a:lnTo>
                      <a:lnTo>
                        <a:pt x="7" y="2"/>
                      </a:lnTo>
                      <a:lnTo>
                        <a:pt x="5" y="4"/>
                      </a:lnTo>
                      <a:lnTo>
                        <a:pt x="5" y="5"/>
                      </a:lnTo>
                      <a:lnTo>
                        <a:pt x="4" y="5"/>
                      </a:lnTo>
                      <a:lnTo>
                        <a:pt x="2" y="5"/>
                      </a:lnTo>
                      <a:lnTo>
                        <a:pt x="0" y="7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94" name="Group 1793">
                <a:extLst>
                  <a:ext uri="{FF2B5EF4-FFF2-40B4-BE49-F238E27FC236}">
                    <a16:creationId xmlns:a16="http://schemas.microsoft.com/office/drawing/2014/main" id="{57CC7BE1-8CB1-AF41-9F4E-4F0E4269AB5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03" y="50"/>
                <a:ext cx="10" cy="10"/>
                <a:chOff x="403" y="50"/>
                <a:chExt cx="10" cy="10"/>
              </a:xfrm>
            </p:grpSpPr>
            <p:sp>
              <p:nvSpPr>
                <p:cNvPr id="1849" name="Freeform 223">
                  <a:extLst>
                    <a:ext uri="{FF2B5EF4-FFF2-40B4-BE49-F238E27FC236}">
                      <a16:creationId xmlns:a16="http://schemas.microsoft.com/office/drawing/2014/main" id="{267D8589-541E-4B4C-BBDB-0A01B76469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3" y="50"/>
                  <a:ext cx="10" cy="10"/>
                </a:xfrm>
                <a:custGeom>
                  <a:avLst/>
                  <a:gdLst>
                    <a:gd name="T0" fmla="*/ 3 w 10"/>
                    <a:gd name="T1" fmla="*/ 5 h 10"/>
                    <a:gd name="T2" fmla="*/ 2 w 10"/>
                    <a:gd name="T3" fmla="*/ 5 h 10"/>
                    <a:gd name="T4" fmla="*/ 0 w 10"/>
                    <a:gd name="T5" fmla="*/ 5 h 10"/>
                    <a:gd name="T6" fmla="*/ 0 w 10"/>
                    <a:gd name="T7" fmla="*/ 9 h 10"/>
                    <a:gd name="T8" fmla="*/ 2 w 10"/>
                    <a:gd name="T9" fmla="*/ 10 h 10"/>
                    <a:gd name="T10" fmla="*/ 5 w 10"/>
                    <a:gd name="T11" fmla="*/ 9 h 10"/>
                    <a:gd name="T12" fmla="*/ 7 w 10"/>
                    <a:gd name="T13" fmla="*/ 9 h 10"/>
                    <a:gd name="T14" fmla="*/ 7 w 10"/>
                    <a:gd name="T15" fmla="*/ 7 h 10"/>
                    <a:gd name="T16" fmla="*/ 9 w 10"/>
                    <a:gd name="T17" fmla="*/ 5 h 10"/>
                    <a:gd name="T18" fmla="*/ 10 w 10"/>
                    <a:gd name="T19" fmla="*/ 4 h 10"/>
                    <a:gd name="T20" fmla="*/ 10 w 10"/>
                    <a:gd name="T21" fmla="*/ 2 h 10"/>
                    <a:gd name="T22" fmla="*/ 9 w 10"/>
                    <a:gd name="T23" fmla="*/ 2 h 10"/>
                    <a:gd name="T24" fmla="*/ 9 w 10"/>
                    <a:gd name="T25" fmla="*/ 0 h 10"/>
                    <a:gd name="T26" fmla="*/ 7 w 10"/>
                    <a:gd name="T27" fmla="*/ 0 h 10"/>
                    <a:gd name="T28" fmla="*/ 5 w 10"/>
                    <a:gd name="T29" fmla="*/ 2 h 10"/>
                    <a:gd name="T30" fmla="*/ 5 w 10"/>
                    <a:gd name="T31" fmla="*/ 4 h 10"/>
                    <a:gd name="T32" fmla="*/ 3 w 10"/>
                    <a:gd name="T33" fmla="*/ 4 h 10"/>
                    <a:gd name="T34" fmla="*/ 3 w 10"/>
                    <a:gd name="T35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0" h="10">
                      <a:moveTo>
                        <a:pt x="3" y="5"/>
                      </a:move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0" y="9"/>
                      </a:lnTo>
                      <a:lnTo>
                        <a:pt x="2" y="10"/>
                      </a:lnTo>
                      <a:lnTo>
                        <a:pt x="5" y="9"/>
                      </a:lnTo>
                      <a:lnTo>
                        <a:pt x="7" y="9"/>
                      </a:lnTo>
                      <a:lnTo>
                        <a:pt x="7" y="7"/>
                      </a:lnTo>
                      <a:lnTo>
                        <a:pt x="9" y="5"/>
                      </a:lnTo>
                      <a:lnTo>
                        <a:pt x="10" y="4"/>
                      </a:lnTo>
                      <a:lnTo>
                        <a:pt x="10" y="2"/>
                      </a:lnTo>
                      <a:lnTo>
                        <a:pt x="9" y="2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50" name="Freeform 224">
                  <a:extLst>
                    <a:ext uri="{FF2B5EF4-FFF2-40B4-BE49-F238E27FC236}">
                      <a16:creationId xmlns:a16="http://schemas.microsoft.com/office/drawing/2014/main" id="{783F1C77-4438-A546-877A-5D4DE8E716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3" y="50"/>
                  <a:ext cx="10" cy="10"/>
                </a:xfrm>
                <a:custGeom>
                  <a:avLst/>
                  <a:gdLst>
                    <a:gd name="T0" fmla="*/ 3 w 10"/>
                    <a:gd name="T1" fmla="*/ 5 h 10"/>
                    <a:gd name="T2" fmla="*/ 2 w 10"/>
                    <a:gd name="T3" fmla="*/ 5 h 10"/>
                    <a:gd name="T4" fmla="*/ 0 w 10"/>
                    <a:gd name="T5" fmla="*/ 5 h 10"/>
                    <a:gd name="T6" fmla="*/ 0 w 10"/>
                    <a:gd name="T7" fmla="*/ 9 h 10"/>
                    <a:gd name="T8" fmla="*/ 2 w 10"/>
                    <a:gd name="T9" fmla="*/ 10 h 10"/>
                    <a:gd name="T10" fmla="*/ 5 w 10"/>
                    <a:gd name="T11" fmla="*/ 9 h 10"/>
                    <a:gd name="T12" fmla="*/ 7 w 10"/>
                    <a:gd name="T13" fmla="*/ 9 h 10"/>
                    <a:gd name="T14" fmla="*/ 7 w 10"/>
                    <a:gd name="T15" fmla="*/ 7 h 10"/>
                    <a:gd name="T16" fmla="*/ 9 w 10"/>
                    <a:gd name="T17" fmla="*/ 5 h 10"/>
                    <a:gd name="T18" fmla="*/ 10 w 10"/>
                    <a:gd name="T19" fmla="*/ 4 h 10"/>
                    <a:gd name="T20" fmla="*/ 10 w 10"/>
                    <a:gd name="T21" fmla="*/ 2 h 10"/>
                    <a:gd name="T22" fmla="*/ 9 w 10"/>
                    <a:gd name="T23" fmla="*/ 2 h 10"/>
                    <a:gd name="T24" fmla="*/ 9 w 10"/>
                    <a:gd name="T25" fmla="*/ 0 h 10"/>
                    <a:gd name="T26" fmla="*/ 7 w 10"/>
                    <a:gd name="T27" fmla="*/ 0 h 10"/>
                    <a:gd name="T28" fmla="*/ 5 w 10"/>
                    <a:gd name="T29" fmla="*/ 2 h 10"/>
                    <a:gd name="T30" fmla="*/ 5 w 10"/>
                    <a:gd name="T31" fmla="*/ 4 h 10"/>
                    <a:gd name="T32" fmla="*/ 3 w 10"/>
                    <a:gd name="T33" fmla="*/ 4 h 10"/>
                    <a:gd name="T34" fmla="*/ 3 w 10"/>
                    <a:gd name="T35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0" h="10">
                      <a:moveTo>
                        <a:pt x="3" y="5"/>
                      </a:move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0" y="9"/>
                      </a:lnTo>
                      <a:lnTo>
                        <a:pt x="2" y="10"/>
                      </a:lnTo>
                      <a:lnTo>
                        <a:pt x="5" y="9"/>
                      </a:lnTo>
                      <a:lnTo>
                        <a:pt x="7" y="9"/>
                      </a:lnTo>
                      <a:lnTo>
                        <a:pt x="7" y="7"/>
                      </a:lnTo>
                      <a:lnTo>
                        <a:pt x="9" y="5"/>
                      </a:lnTo>
                      <a:lnTo>
                        <a:pt x="10" y="4"/>
                      </a:lnTo>
                      <a:lnTo>
                        <a:pt x="10" y="2"/>
                      </a:lnTo>
                      <a:lnTo>
                        <a:pt x="9" y="2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3" y="4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95" name="Group 1794">
                <a:extLst>
                  <a:ext uri="{FF2B5EF4-FFF2-40B4-BE49-F238E27FC236}">
                    <a16:creationId xmlns:a16="http://schemas.microsoft.com/office/drawing/2014/main" id="{80883D23-51DD-B145-89B5-5BCE7CDC506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91" y="89"/>
                <a:ext cx="9" cy="5"/>
                <a:chOff x="391" y="89"/>
                <a:chExt cx="9" cy="5"/>
              </a:xfrm>
            </p:grpSpPr>
            <p:sp>
              <p:nvSpPr>
                <p:cNvPr id="1847" name="Freeform 221">
                  <a:extLst>
                    <a:ext uri="{FF2B5EF4-FFF2-40B4-BE49-F238E27FC236}">
                      <a16:creationId xmlns:a16="http://schemas.microsoft.com/office/drawing/2014/main" id="{1280AFE5-4CDE-234D-8B26-CC368A7501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" y="89"/>
                  <a:ext cx="9" cy="5"/>
                </a:xfrm>
                <a:custGeom>
                  <a:avLst/>
                  <a:gdLst>
                    <a:gd name="T0" fmla="*/ 4 w 9"/>
                    <a:gd name="T1" fmla="*/ 3 h 5"/>
                    <a:gd name="T2" fmla="*/ 2 w 9"/>
                    <a:gd name="T3" fmla="*/ 3 h 5"/>
                    <a:gd name="T4" fmla="*/ 0 w 9"/>
                    <a:gd name="T5" fmla="*/ 5 h 5"/>
                    <a:gd name="T6" fmla="*/ 2 w 9"/>
                    <a:gd name="T7" fmla="*/ 5 h 5"/>
                    <a:gd name="T8" fmla="*/ 5 w 9"/>
                    <a:gd name="T9" fmla="*/ 5 h 5"/>
                    <a:gd name="T10" fmla="*/ 7 w 9"/>
                    <a:gd name="T11" fmla="*/ 3 h 5"/>
                    <a:gd name="T12" fmla="*/ 9 w 9"/>
                    <a:gd name="T13" fmla="*/ 2 h 5"/>
                    <a:gd name="T14" fmla="*/ 9 w 9"/>
                    <a:gd name="T15" fmla="*/ 0 h 5"/>
                    <a:gd name="T16" fmla="*/ 7 w 9"/>
                    <a:gd name="T17" fmla="*/ 0 h 5"/>
                    <a:gd name="T18" fmla="*/ 5 w 9"/>
                    <a:gd name="T19" fmla="*/ 2 h 5"/>
                    <a:gd name="T20" fmla="*/ 4 w 9"/>
                    <a:gd name="T21" fmla="*/ 2 h 5"/>
                    <a:gd name="T22" fmla="*/ 2 w 9"/>
                    <a:gd name="T23" fmla="*/ 0 h 5"/>
                    <a:gd name="T24" fmla="*/ 2 w 9"/>
                    <a:gd name="T25" fmla="*/ 2 h 5"/>
                    <a:gd name="T26" fmla="*/ 4 w 9"/>
                    <a:gd name="T2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" h="5">
                      <a:moveTo>
                        <a:pt x="4" y="3"/>
                      </a:moveTo>
                      <a:lnTo>
                        <a:pt x="2" y="3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5" y="5"/>
                      </a:lnTo>
                      <a:lnTo>
                        <a:pt x="7" y="3"/>
                      </a:lnTo>
                      <a:lnTo>
                        <a:pt x="9" y="2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8" name="Freeform 222">
                  <a:extLst>
                    <a:ext uri="{FF2B5EF4-FFF2-40B4-BE49-F238E27FC236}">
                      <a16:creationId xmlns:a16="http://schemas.microsoft.com/office/drawing/2014/main" id="{3579F999-6507-B84F-BAF1-11E800CE8E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" y="89"/>
                  <a:ext cx="9" cy="5"/>
                </a:xfrm>
                <a:custGeom>
                  <a:avLst/>
                  <a:gdLst>
                    <a:gd name="T0" fmla="*/ 4 w 9"/>
                    <a:gd name="T1" fmla="*/ 3 h 5"/>
                    <a:gd name="T2" fmla="*/ 2 w 9"/>
                    <a:gd name="T3" fmla="*/ 3 h 5"/>
                    <a:gd name="T4" fmla="*/ 0 w 9"/>
                    <a:gd name="T5" fmla="*/ 5 h 5"/>
                    <a:gd name="T6" fmla="*/ 2 w 9"/>
                    <a:gd name="T7" fmla="*/ 5 h 5"/>
                    <a:gd name="T8" fmla="*/ 5 w 9"/>
                    <a:gd name="T9" fmla="*/ 5 h 5"/>
                    <a:gd name="T10" fmla="*/ 7 w 9"/>
                    <a:gd name="T11" fmla="*/ 3 h 5"/>
                    <a:gd name="T12" fmla="*/ 9 w 9"/>
                    <a:gd name="T13" fmla="*/ 2 h 5"/>
                    <a:gd name="T14" fmla="*/ 9 w 9"/>
                    <a:gd name="T15" fmla="*/ 0 h 5"/>
                    <a:gd name="T16" fmla="*/ 7 w 9"/>
                    <a:gd name="T17" fmla="*/ 0 h 5"/>
                    <a:gd name="T18" fmla="*/ 5 w 9"/>
                    <a:gd name="T19" fmla="*/ 2 h 5"/>
                    <a:gd name="T20" fmla="*/ 4 w 9"/>
                    <a:gd name="T21" fmla="*/ 2 h 5"/>
                    <a:gd name="T22" fmla="*/ 2 w 9"/>
                    <a:gd name="T23" fmla="*/ 0 h 5"/>
                    <a:gd name="T24" fmla="*/ 2 w 9"/>
                    <a:gd name="T25" fmla="*/ 2 h 5"/>
                    <a:gd name="T26" fmla="*/ 4 w 9"/>
                    <a:gd name="T2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" h="5">
                      <a:moveTo>
                        <a:pt x="4" y="3"/>
                      </a:moveTo>
                      <a:lnTo>
                        <a:pt x="2" y="3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5" y="5"/>
                      </a:lnTo>
                      <a:lnTo>
                        <a:pt x="7" y="3"/>
                      </a:lnTo>
                      <a:lnTo>
                        <a:pt x="9" y="2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96" name="Group 1795">
                <a:extLst>
                  <a:ext uri="{FF2B5EF4-FFF2-40B4-BE49-F238E27FC236}">
                    <a16:creationId xmlns:a16="http://schemas.microsoft.com/office/drawing/2014/main" id="{7A22494F-E664-794F-A63D-D5376F70B48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23" y="43"/>
                <a:ext cx="19" cy="16"/>
                <a:chOff x="423" y="43"/>
                <a:chExt cx="19" cy="16"/>
              </a:xfrm>
            </p:grpSpPr>
            <p:sp>
              <p:nvSpPr>
                <p:cNvPr id="1845" name="Freeform 219">
                  <a:extLst>
                    <a:ext uri="{FF2B5EF4-FFF2-40B4-BE49-F238E27FC236}">
                      <a16:creationId xmlns:a16="http://schemas.microsoft.com/office/drawing/2014/main" id="{C31D4DC3-EDEC-DF45-B384-1DF027EC8C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" y="43"/>
                  <a:ext cx="19" cy="16"/>
                </a:xfrm>
                <a:custGeom>
                  <a:avLst/>
                  <a:gdLst>
                    <a:gd name="T0" fmla="*/ 4 w 19"/>
                    <a:gd name="T1" fmla="*/ 11 h 16"/>
                    <a:gd name="T2" fmla="*/ 4 w 19"/>
                    <a:gd name="T3" fmla="*/ 12 h 16"/>
                    <a:gd name="T4" fmla="*/ 2 w 19"/>
                    <a:gd name="T5" fmla="*/ 12 h 16"/>
                    <a:gd name="T6" fmla="*/ 0 w 19"/>
                    <a:gd name="T7" fmla="*/ 14 h 16"/>
                    <a:gd name="T8" fmla="*/ 2 w 19"/>
                    <a:gd name="T9" fmla="*/ 16 h 16"/>
                    <a:gd name="T10" fmla="*/ 4 w 19"/>
                    <a:gd name="T11" fmla="*/ 14 h 16"/>
                    <a:gd name="T12" fmla="*/ 5 w 19"/>
                    <a:gd name="T13" fmla="*/ 14 h 16"/>
                    <a:gd name="T14" fmla="*/ 9 w 19"/>
                    <a:gd name="T15" fmla="*/ 14 h 16"/>
                    <a:gd name="T16" fmla="*/ 10 w 19"/>
                    <a:gd name="T17" fmla="*/ 11 h 16"/>
                    <a:gd name="T18" fmla="*/ 12 w 19"/>
                    <a:gd name="T19" fmla="*/ 11 h 16"/>
                    <a:gd name="T20" fmla="*/ 12 w 19"/>
                    <a:gd name="T21" fmla="*/ 12 h 16"/>
                    <a:gd name="T22" fmla="*/ 14 w 19"/>
                    <a:gd name="T23" fmla="*/ 12 h 16"/>
                    <a:gd name="T24" fmla="*/ 17 w 19"/>
                    <a:gd name="T25" fmla="*/ 12 h 16"/>
                    <a:gd name="T26" fmla="*/ 17 w 19"/>
                    <a:gd name="T27" fmla="*/ 9 h 16"/>
                    <a:gd name="T28" fmla="*/ 17 w 19"/>
                    <a:gd name="T29" fmla="*/ 7 h 16"/>
                    <a:gd name="T30" fmla="*/ 19 w 19"/>
                    <a:gd name="T31" fmla="*/ 5 h 16"/>
                    <a:gd name="T32" fmla="*/ 17 w 19"/>
                    <a:gd name="T33" fmla="*/ 4 h 16"/>
                    <a:gd name="T34" fmla="*/ 16 w 19"/>
                    <a:gd name="T35" fmla="*/ 2 h 16"/>
                    <a:gd name="T36" fmla="*/ 14 w 19"/>
                    <a:gd name="T37" fmla="*/ 0 h 16"/>
                    <a:gd name="T38" fmla="*/ 12 w 19"/>
                    <a:gd name="T39" fmla="*/ 0 h 16"/>
                    <a:gd name="T40" fmla="*/ 12 w 19"/>
                    <a:gd name="T41" fmla="*/ 2 h 16"/>
                    <a:gd name="T42" fmla="*/ 10 w 19"/>
                    <a:gd name="T43" fmla="*/ 0 h 16"/>
                    <a:gd name="T44" fmla="*/ 12 w 19"/>
                    <a:gd name="T45" fmla="*/ 2 h 16"/>
                    <a:gd name="T46" fmla="*/ 10 w 19"/>
                    <a:gd name="T47" fmla="*/ 4 h 16"/>
                    <a:gd name="T48" fmla="*/ 9 w 19"/>
                    <a:gd name="T49" fmla="*/ 2 h 16"/>
                    <a:gd name="T50" fmla="*/ 7 w 19"/>
                    <a:gd name="T51" fmla="*/ 4 h 16"/>
                    <a:gd name="T52" fmla="*/ 9 w 19"/>
                    <a:gd name="T53" fmla="*/ 4 h 16"/>
                    <a:gd name="T54" fmla="*/ 7 w 19"/>
                    <a:gd name="T55" fmla="*/ 5 h 16"/>
                    <a:gd name="T56" fmla="*/ 4 w 19"/>
                    <a:gd name="T57" fmla="*/ 5 h 16"/>
                    <a:gd name="T58" fmla="*/ 2 w 19"/>
                    <a:gd name="T59" fmla="*/ 7 h 16"/>
                    <a:gd name="T60" fmla="*/ 4 w 19"/>
                    <a:gd name="T61" fmla="*/ 7 h 16"/>
                    <a:gd name="T62" fmla="*/ 2 w 19"/>
                    <a:gd name="T63" fmla="*/ 7 h 16"/>
                    <a:gd name="T64" fmla="*/ 4 w 19"/>
                    <a:gd name="T65" fmla="*/ 9 h 16"/>
                    <a:gd name="T66" fmla="*/ 2 w 19"/>
                    <a:gd name="T67" fmla="*/ 11 h 16"/>
                    <a:gd name="T68" fmla="*/ 0 w 19"/>
                    <a:gd name="T69" fmla="*/ 9 h 16"/>
                    <a:gd name="T70" fmla="*/ 2 w 19"/>
                    <a:gd name="T71" fmla="*/ 11 h 16"/>
                    <a:gd name="T72" fmla="*/ 4 w 19"/>
                    <a:gd name="T73" fmla="*/ 11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9" h="16">
                      <a:moveTo>
                        <a:pt x="4" y="11"/>
                      </a:moveTo>
                      <a:lnTo>
                        <a:pt x="4" y="12"/>
                      </a:lnTo>
                      <a:lnTo>
                        <a:pt x="2" y="12"/>
                      </a:lnTo>
                      <a:lnTo>
                        <a:pt x="0" y="14"/>
                      </a:lnTo>
                      <a:lnTo>
                        <a:pt x="2" y="16"/>
                      </a:lnTo>
                      <a:lnTo>
                        <a:pt x="4" y="14"/>
                      </a:lnTo>
                      <a:lnTo>
                        <a:pt x="5" y="14"/>
                      </a:lnTo>
                      <a:lnTo>
                        <a:pt x="9" y="14"/>
                      </a:lnTo>
                      <a:lnTo>
                        <a:pt x="10" y="11"/>
                      </a:lnTo>
                      <a:lnTo>
                        <a:pt x="12" y="11"/>
                      </a:lnTo>
                      <a:lnTo>
                        <a:pt x="12" y="12"/>
                      </a:lnTo>
                      <a:lnTo>
                        <a:pt x="14" y="12"/>
                      </a:lnTo>
                      <a:lnTo>
                        <a:pt x="17" y="12"/>
                      </a:lnTo>
                      <a:lnTo>
                        <a:pt x="17" y="9"/>
                      </a:lnTo>
                      <a:lnTo>
                        <a:pt x="17" y="7"/>
                      </a:lnTo>
                      <a:lnTo>
                        <a:pt x="19" y="5"/>
                      </a:lnTo>
                      <a:lnTo>
                        <a:pt x="17" y="4"/>
                      </a:lnTo>
                      <a:lnTo>
                        <a:pt x="16" y="2"/>
                      </a:lnTo>
                      <a:lnTo>
                        <a:pt x="14" y="0"/>
                      </a:lnTo>
                      <a:lnTo>
                        <a:pt x="12" y="0"/>
                      </a:lnTo>
                      <a:lnTo>
                        <a:pt x="12" y="2"/>
                      </a:lnTo>
                      <a:lnTo>
                        <a:pt x="10" y="0"/>
                      </a:lnTo>
                      <a:lnTo>
                        <a:pt x="12" y="2"/>
                      </a:lnTo>
                      <a:lnTo>
                        <a:pt x="10" y="4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9" y="4"/>
                      </a:lnTo>
                      <a:lnTo>
                        <a:pt x="7" y="5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4" y="7"/>
                      </a:lnTo>
                      <a:lnTo>
                        <a:pt x="2" y="7"/>
                      </a:lnTo>
                      <a:lnTo>
                        <a:pt x="4" y="9"/>
                      </a:lnTo>
                      <a:lnTo>
                        <a:pt x="2" y="11"/>
                      </a:lnTo>
                      <a:lnTo>
                        <a:pt x="0" y="9"/>
                      </a:lnTo>
                      <a:lnTo>
                        <a:pt x="2" y="11"/>
                      </a:lnTo>
                      <a:lnTo>
                        <a:pt x="4" y="1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6" name="Freeform 220">
                  <a:extLst>
                    <a:ext uri="{FF2B5EF4-FFF2-40B4-BE49-F238E27FC236}">
                      <a16:creationId xmlns:a16="http://schemas.microsoft.com/office/drawing/2014/main" id="{6004F44F-7D5B-EC4A-B3FB-F08928275B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" y="43"/>
                  <a:ext cx="19" cy="16"/>
                </a:xfrm>
                <a:custGeom>
                  <a:avLst/>
                  <a:gdLst>
                    <a:gd name="T0" fmla="*/ 4 w 19"/>
                    <a:gd name="T1" fmla="*/ 11 h 16"/>
                    <a:gd name="T2" fmla="*/ 4 w 19"/>
                    <a:gd name="T3" fmla="*/ 12 h 16"/>
                    <a:gd name="T4" fmla="*/ 2 w 19"/>
                    <a:gd name="T5" fmla="*/ 12 h 16"/>
                    <a:gd name="T6" fmla="*/ 0 w 19"/>
                    <a:gd name="T7" fmla="*/ 14 h 16"/>
                    <a:gd name="T8" fmla="*/ 2 w 19"/>
                    <a:gd name="T9" fmla="*/ 16 h 16"/>
                    <a:gd name="T10" fmla="*/ 4 w 19"/>
                    <a:gd name="T11" fmla="*/ 14 h 16"/>
                    <a:gd name="T12" fmla="*/ 5 w 19"/>
                    <a:gd name="T13" fmla="*/ 14 h 16"/>
                    <a:gd name="T14" fmla="*/ 9 w 19"/>
                    <a:gd name="T15" fmla="*/ 14 h 16"/>
                    <a:gd name="T16" fmla="*/ 10 w 19"/>
                    <a:gd name="T17" fmla="*/ 11 h 16"/>
                    <a:gd name="T18" fmla="*/ 12 w 19"/>
                    <a:gd name="T19" fmla="*/ 11 h 16"/>
                    <a:gd name="T20" fmla="*/ 12 w 19"/>
                    <a:gd name="T21" fmla="*/ 12 h 16"/>
                    <a:gd name="T22" fmla="*/ 14 w 19"/>
                    <a:gd name="T23" fmla="*/ 12 h 16"/>
                    <a:gd name="T24" fmla="*/ 17 w 19"/>
                    <a:gd name="T25" fmla="*/ 12 h 16"/>
                    <a:gd name="T26" fmla="*/ 17 w 19"/>
                    <a:gd name="T27" fmla="*/ 9 h 16"/>
                    <a:gd name="T28" fmla="*/ 17 w 19"/>
                    <a:gd name="T29" fmla="*/ 7 h 16"/>
                    <a:gd name="T30" fmla="*/ 19 w 19"/>
                    <a:gd name="T31" fmla="*/ 5 h 16"/>
                    <a:gd name="T32" fmla="*/ 17 w 19"/>
                    <a:gd name="T33" fmla="*/ 4 h 16"/>
                    <a:gd name="T34" fmla="*/ 16 w 19"/>
                    <a:gd name="T35" fmla="*/ 2 h 16"/>
                    <a:gd name="T36" fmla="*/ 14 w 19"/>
                    <a:gd name="T37" fmla="*/ 0 h 16"/>
                    <a:gd name="T38" fmla="*/ 12 w 19"/>
                    <a:gd name="T39" fmla="*/ 0 h 16"/>
                    <a:gd name="T40" fmla="*/ 12 w 19"/>
                    <a:gd name="T41" fmla="*/ 2 h 16"/>
                    <a:gd name="T42" fmla="*/ 10 w 19"/>
                    <a:gd name="T43" fmla="*/ 0 h 16"/>
                    <a:gd name="T44" fmla="*/ 12 w 19"/>
                    <a:gd name="T45" fmla="*/ 2 h 16"/>
                    <a:gd name="T46" fmla="*/ 10 w 19"/>
                    <a:gd name="T47" fmla="*/ 4 h 16"/>
                    <a:gd name="T48" fmla="*/ 9 w 19"/>
                    <a:gd name="T49" fmla="*/ 2 h 16"/>
                    <a:gd name="T50" fmla="*/ 7 w 19"/>
                    <a:gd name="T51" fmla="*/ 4 h 16"/>
                    <a:gd name="T52" fmla="*/ 9 w 19"/>
                    <a:gd name="T53" fmla="*/ 4 h 16"/>
                    <a:gd name="T54" fmla="*/ 7 w 19"/>
                    <a:gd name="T55" fmla="*/ 5 h 16"/>
                    <a:gd name="T56" fmla="*/ 4 w 19"/>
                    <a:gd name="T57" fmla="*/ 5 h 16"/>
                    <a:gd name="T58" fmla="*/ 2 w 19"/>
                    <a:gd name="T59" fmla="*/ 7 h 16"/>
                    <a:gd name="T60" fmla="*/ 4 w 19"/>
                    <a:gd name="T61" fmla="*/ 7 h 16"/>
                    <a:gd name="T62" fmla="*/ 2 w 19"/>
                    <a:gd name="T63" fmla="*/ 7 h 16"/>
                    <a:gd name="T64" fmla="*/ 4 w 19"/>
                    <a:gd name="T65" fmla="*/ 9 h 16"/>
                    <a:gd name="T66" fmla="*/ 2 w 19"/>
                    <a:gd name="T67" fmla="*/ 11 h 16"/>
                    <a:gd name="T68" fmla="*/ 0 w 19"/>
                    <a:gd name="T69" fmla="*/ 9 h 16"/>
                    <a:gd name="T70" fmla="*/ 2 w 19"/>
                    <a:gd name="T71" fmla="*/ 11 h 16"/>
                    <a:gd name="T72" fmla="*/ 4 w 19"/>
                    <a:gd name="T73" fmla="*/ 11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9" h="16">
                      <a:moveTo>
                        <a:pt x="4" y="11"/>
                      </a:moveTo>
                      <a:lnTo>
                        <a:pt x="4" y="12"/>
                      </a:lnTo>
                      <a:lnTo>
                        <a:pt x="2" y="12"/>
                      </a:lnTo>
                      <a:lnTo>
                        <a:pt x="0" y="14"/>
                      </a:lnTo>
                      <a:lnTo>
                        <a:pt x="2" y="16"/>
                      </a:lnTo>
                      <a:lnTo>
                        <a:pt x="4" y="14"/>
                      </a:lnTo>
                      <a:lnTo>
                        <a:pt x="5" y="14"/>
                      </a:lnTo>
                      <a:lnTo>
                        <a:pt x="9" y="14"/>
                      </a:lnTo>
                      <a:lnTo>
                        <a:pt x="10" y="11"/>
                      </a:lnTo>
                      <a:lnTo>
                        <a:pt x="12" y="11"/>
                      </a:lnTo>
                      <a:lnTo>
                        <a:pt x="12" y="12"/>
                      </a:lnTo>
                      <a:lnTo>
                        <a:pt x="14" y="12"/>
                      </a:lnTo>
                      <a:lnTo>
                        <a:pt x="17" y="12"/>
                      </a:lnTo>
                      <a:lnTo>
                        <a:pt x="17" y="9"/>
                      </a:lnTo>
                      <a:lnTo>
                        <a:pt x="17" y="7"/>
                      </a:lnTo>
                      <a:lnTo>
                        <a:pt x="19" y="5"/>
                      </a:lnTo>
                      <a:lnTo>
                        <a:pt x="17" y="4"/>
                      </a:lnTo>
                      <a:lnTo>
                        <a:pt x="16" y="2"/>
                      </a:lnTo>
                      <a:lnTo>
                        <a:pt x="14" y="0"/>
                      </a:lnTo>
                      <a:lnTo>
                        <a:pt x="12" y="0"/>
                      </a:lnTo>
                      <a:lnTo>
                        <a:pt x="12" y="2"/>
                      </a:lnTo>
                      <a:lnTo>
                        <a:pt x="10" y="0"/>
                      </a:lnTo>
                      <a:lnTo>
                        <a:pt x="12" y="2"/>
                      </a:lnTo>
                      <a:lnTo>
                        <a:pt x="10" y="4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9" y="4"/>
                      </a:lnTo>
                      <a:lnTo>
                        <a:pt x="7" y="5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4" y="7"/>
                      </a:lnTo>
                      <a:lnTo>
                        <a:pt x="2" y="7"/>
                      </a:lnTo>
                      <a:lnTo>
                        <a:pt x="4" y="9"/>
                      </a:lnTo>
                      <a:lnTo>
                        <a:pt x="2" y="11"/>
                      </a:lnTo>
                      <a:lnTo>
                        <a:pt x="0" y="9"/>
                      </a:lnTo>
                      <a:lnTo>
                        <a:pt x="2" y="11"/>
                      </a:lnTo>
                      <a:lnTo>
                        <a:pt x="4" y="1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97" name="Group 1796">
                <a:extLst>
                  <a:ext uri="{FF2B5EF4-FFF2-40B4-BE49-F238E27FC236}">
                    <a16:creationId xmlns:a16="http://schemas.microsoft.com/office/drawing/2014/main" id="{A3E89202-D3F0-F744-BB90-171A769F8D0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44" y="35"/>
                <a:ext cx="13" cy="8"/>
                <a:chOff x="444" y="35"/>
                <a:chExt cx="13" cy="8"/>
              </a:xfrm>
            </p:grpSpPr>
            <p:sp>
              <p:nvSpPr>
                <p:cNvPr id="1843" name="Freeform 217">
                  <a:extLst>
                    <a:ext uri="{FF2B5EF4-FFF2-40B4-BE49-F238E27FC236}">
                      <a16:creationId xmlns:a16="http://schemas.microsoft.com/office/drawing/2014/main" id="{D97F0117-B6DB-B74B-A7C1-3E04727758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" y="35"/>
                  <a:ext cx="13" cy="8"/>
                </a:xfrm>
                <a:custGeom>
                  <a:avLst/>
                  <a:gdLst>
                    <a:gd name="T0" fmla="*/ 1 w 13"/>
                    <a:gd name="T1" fmla="*/ 7 h 8"/>
                    <a:gd name="T2" fmla="*/ 0 w 13"/>
                    <a:gd name="T3" fmla="*/ 7 h 8"/>
                    <a:gd name="T4" fmla="*/ 0 w 13"/>
                    <a:gd name="T5" fmla="*/ 8 h 8"/>
                    <a:gd name="T6" fmla="*/ 1 w 13"/>
                    <a:gd name="T7" fmla="*/ 8 h 8"/>
                    <a:gd name="T8" fmla="*/ 3 w 13"/>
                    <a:gd name="T9" fmla="*/ 8 h 8"/>
                    <a:gd name="T10" fmla="*/ 6 w 13"/>
                    <a:gd name="T11" fmla="*/ 8 h 8"/>
                    <a:gd name="T12" fmla="*/ 8 w 13"/>
                    <a:gd name="T13" fmla="*/ 8 h 8"/>
                    <a:gd name="T14" fmla="*/ 11 w 13"/>
                    <a:gd name="T15" fmla="*/ 7 h 8"/>
                    <a:gd name="T16" fmla="*/ 11 w 13"/>
                    <a:gd name="T17" fmla="*/ 5 h 8"/>
                    <a:gd name="T18" fmla="*/ 11 w 13"/>
                    <a:gd name="T19" fmla="*/ 3 h 8"/>
                    <a:gd name="T20" fmla="*/ 13 w 13"/>
                    <a:gd name="T21" fmla="*/ 3 h 8"/>
                    <a:gd name="T22" fmla="*/ 11 w 13"/>
                    <a:gd name="T23" fmla="*/ 2 h 8"/>
                    <a:gd name="T24" fmla="*/ 10 w 13"/>
                    <a:gd name="T25" fmla="*/ 0 h 8"/>
                    <a:gd name="T26" fmla="*/ 10 w 13"/>
                    <a:gd name="T27" fmla="*/ 2 h 8"/>
                    <a:gd name="T28" fmla="*/ 8 w 13"/>
                    <a:gd name="T29" fmla="*/ 3 h 8"/>
                    <a:gd name="T30" fmla="*/ 6 w 13"/>
                    <a:gd name="T31" fmla="*/ 2 h 8"/>
                    <a:gd name="T32" fmla="*/ 6 w 13"/>
                    <a:gd name="T33" fmla="*/ 5 h 8"/>
                    <a:gd name="T34" fmla="*/ 5 w 13"/>
                    <a:gd name="T35" fmla="*/ 5 h 8"/>
                    <a:gd name="T36" fmla="*/ 3 w 13"/>
                    <a:gd name="T37" fmla="*/ 5 h 8"/>
                    <a:gd name="T38" fmla="*/ 1 w 13"/>
                    <a:gd name="T39" fmla="*/ 5 h 8"/>
                    <a:gd name="T40" fmla="*/ 1 w 13"/>
                    <a:gd name="T41" fmla="*/ 7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" h="8">
                      <a:moveTo>
                        <a:pt x="1" y="7"/>
                      </a:moveTo>
                      <a:lnTo>
                        <a:pt x="0" y="7"/>
                      </a:lnTo>
                      <a:lnTo>
                        <a:pt x="0" y="8"/>
                      </a:lnTo>
                      <a:lnTo>
                        <a:pt x="1" y="8"/>
                      </a:lnTo>
                      <a:lnTo>
                        <a:pt x="3" y="8"/>
                      </a:lnTo>
                      <a:lnTo>
                        <a:pt x="6" y="8"/>
                      </a:lnTo>
                      <a:lnTo>
                        <a:pt x="8" y="8"/>
                      </a:lnTo>
                      <a:lnTo>
                        <a:pt x="11" y="7"/>
                      </a:lnTo>
                      <a:lnTo>
                        <a:pt x="11" y="5"/>
                      </a:lnTo>
                      <a:lnTo>
                        <a:pt x="11" y="3"/>
                      </a:lnTo>
                      <a:lnTo>
                        <a:pt x="13" y="3"/>
                      </a:lnTo>
                      <a:lnTo>
                        <a:pt x="11" y="2"/>
                      </a:lnTo>
                      <a:lnTo>
                        <a:pt x="10" y="0"/>
                      </a:lnTo>
                      <a:lnTo>
                        <a:pt x="10" y="2"/>
                      </a:lnTo>
                      <a:lnTo>
                        <a:pt x="8" y="3"/>
                      </a:lnTo>
                      <a:lnTo>
                        <a:pt x="6" y="2"/>
                      </a:lnTo>
                      <a:lnTo>
                        <a:pt x="6" y="5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4" name="Freeform 218">
                  <a:extLst>
                    <a:ext uri="{FF2B5EF4-FFF2-40B4-BE49-F238E27FC236}">
                      <a16:creationId xmlns:a16="http://schemas.microsoft.com/office/drawing/2014/main" id="{BA5EEE0A-C5D8-FD44-9C7A-8D9FBCF807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" y="35"/>
                  <a:ext cx="13" cy="8"/>
                </a:xfrm>
                <a:custGeom>
                  <a:avLst/>
                  <a:gdLst>
                    <a:gd name="T0" fmla="*/ 1 w 13"/>
                    <a:gd name="T1" fmla="*/ 7 h 8"/>
                    <a:gd name="T2" fmla="*/ 0 w 13"/>
                    <a:gd name="T3" fmla="*/ 7 h 8"/>
                    <a:gd name="T4" fmla="*/ 0 w 13"/>
                    <a:gd name="T5" fmla="*/ 8 h 8"/>
                    <a:gd name="T6" fmla="*/ 1 w 13"/>
                    <a:gd name="T7" fmla="*/ 8 h 8"/>
                    <a:gd name="T8" fmla="*/ 3 w 13"/>
                    <a:gd name="T9" fmla="*/ 8 h 8"/>
                    <a:gd name="T10" fmla="*/ 6 w 13"/>
                    <a:gd name="T11" fmla="*/ 8 h 8"/>
                    <a:gd name="T12" fmla="*/ 8 w 13"/>
                    <a:gd name="T13" fmla="*/ 8 h 8"/>
                    <a:gd name="T14" fmla="*/ 11 w 13"/>
                    <a:gd name="T15" fmla="*/ 7 h 8"/>
                    <a:gd name="T16" fmla="*/ 11 w 13"/>
                    <a:gd name="T17" fmla="*/ 5 h 8"/>
                    <a:gd name="T18" fmla="*/ 11 w 13"/>
                    <a:gd name="T19" fmla="*/ 3 h 8"/>
                    <a:gd name="T20" fmla="*/ 13 w 13"/>
                    <a:gd name="T21" fmla="*/ 3 h 8"/>
                    <a:gd name="T22" fmla="*/ 11 w 13"/>
                    <a:gd name="T23" fmla="*/ 2 h 8"/>
                    <a:gd name="T24" fmla="*/ 10 w 13"/>
                    <a:gd name="T25" fmla="*/ 0 h 8"/>
                    <a:gd name="T26" fmla="*/ 10 w 13"/>
                    <a:gd name="T27" fmla="*/ 2 h 8"/>
                    <a:gd name="T28" fmla="*/ 8 w 13"/>
                    <a:gd name="T29" fmla="*/ 3 h 8"/>
                    <a:gd name="T30" fmla="*/ 6 w 13"/>
                    <a:gd name="T31" fmla="*/ 2 h 8"/>
                    <a:gd name="T32" fmla="*/ 6 w 13"/>
                    <a:gd name="T33" fmla="*/ 5 h 8"/>
                    <a:gd name="T34" fmla="*/ 5 w 13"/>
                    <a:gd name="T35" fmla="*/ 5 h 8"/>
                    <a:gd name="T36" fmla="*/ 3 w 13"/>
                    <a:gd name="T37" fmla="*/ 5 h 8"/>
                    <a:gd name="T38" fmla="*/ 1 w 13"/>
                    <a:gd name="T39" fmla="*/ 5 h 8"/>
                    <a:gd name="T40" fmla="*/ 1 w 13"/>
                    <a:gd name="T41" fmla="*/ 7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" h="8">
                      <a:moveTo>
                        <a:pt x="1" y="7"/>
                      </a:moveTo>
                      <a:lnTo>
                        <a:pt x="0" y="7"/>
                      </a:lnTo>
                      <a:lnTo>
                        <a:pt x="0" y="8"/>
                      </a:lnTo>
                      <a:lnTo>
                        <a:pt x="1" y="8"/>
                      </a:lnTo>
                      <a:lnTo>
                        <a:pt x="3" y="8"/>
                      </a:lnTo>
                      <a:lnTo>
                        <a:pt x="6" y="8"/>
                      </a:lnTo>
                      <a:lnTo>
                        <a:pt x="8" y="8"/>
                      </a:lnTo>
                      <a:lnTo>
                        <a:pt x="11" y="7"/>
                      </a:lnTo>
                      <a:lnTo>
                        <a:pt x="11" y="5"/>
                      </a:lnTo>
                      <a:lnTo>
                        <a:pt x="11" y="3"/>
                      </a:lnTo>
                      <a:lnTo>
                        <a:pt x="13" y="3"/>
                      </a:lnTo>
                      <a:lnTo>
                        <a:pt x="11" y="2"/>
                      </a:lnTo>
                      <a:lnTo>
                        <a:pt x="10" y="0"/>
                      </a:lnTo>
                      <a:lnTo>
                        <a:pt x="10" y="2"/>
                      </a:lnTo>
                      <a:lnTo>
                        <a:pt x="8" y="3"/>
                      </a:lnTo>
                      <a:lnTo>
                        <a:pt x="6" y="2"/>
                      </a:lnTo>
                      <a:lnTo>
                        <a:pt x="6" y="5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98" name="Group 1797">
                <a:extLst>
                  <a:ext uri="{FF2B5EF4-FFF2-40B4-BE49-F238E27FC236}">
                    <a16:creationId xmlns:a16="http://schemas.microsoft.com/office/drawing/2014/main" id="{8959FF92-FF39-564D-9539-9F7AF81DAA4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52" y="28"/>
                <a:ext cx="15" cy="9"/>
                <a:chOff x="452" y="28"/>
                <a:chExt cx="15" cy="9"/>
              </a:xfrm>
            </p:grpSpPr>
            <p:sp>
              <p:nvSpPr>
                <p:cNvPr id="1841" name="Freeform 215">
                  <a:extLst>
                    <a:ext uri="{FF2B5EF4-FFF2-40B4-BE49-F238E27FC236}">
                      <a16:creationId xmlns:a16="http://schemas.microsoft.com/office/drawing/2014/main" id="{682A9C73-6D7D-4442-B7CD-681BC11F36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" y="28"/>
                  <a:ext cx="15" cy="9"/>
                </a:xfrm>
                <a:custGeom>
                  <a:avLst/>
                  <a:gdLst>
                    <a:gd name="T0" fmla="*/ 3 w 15"/>
                    <a:gd name="T1" fmla="*/ 4 h 9"/>
                    <a:gd name="T2" fmla="*/ 3 w 15"/>
                    <a:gd name="T3" fmla="*/ 5 h 9"/>
                    <a:gd name="T4" fmla="*/ 2 w 15"/>
                    <a:gd name="T5" fmla="*/ 5 h 9"/>
                    <a:gd name="T6" fmla="*/ 3 w 15"/>
                    <a:gd name="T7" fmla="*/ 5 h 9"/>
                    <a:gd name="T8" fmla="*/ 5 w 15"/>
                    <a:gd name="T9" fmla="*/ 7 h 9"/>
                    <a:gd name="T10" fmla="*/ 7 w 15"/>
                    <a:gd name="T11" fmla="*/ 9 h 9"/>
                    <a:gd name="T12" fmla="*/ 8 w 15"/>
                    <a:gd name="T13" fmla="*/ 9 h 9"/>
                    <a:gd name="T14" fmla="*/ 10 w 15"/>
                    <a:gd name="T15" fmla="*/ 9 h 9"/>
                    <a:gd name="T16" fmla="*/ 12 w 15"/>
                    <a:gd name="T17" fmla="*/ 7 h 9"/>
                    <a:gd name="T18" fmla="*/ 13 w 15"/>
                    <a:gd name="T19" fmla="*/ 5 h 9"/>
                    <a:gd name="T20" fmla="*/ 15 w 15"/>
                    <a:gd name="T21" fmla="*/ 4 h 9"/>
                    <a:gd name="T22" fmla="*/ 12 w 15"/>
                    <a:gd name="T23" fmla="*/ 4 h 9"/>
                    <a:gd name="T24" fmla="*/ 10 w 15"/>
                    <a:gd name="T25" fmla="*/ 4 h 9"/>
                    <a:gd name="T26" fmla="*/ 8 w 15"/>
                    <a:gd name="T27" fmla="*/ 4 h 9"/>
                    <a:gd name="T28" fmla="*/ 8 w 15"/>
                    <a:gd name="T29" fmla="*/ 5 h 9"/>
                    <a:gd name="T30" fmla="*/ 7 w 15"/>
                    <a:gd name="T31" fmla="*/ 5 h 9"/>
                    <a:gd name="T32" fmla="*/ 8 w 15"/>
                    <a:gd name="T33" fmla="*/ 4 h 9"/>
                    <a:gd name="T34" fmla="*/ 8 w 15"/>
                    <a:gd name="T35" fmla="*/ 2 h 9"/>
                    <a:gd name="T36" fmla="*/ 7 w 15"/>
                    <a:gd name="T37" fmla="*/ 2 h 9"/>
                    <a:gd name="T38" fmla="*/ 3 w 15"/>
                    <a:gd name="T39" fmla="*/ 2 h 9"/>
                    <a:gd name="T40" fmla="*/ 2 w 15"/>
                    <a:gd name="T41" fmla="*/ 0 h 9"/>
                    <a:gd name="T42" fmla="*/ 0 w 15"/>
                    <a:gd name="T43" fmla="*/ 2 h 9"/>
                    <a:gd name="T44" fmla="*/ 2 w 15"/>
                    <a:gd name="T45" fmla="*/ 4 h 9"/>
                    <a:gd name="T46" fmla="*/ 3 w 15"/>
                    <a:gd name="T47" fmla="*/ 2 h 9"/>
                    <a:gd name="T48" fmla="*/ 3 w 15"/>
                    <a:gd name="T49" fmla="*/ 4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5" h="9">
                      <a:moveTo>
                        <a:pt x="3" y="4"/>
                      </a:moveTo>
                      <a:lnTo>
                        <a:pt x="3" y="5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5" y="7"/>
                      </a:lnTo>
                      <a:lnTo>
                        <a:pt x="7" y="9"/>
                      </a:lnTo>
                      <a:lnTo>
                        <a:pt x="8" y="9"/>
                      </a:lnTo>
                      <a:lnTo>
                        <a:pt x="10" y="9"/>
                      </a:lnTo>
                      <a:lnTo>
                        <a:pt x="12" y="7"/>
                      </a:lnTo>
                      <a:lnTo>
                        <a:pt x="13" y="5"/>
                      </a:lnTo>
                      <a:lnTo>
                        <a:pt x="15" y="4"/>
                      </a:lnTo>
                      <a:lnTo>
                        <a:pt x="12" y="4"/>
                      </a:lnTo>
                      <a:lnTo>
                        <a:pt x="10" y="4"/>
                      </a:lnTo>
                      <a:lnTo>
                        <a:pt x="8" y="4"/>
                      </a:lnTo>
                      <a:lnTo>
                        <a:pt x="8" y="5"/>
                      </a:lnTo>
                      <a:lnTo>
                        <a:pt x="7" y="5"/>
                      </a:lnTo>
                      <a:lnTo>
                        <a:pt x="8" y="4"/>
                      </a:lnTo>
                      <a:lnTo>
                        <a:pt x="8" y="2"/>
                      </a:lnTo>
                      <a:lnTo>
                        <a:pt x="7" y="2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2" y="4"/>
                      </a:lnTo>
                      <a:lnTo>
                        <a:pt x="3" y="2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2" name="Freeform 216">
                  <a:extLst>
                    <a:ext uri="{FF2B5EF4-FFF2-40B4-BE49-F238E27FC236}">
                      <a16:creationId xmlns:a16="http://schemas.microsoft.com/office/drawing/2014/main" id="{017125AF-AE80-A74F-B0C8-BD05CE0F6A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" y="28"/>
                  <a:ext cx="15" cy="9"/>
                </a:xfrm>
                <a:custGeom>
                  <a:avLst/>
                  <a:gdLst>
                    <a:gd name="T0" fmla="*/ 3 w 15"/>
                    <a:gd name="T1" fmla="*/ 4 h 9"/>
                    <a:gd name="T2" fmla="*/ 3 w 15"/>
                    <a:gd name="T3" fmla="*/ 5 h 9"/>
                    <a:gd name="T4" fmla="*/ 2 w 15"/>
                    <a:gd name="T5" fmla="*/ 5 h 9"/>
                    <a:gd name="T6" fmla="*/ 3 w 15"/>
                    <a:gd name="T7" fmla="*/ 5 h 9"/>
                    <a:gd name="T8" fmla="*/ 5 w 15"/>
                    <a:gd name="T9" fmla="*/ 7 h 9"/>
                    <a:gd name="T10" fmla="*/ 7 w 15"/>
                    <a:gd name="T11" fmla="*/ 9 h 9"/>
                    <a:gd name="T12" fmla="*/ 8 w 15"/>
                    <a:gd name="T13" fmla="*/ 9 h 9"/>
                    <a:gd name="T14" fmla="*/ 10 w 15"/>
                    <a:gd name="T15" fmla="*/ 9 h 9"/>
                    <a:gd name="T16" fmla="*/ 12 w 15"/>
                    <a:gd name="T17" fmla="*/ 7 h 9"/>
                    <a:gd name="T18" fmla="*/ 13 w 15"/>
                    <a:gd name="T19" fmla="*/ 5 h 9"/>
                    <a:gd name="T20" fmla="*/ 15 w 15"/>
                    <a:gd name="T21" fmla="*/ 4 h 9"/>
                    <a:gd name="T22" fmla="*/ 12 w 15"/>
                    <a:gd name="T23" fmla="*/ 4 h 9"/>
                    <a:gd name="T24" fmla="*/ 10 w 15"/>
                    <a:gd name="T25" fmla="*/ 4 h 9"/>
                    <a:gd name="T26" fmla="*/ 8 w 15"/>
                    <a:gd name="T27" fmla="*/ 4 h 9"/>
                    <a:gd name="T28" fmla="*/ 8 w 15"/>
                    <a:gd name="T29" fmla="*/ 5 h 9"/>
                    <a:gd name="T30" fmla="*/ 7 w 15"/>
                    <a:gd name="T31" fmla="*/ 5 h 9"/>
                    <a:gd name="T32" fmla="*/ 8 w 15"/>
                    <a:gd name="T33" fmla="*/ 4 h 9"/>
                    <a:gd name="T34" fmla="*/ 8 w 15"/>
                    <a:gd name="T35" fmla="*/ 2 h 9"/>
                    <a:gd name="T36" fmla="*/ 7 w 15"/>
                    <a:gd name="T37" fmla="*/ 2 h 9"/>
                    <a:gd name="T38" fmla="*/ 3 w 15"/>
                    <a:gd name="T39" fmla="*/ 2 h 9"/>
                    <a:gd name="T40" fmla="*/ 2 w 15"/>
                    <a:gd name="T41" fmla="*/ 0 h 9"/>
                    <a:gd name="T42" fmla="*/ 0 w 15"/>
                    <a:gd name="T43" fmla="*/ 2 h 9"/>
                    <a:gd name="T44" fmla="*/ 2 w 15"/>
                    <a:gd name="T45" fmla="*/ 4 h 9"/>
                    <a:gd name="T46" fmla="*/ 3 w 15"/>
                    <a:gd name="T47" fmla="*/ 2 h 9"/>
                    <a:gd name="T48" fmla="*/ 3 w 15"/>
                    <a:gd name="T49" fmla="*/ 4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5" h="9">
                      <a:moveTo>
                        <a:pt x="3" y="4"/>
                      </a:moveTo>
                      <a:lnTo>
                        <a:pt x="3" y="5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5" y="7"/>
                      </a:lnTo>
                      <a:lnTo>
                        <a:pt x="7" y="9"/>
                      </a:lnTo>
                      <a:lnTo>
                        <a:pt x="8" y="9"/>
                      </a:lnTo>
                      <a:lnTo>
                        <a:pt x="10" y="9"/>
                      </a:lnTo>
                      <a:lnTo>
                        <a:pt x="12" y="7"/>
                      </a:lnTo>
                      <a:lnTo>
                        <a:pt x="13" y="5"/>
                      </a:lnTo>
                      <a:lnTo>
                        <a:pt x="15" y="4"/>
                      </a:lnTo>
                      <a:lnTo>
                        <a:pt x="12" y="4"/>
                      </a:lnTo>
                      <a:lnTo>
                        <a:pt x="10" y="4"/>
                      </a:lnTo>
                      <a:lnTo>
                        <a:pt x="8" y="4"/>
                      </a:lnTo>
                      <a:lnTo>
                        <a:pt x="8" y="5"/>
                      </a:lnTo>
                      <a:lnTo>
                        <a:pt x="7" y="5"/>
                      </a:lnTo>
                      <a:lnTo>
                        <a:pt x="8" y="4"/>
                      </a:lnTo>
                      <a:lnTo>
                        <a:pt x="8" y="2"/>
                      </a:lnTo>
                      <a:lnTo>
                        <a:pt x="7" y="2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2" y="4"/>
                      </a:lnTo>
                      <a:lnTo>
                        <a:pt x="3" y="2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99" name="Group 1798">
                <a:extLst>
                  <a:ext uri="{FF2B5EF4-FFF2-40B4-BE49-F238E27FC236}">
                    <a16:creationId xmlns:a16="http://schemas.microsoft.com/office/drawing/2014/main" id="{E6E9A0DA-43B2-9C45-82D4-8D802C665DF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65" y="25"/>
                <a:ext cx="9" cy="5"/>
                <a:chOff x="465" y="25"/>
                <a:chExt cx="9" cy="5"/>
              </a:xfrm>
            </p:grpSpPr>
            <p:sp>
              <p:nvSpPr>
                <p:cNvPr id="1839" name="Freeform 213">
                  <a:extLst>
                    <a:ext uri="{FF2B5EF4-FFF2-40B4-BE49-F238E27FC236}">
                      <a16:creationId xmlns:a16="http://schemas.microsoft.com/office/drawing/2014/main" id="{DFFCD9C6-5214-B244-9FB7-982581F75C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5" y="25"/>
                  <a:ext cx="9" cy="5"/>
                </a:xfrm>
                <a:custGeom>
                  <a:avLst/>
                  <a:gdLst>
                    <a:gd name="T0" fmla="*/ 4 w 9"/>
                    <a:gd name="T1" fmla="*/ 2 h 5"/>
                    <a:gd name="T2" fmla="*/ 4 w 9"/>
                    <a:gd name="T3" fmla="*/ 0 h 5"/>
                    <a:gd name="T4" fmla="*/ 2 w 9"/>
                    <a:gd name="T5" fmla="*/ 0 h 5"/>
                    <a:gd name="T6" fmla="*/ 0 w 9"/>
                    <a:gd name="T7" fmla="*/ 0 h 5"/>
                    <a:gd name="T8" fmla="*/ 2 w 9"/>
                    <a:gd name="T9" fmla="*/ 2 h 5"/>
                    <a:gd name="T10" fmla="*/ 4 w 9"/>
                    <a:gd name="T11" fmla="*/ 3 h 5"/>
                    <a:gd name="T12" fmla="*/ 4 w 9"/>
                    <a:gd name="T13" fmla="*/ 5 h 5"/>
                    <a:gd name="T14" fmla="*/ 6 w 9"/>
                    <a:gd name="T15" fmla="*/ 5 h 5"/>
                    <a:gd name="T16" fmla="*/ 7 w 9"/>
                    <a:gd name="T17" fmla="*/ 5 h 5"/>
                    <a:gd name="T18" fmla="*/ 9 w 9"/>
                    <a:gd name="T19" fmla="*/ 5 h 5"/>
                    <a:gd name="T20" fmla="*/ 9 w 9"/>
                    <a:gd name="T21" fmla="*/ 3 h 5"/>
                    <a:gd name="T22" fmla="*/ 7 w 9"/>
                    <a:gd name="T23" fmla="*/ 3 h 5"/>
                    <a:gd name="T24" fmla="*/ 6 w 9"/>
                    <a:gd name="T25" fmla="*/ 2 h 5"/>
                    <a:gd name="T26" fmla="*/ 4 w 9"/>
                    <a:gd name="T2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" h="5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4" y="3"/>
                      </a:lnTo>
                      <a:lnTo>
                        <a:pt x="4" y="5"/>
                      </a:lnTo>
                      <a:lnTo>
                        <a:pt x="6" y="5"/>
                      </a:lnTo>
                      <a:lnTo>
                        <a:pt x="7" y="5"/>
                      </a:lnTo>
                      <a:lnTo>
                        <a:pt x="9" y="5"/>
                      </a:lnTo>
                      <a:lnTo>
                        <a:pt x="9" y="3"/>
                      </a:lnTo>
                      <a:lnTo>
                        <a:pt x="7" y="3"/>
                      </a:lnTo>
                      <a:lnTo>
                        <a:pt x="6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0" name="Freeform 214">
                  <a:extLst>
                    <a:ext uri="{FF2B5EF4-FFF2-40B4-BE49-F238E27FC236}">
                      <a16:creationId xmlns:a16="http://schemas.microsoft.com/office/drawing/2014/main" id="{B9B05166-A346-F040-BABB-87FDC42FA1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5" y="25"/>
                  <a:ext cx="9" cy="5"/>
                </a:xfrm>
                <a:custGeom>
                  <a:avLst/>
                  <a:gdLst>
                    <a:gd name="T0" fmla="*/ 4 w 9"/>
                    <a:gd name="T1" fmla="*/ 2 h 5"/>
                    <a:gd name="T2" fmla="*/ 4 w 9"/>
                    <a:gd name="T3" fmla="*/ 0 h 5"/>
                    <a:gd name="T4" fmla="*/ 2 w 9"/>
                    <a:gd name="T5" fmla="*/ 0 h 5"/>
                    <a:gd name="T6" fmla="*/ 0 w 9"/>
                    <a:gd name="T7" fmla="*/ 0 h 5"/>
                    <a:gd name="T8" fmla="*/ 2 w 9"/>
                    <a:gd name="T9" fmla="*/ 2 h 5"/>
                    <a:gd name="T10" fmla="*/ 4 w 9"/>
                    <a:gd name="T11" fmla="*/ 3 h 5"/>
                    <a:gd name="T12" fmla="*/ 4 w 9"/>
                    <a:gd name="T13" fmla="*/ 5 h 5"/>
                    <a:gd name="T14" fmla="*/ 6 w 9"/>
                    <a:gd name="T15" fmla="*/ 5 h 5"/>
                    <a:gd name="T16" fmla="*/ 7 w 9"/>
                    <a:gd name="T17" fmla="*/ 5 h 5"/>
                    <a:gd name="T18" fmla="*/ 9 w 9"/>
                    <a:gd name="T19" fmla="*/ 5 h 5"/>
                    <a:gd name="T20" fmla="*/ 9 w 9"/>
                    <a:gd name="T21" fmla="*/ 3 h 5"/>
                    <a:gd name="T22" fmla="*/ 7 w 9"/>
                    <a:gd name="T23" fmla="*/ 3 h 5"/>
                    <a:gd name="T24" fmla="*/ 6 w 9"/>
                    <a:gd name="T25" fmla="*/ 2 h 5"/>
                    <a:gd name="T26" fmla="*/ 4 w 9"/>
                    <a:gd name="T2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" h="5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4" y="3"/>
                      </a:lnTo>
                      <a:lnTo>
                        <a:pt x="4" y="5"/>
                      </a:lnTo>
                      <a:lnTo>
                        <a:pt x="6" y="5"/>
                      </a:lnTo>
                      <a:lnTo>
                        <a:pt x="7" y="5"/>
                      </a:lnTo>
                      <a:lnTo>
                        <a:pt x="9" y="5"/>
                      </a:lnTo>
                      <a:lnTo>
                        <a:pt x="9" y="3"/>
                      </a:lnTo>
                      <a:lnTo>
                        <a:pt x="7" y="3"/>
                      </a:lnTo>
                      <a:lnTo>
                        <a:pt x="6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00" name="Group 1799">
                <a:extLst>
                  <a:ext uri="{FF2B5EF4-FFF2-40B4-BE49-F238E27FC236}">
                    <a16:creationId xmlns:a16="http://schemas.microsoft.com/office/drawing/2014/main" id="{52D2D64E-E4F1-644A-A7CD-C7CE8BAD928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81" y="25"/>
                <a:ext cx="5" cy="5"/>
                <a:chOff x="481" y="25"/>
                <a:chExt cx="5" cy="5"/>
              </a:xfrm>
            </p:grpSpPr>
            <p:sp>
              <p:nvSpPr>
                <p:cNvPr id="1837" name="Freeform 211">
                  <a:extLst>
                    <a:ext uri="{FF2B5EF4-FFF2-40B4-BE49-F238E27FC236}">
                      <a16:creationId xmlns:a16="http://schemas.microsoft.com/office/drawing/2014/main" id="{77E9F1C2-17E8-2341-9D9E-F8FFEAE9B3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" y="25"/>
                  <a:ext cx="5" cy="5"/>
                </a:xfrm>
                <a:custGeom>
                  <a:avLst/>
                  <a:gdLst>
                    <a:gd name="T0" fmla="*/ 0 w 5"/>
                    <a:gd name="T1" fmla="*/ 2 h 5"/>
                    <a:gd name="T2" fmla="*/ 0 w 5"/>
                    <a:gd name="T3" fmla="*/ 3 h 5"/>
                    <a:gd name="T4" fmla="*/ 1 w 5"/>
                    <a:gd name="T5" fmla="*/ 5 h 5"/>
                    <a:gd name="T6" fmla="*/ 1 w 5"/>
                    <a:gd name="T7" fmla="*/ 3 h 5"/>
                    <a:gd name="T8" fmla="*/ 1 w 5"/>
                    <a:gd name="T9" fmla="*/ 5 h 5"/>
                    <a:gd name="T10" fmla="*/ 3 w 5"/>
                    <a:gd name="T11" fmla="*/ 5 h 5"/>
                    <a:gd name="T12" fmla="*/ 5 w 5"/>
                    <a:gd name="T13" fmla="*/ 3 h 5"/>
                    <a:gd name="T14" fmla="*/ 5 w 5"/>
                    <a:gd name="T15" fmla="*/ 2 h 5"/>
                    <a:gd name="T16" fmla="*/ 3 w 5"/>
                    <a:gd name="T17" fmla="*/ 2 h 5"/>
                    <a:gd name="T18" fmla="*/ 3 w 5"/>
                    <a:gd name="T19" fmla="*/ 0 h 5"/>
                    <a:gd name="T20" fmla="*/ 0 w 5"/>
                    <a:gd name="T21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5">
                      <a:moveTo>
                        <a:pt x="0" y="2"/>
                      </a:move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8" name="Freeform 212">
                  <a:extLst>
                    <a:ext uri="{FF2B5EF4-FFF2-40B4-BE49-F238E27FC236}">
                      <a16:creationId xmlns:a16="http://schemas.microsoft.com/office/drawing/2014/main" id="{11B1FD0B-739D-9D4B-A574-DBD2AD6A76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" y="25"/>
                  <a:ext cx="5" cy="5"/>
                </a:xfrm>
                <a:custGeom>
                  <a:avLst/>
                  <a:gdLst>
                    <a:gd name="T0" fmla="*/ 0 w 5"/>
                    <a:gd name="T1" fmla="*/ 2 h 5"/>
                    <a:gd name="T2" fmla="*/ 0 w 5"/>
                    <a:gd name="T3" fmla="*/ 3 h 5"/>
                    <a:gd name="T4" fmla="*/ 1 w 5"/>
                    <a:gd name="T5" fmla="*/ 5 h 5"/>
                    <a:gd name="T6" fmla="*/ 1 w 5"/>
                    <a:gd name="T7" fmla="*/ 3 h 5"/>
                    <a:gd name="T8" fmla="*/ 1 w 5"/>
                    <a:gd name="T9" fmla="*/ 5 h 5"/>
                    <a:gd name="T10" fmla="*/ 3 w 5"/>
                    <a:gd name="T11" fmla="*/ 5 h 5"/>
                    <a:gd name="T12" fmla="*/ 5 w 5"/>
                    <a:gd name="T13" fmla="*/ 3 h 5"/>
                    <a:gd name="T14" fmla="*/ 5 w 5"/>
                    <a:gd name="T15" fmla="*/ 2 h 5"/>
                    <a:gd name="T16" fmla="*/ 3 w 5"/>
                    <a:gd name="T17" fmla="*/ 2 h 5"/>
                    <a:gd name="T18" fmla="*/ 3 w 5"/>
                    <a:gd name="T19" fmla="*/ 0 h 5"/>
                    <a:gd name="T20" fmla="*/ 0 w 5"/>
                    <a:gd name="T21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5">
                      <a:moveTo>
                        <a:pt x="0" y="2"/>
                      </a:move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01" name="Group 1800">
                <a:extLst>
                  <a:ext uri="{FF2B5EF4-FFF2-40B4-BE49-F238E27FC236}">
                    <a16:creationId xmlns:a16="http://schemas.microsoft.com/office/drawing/2014/main" id="{B9FDD1B6-0130-BD4A-A985-F9F9ED115D8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1" y="22"/>
                <a:ext cx="8" cy="3"/>
                <a:chOff x="511" y="22"/>
                <a:chExt cx="8" cy="3"/>
              </a:xfrm>
            </p:grpSpPr>
            <p:sp>
              <p:nvSpPr>
                <p:cNvPr id="1835" name="Freeform 209">
                  <a:extLst>
                    <a:ext uri="{FF2B5EF4-FFF2-40B4-BE49-F238E27FC236}">
                      <a16:creationId xmlns:a16="http://schemas.microsoft.com/office/drawing/2014/main" id="{9E3AB6AE-A592-254F-AA08-FFF0D01DD4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" y="22"/>
                  <a:ext cx="8" cy="3"/>
                </a:xfrm>
                <a:custGeom>
                  <a:avLst/>
                  <a:gdLst>
                    <a:gd name="T0" fmla="*/ 5 w 8"/>
                    <a:gd name="T1" fmla="*/ 3 h 3"/>
                    <a:gd name="T2" fmla="*/ 7 w 8"/>
                    <a:gd name="T3" fmla="*/ 3 h 3"/>
                    <a:gd name="T4" fmla="*/ 8 w 8"/>
                    <a:gd name="T5" fmla="*/ 3 h 3"/>
                    <a:gd name="T6" fmla="*/ 8 w 8"/>
                    <a:gd name="T7" fmla="*/ 1 h 3"/>
                    <a:gd name="T8" fmla="*/ 7 w 8"/>
                    <a:gd name="T9" fmla="*/ 0 h 3"/>
                    <a:gd name="T10" fmla="*/ 5 w 8"/>
                    <a:gd name="T11" fmla="*/ 0 h 3"/>
                    <a:gd name="T12" fmla="*/ 3 w 8"/>
                    <a:gd name="T13" fmla="*/ 0 h 3"/>
                    <a:gd name="T14" fmla="*/ 2 w 8"/>
                    <a:gd name="T15" fmla="*/ 0 h 3"/>
                    <a:gd name="T16" fmla="*/ 0 w 8"/>
                    <a:gd name="T17" fmla="*/ 0 h 3"/>
                    <a:gd name="T18" fmla="*/ 0 w 8"/>
                    <a:gd name="T19" fmla="*/ 1 h 3"/>
                    <a:gd name="T20" fmla="*/ 3 w 8"/>
                    <a:gd name="T21" fmla="*/ 3 h 3"/>
                    <a:gd name="T22" fmla="*/ 5 w 8"/>
                    <a:gd name="T2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3">
                      <a:moveTo>
                        <a:pt x="5" y="3"/>
                      </a:moveTo>
                      <a:lnTo>
                        <a:pt x="7" y="3"/>
                      </a:lnTo>
                      <a:lnTo>
                        <a:pt x="8" y="3"/>
                      </a:lnTo>
                      <a:lnTo>
                        <a:pt x="8" y="1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" y="3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6" name="Freeform 210">
                  <a:extLst>
                    <a:ext uri="{FF2B5EF4-FFF2-40B4-BE49-F238E27FC236}">
                      <a16:creationId xmlns:a16="http://schemas.microsoft.com/office/drawing/2014/main" id="{3934610A-1113-9A4B-81FE-102AE2573A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" y="22"/>
                  <a:ext cx="8" cy="3"/>
                </a:xfrm>
                <a:custGeom>
                  <a:avLst/>
                  <a:gdLst>
                    <a:gd name="T0" fmla="*/ 5 w 8"/>
                    <a:gd name="T1" fmla="*/ 3 h 3"/>
                    <a:gd name="T2" fmla="*/ 7 w 8"/>
                    <a:gd name="T3" fmla="*/ 3 h 3"/>
                    <a:gd name="T4" fmla="*/ 8 w 8"/>
                    <a:gd name="T5" fmla="*/ 3 h 3"/>
                    <a:gd name="T6" fmla="*/ 8 w 8"/>
                    <a:gd name="T7" fmla="*/ 1 h 3"/>
                    <a:gd name="T8" fmla="*/ 7 w 8"/>
                    <a:gd name="T9" fmla="*/ 0 h 3"/>
                    <a:gd name="T10" fmla="*/ 5 w 8"/>
                    <a:gd name="T11" fmla="*/ 0 h 3"/>
                    <a:gd name="T12" fmla="*/ 3 w 8"/>
                    <a:gd name="T13" fmla="*/ 0 h 3"/>
                    <a:gd name="T14" fmla="*/ 2 w 8"/>
                    <a:gd name="T15" fmla="*/ 0 h 3"/>
                    <a:gd name="T16" fmla="*/ 0 w 8"/>
                    <a:gd name="T17" fmla="*/ 0 h 3"/>
                    <a:gd name="T18" fmla="*/ 0 w 8"/>
                    <a:gd name="T19" fmla="*/ 1 h 3"/>
                    <a:gd name="T20" fmla="*/ 3 w 8"/>
                    <a:gd name="T21" fmla="*/ 3 h 3"/>
                    <a:gd name="T22" fmla="*/ 5 w 8"/>
                    <a:gd name="T2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3">
                      <a:moveTo>
                        <a:pt x="5" y="3"/>
                      </a:moveTo>
                      <a:lnTo>
                        <a:pt x="7" y="3"/>
                      </a:lnTo>
                      <a:lnTo>
                        <a:pt x="8" y="3"/>
                      </a:lnTo>
                      <a:lnTo>
                        <a:pt x="8" y="1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" y="3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02" name="Group 1801">
                <a:extLst>
                  <a:ext uri="{FF2B5EF4-FFF2-40B4-BE49-F238E27FC236}">
                    <a16:creationId xmlns:a16="http://schemas.microsoft.com/office/drawing/2014/main" id="{BB23B55D-7EF7-B643-ACA9-207AE0194F4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4" y="11"/>
                <a:ext cx="17" cy="7"/>
                <a:chOff x="504" y="11"/>
                <a:chExt cx="17" cy="7"/>
              </a:xfrm>
            </p:grpSpPr>
            <p:sp>
              <p:nvSpPr>
                <p:cNvPr id="1833" name="Freeform 207">
                  <a:extLst>
                    <a:ext uri="{FF2B5EF4-FFF2-40B4-BE49-F238E27FC236}">
                      <a16:creationId xmlns:a16="http://schemas.microsoft.com/office/drawing/2014/main" id="{18014541-1736-2449-A294-94611B1323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4" y="11"/>
                  <a:ext cx="17" cy="7"/>
                </a:xfrm>
                <a:custGeom>
                  <a:avLst/>
                  <a:gdLst>
                    <a:gd name="T0" fmla="*/ 5 w 17"/>
                    <a:gd name="T1" fmla="*/ 2 h 7"/>
                    <a:gd name="T2" fmla="*/ 4 w 17"/>
                    <a:gd name="T3" fmla="*/ 2 h 7"/>
                    <a:gd name="T4" fmla="*/ 2 w 17"/>
                    <a:gd name="T5" fmla="*/ 4 h 7"/>
                    <a:gd name="T6" fmla="*/ 0 w 17"/>
                    <a:gd name="T7" fmla="*/ 4 h 7"/>
                    <a:gd name="T8" fmla="*/ 4 w 17"/>
                    <a:gd name="T9" fmla="*/ 4 h 7"/>
                    <a:gd name="T10" fmla="*/ 4 w 17"/>
                    <a:gd name="T11" fmla="*/ 5 h 7"/>
                    <a:gd name="T12" fmla="*/ 4 w 17"/>
                    <a:gd name="T13" fmla="*/ 7 h 7"/>
                    <a:gd name="T14" fmla="*/ 5 w 17"/>
                    <a:gd name="T15" fmla="*/ 5 h 7"/>
                    <a:gd name="T16" fmla="*/ 5 w 17"/>
                    <a:gd name="T17" fmla="*/ 7 h 7"/>
                    <a:gd name="T18" fmla="*/ 9 w 17"/>
                    <a:gd name="T19" fmla="*/ 5 h 7"/>
                    <a:gd name="T20" fmla="*/ 9 w 17"/>
                    <a:gd name="T21" fmla="*/ 7 h 7"/>
                    <a:gd name="T22" fmla="*/ 10 w 17"/>
                    <a:gd name="T23" fmla="*/ 7 h 7"/>
                    <a:gd name="T24" fmla="*/ 12 w 17"/>
                    <a:gd name="T25" fmla="*/ 5 h 7"/>
                    <a:gd name="T26" fmla="*/ 14 w 17"/>
                    <a:gd name="T27" fmla="*/ 5 h 7"/>
                    <a:gd name="T28" fmla="*/ 15 w 17"/>
                    <a:gd name="T29" fmla="*/ 5 h 7"/>
                    <a:gd name="T30" fmla="*/ 15 w 17"/>
                    <a:gd name="T31" fmla="*/ 4 h 7"/>
                    <a:gd name="T32" fmla="*/ 17 w 17"/>
                    <a:gd name="T33" fmla="*/ 4 h 7"/>
                    <a:gd name="T34" fmla="*/ 17 w 17"/>
                    <a:gd name="T35" fmla="*/ 2 h 7"/>
                    <a:gd name="T36" fmla="*/ 15 w 17"/>
                    <a:gd name="T37" fmla="*/ 2 h 7"/>
                    <a:gd name="T38" fmla="*/ 14 w 17"/>
                    <a:gd name="T39" fmla="*/ 0 h 7"/>
                    <a:gd name="T40" fmla="*/ 12 w 17"/>
                    <a:gd name="T41" fmla="*/ 0 h 7"/>
                    <a:gd name="T42" fmla="*/ 12 w 17"/>
                    <a:gd name="T43" fmla="*/ 2 h 7"/>
                    <a:gd name="T44" fmla="*/ 10 w 17"/>
                    <a:gd name="T45" fmla="*/ 2 h 7"/>
                    <a:gd name="T46" fmla="*/ 9 w 17"/>
                    <a:gd name="T47" fmla="*/ 2 h 7"/>
                    <a:gd name="T48" fmla="*/ 9 w 17"/>
                    <a:gd name="T49" fmla="*/ 0 h 7"/>
                    <a:gd name="T50" fmla="*/ 9 w 17"/>
                    <a:gd name="T51" fmla="*/ 2 h 7"/>
                    <a:gd name="T52" fmla="*/ 7 w 17"/>
                    <a:gd name="T53" fmla="*/ 2 h 7"/>
                    <a:gd name="T54" fmla="*/ 7 w 17"/>
                    <a:gd name="T55" fmla="*/ 0 h 7"/>
                    <a:gd name="T56" fmla="*/ 7 w 17"/>
                    <a:gd name="T57" fmla="*/ 2 h 7"/>
                    <a:gd name="T58" fmla="*/ 5 w 17"/>
                    <a:gd name="T59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7" h="7">
                      <a:moveTo>
                        <a:pt x="5" y="2"/>
                      </a:moveTo>
                      <a:lnTo>
                        <a:pt x="4" y="2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4" y="7"/>
                      </a:lnTo>
                      <a:lnTo>
                        <a:pt x="5" y="5"/>
                      </a:lnTo>
                      <a:lnTo>
                        <a:pt x="5" y="7"/>
                      </a:lnTo>
                      <a:lnTo>
                        <a:pt x="9" y="5"/>
                      </a:lnTo>
                      <a:lnTo>
                        <a:pt x="9" y="7"/>
                      </a:lnTo>
                      <a:lnTo>
                        <a:pt x="10" y="7"/>
                      </a:lnTo>
                      <a:lnTo>
                        <a:pt x="12" y="5"/>
                      </a:lnTo>
                      <a:lnTo>
                        <a:pt x="14" y="5"/>
                      </a:lnTo>
                      <a:lnTo>
                        <a:pt x="15" y="5"/>
                      </a:lnTo>
                      <a:lnTo>
                        <a:pt x="15" y="4"/>
                      </a:lnTo>
                      <a:lnTo>
                        <a:pt x="17" y="4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4" y="0"/>
                      </a:lnTo>
                      <a:lnTo>
                        <a:pt x="12" y="0"/>
                      </a:lnTo>
                      <a:lnTo>
                        <a:pt x="12" y="2"/>
                      </a:lnTo>
                      <a:lnTo>
                        <a:pt x="10" y="2"/>
                      </a:lnTo>
                      <a:lnTo>
                        <a:pt x="9" y="2"/>
                      </a:lnTo>
                      <a:lnTo>
                        <a:pt x="9" y="0"/>
                      </a:lnTo>
                      <a:lnTo>
                        <a:pt x="9" y="2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7" y="2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4" name="Freeform 208">
                  <a:extLst>
                    <a:ext uri="{FF2B5EF4-FFF2-40B4-BE49-F238E27FC236}">
                      <a16:creationId xmlns:a16="http://schemas.microsoft.com/office/drawing/2014/main" id="{3AA4F364-B88D-E147-A9E6-AB270F399A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4" y="11"/>
                  <a:ext cx="17" cy="7"/>
                </a:xfrm>
                <a:custGeom>
                  <a:avLst/>
                  <a:gdLst>
                    <a:gd name="T0" fmla="*/ 5 w 17"/>
                    <a:gd name="T1" fmla="*/ 2 h 7"/>
                    <a:gd name="T2" fmla="*/ 4 w 17"/>
                    <a:gd name="T3" fmla="*/ 2 h 7"/>
                    <a:gd name="T4" fmla="*/ 2 w 17"/>
                    <a:gd name="T5" fmla="*/ 4 h 7"/>
                    <a:gd name="T6" fmla="*/ 0 w 17"/>
                    <a:gd name="T7" fmla="*/ 4 h 7"/>
                    <a:gd name="T8" fmla="*/ 4 w 17"/>
                    <a:gd name="T9" fmla="*/ 4 h 7"/>
                    <a:gd name="T10" fmla="*/ 4 w 17"/>
                    <a:gd name="T11" fmla="*/ 5 h 7"/>
                    <a:gd name="T12" fmla="*/ 4 w 17"/>
                    <a:gd name="T13" fmla="*/ 7 h 7"/>
                    <a:gd name="T14" fmla="*/ 5 w 17"/>
                    <a:gd name="T15" fmla="*/ 5 h 7"/>
                    <a:gd name="T16" fmla="*/ 5 w 17"/>
                    <a:gd name="T17" fmla="*/ 7 h 7"/>
                    <a:gd name="T18" fmla="*/ 9 w 17"/>
                    <a:gd name="T19" fmla="*/ 5 h 7"/>
                    <a:gd name="T20" fmla="*/ 9 w 17"/>
                    <a:gd name="T21" fmla="*/ 7 h 7"/>
                    <a:gd name="T22" fmla="*/ 10 w 17"/>
                    <a:gd name="T23" fmla="*/ 7 h 7"/>
                    <a:gd name="T24" fmla="*/ 12 w 17"/>
                    <a:gd name="T25" fmla="*/ 5 h 7"/>
                    <a:gd name="T26" fmla="*/ 14 w 17"/>
                    <a:gd name="T27" fmla="*/ 5 h 7"/>
                    <a:gd name="T28" fmla="*/ 15 w 17"/>
                    <a:gd name="T29" fmla="*/ 5 h 7"/>
                    <a:gd name="T30" fmla="*/ 15 w 17"/>
                    <a:gd name="T31" fmla="*/ 4 h 7"/>
                    <a:gd name="T32" fmla="*/ 17 w 17"/>
                    <a:gd name="T33" fmla="*/ 4 h 7"/>
                    <a:gd name="T34" fmla="*/ 17 w 17"/>
                    <a:gd name="T35" fmla="*/ 2 h 7"/>
                    <a:gd name="T36" fmla="*/ 15 w 17"/>
                    <a:gd name="T37" fmla="*/ 2 h 7"/>
                    <a:gd name="T38" fmla="*/ 14 w 17"/>
                    <a:gd name="T39" fmla="*/ 0 h 7"/>
                    <a:gd name="T40" fmla="*/ 12 w 17"/>
                    <a:gd name="T41" fmla="*/ 0 h 7"/>
                    <a:gd name="T42" fmla="*/ 12 w 17"/>
                    <a:gd name="T43" fmla="*/ 2 h 7"/>
                    <a:gd name="T44" fmla="*/ 10 w 17"/>
                    <a:gd name="T45" fmla="*/ 2 h 7"/>
                    <a:gd name="T46" fmla="*/ 9 w 17"/>
                    <a:gd name="T47" fmla="*/ 2 h 7"/>
                    <a:gd name="T48" fmla="*/ 9 w 17"/>
                    <a:gd name="T49" fmla="*/ 0 h 7"/>
                    <a:gd name="T50" fmla="*/ 9 w 17"/>
                    <a:gd name="T51" fmla="*/ 2 h 7"/>
                    <a:gd name="T52" fmla="*/ 7 w 17"/>
                    <a:gd name="T53" fmla="*/ 2 h 7"/>
                    <a:gd name="T54" fmla="*/ 7 w 17"/>
                    <a:gd name="T55" fmla="*/ 0 h 7"/>
                    <a:gd name="T56" fmla="*/ 7 w 17"/>
                    <a:gd name="T57" fmla="*/ 2 h 7"/>
                    <a:gd name="T58" fmla="*/ 5 w 17"/>
                    <a:gd name="T59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7" h="7">
                      <a:moveTo>
                        <a:pt x="5" y="2"/>
                      </a:moveTo>
                      <a:lnTo>
                        <a:pt x="4" y="2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4" y="7"/>
                      </a:lnTo>
                      <a:lnTo>
                        <a:pt x="5" y="5"/>
                      </a:lnTo>
                      <a:lnTo>
                        <a:pt x="5" y="7"/>
                      </a:lnTo>
                      <a:lnTo>
                        <a:pt x="9" y="5"/>
                      </a:lnTo>
                      <a:lnTo>
                        <a:pt x="9" y="7"/>
                      </a:lnTo>
                      <a:lnTo>
                        <a:pt x="10" y="7"/>
                      </a:lnTo>
                      <a:lnTo>
                        <a:pt x="12" y="5"/>
                      </a:lnTo>
                      <a:lnTo>
                        <a:pt x="14" y="5"/>
                      </a:lnTo>
                      <a:lnTo>
                        <a:pt x="15" y="5"/>
                      </a:lnTo>
                      <a:lnTo>
                        <a:pt x="15" y="4"/>
                      </a:lnTo>
                      <a:lnTo>
                        <a:pt x="17" y="4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4" y="0"/>
                      </a:lnTo>
                      <a:lnTo>
                        <a:pt x="12" y="0"/>
                      </a:lnTo>
                      <a:lnTo>
                        <a:pt x="12" y="2"/>
                      </a:lnTo>
                      <a:lnTo>
                        <a:pt x="10" y="2"/>
                      </a:lnTo>
                      <a:lnTo>
                        <a:pt x="9" y="2"/>
                      </a:lnTo>
                      <a:lnTo>
                        <a:pt x="9" y="0"/>
                      </a:lnTo>
                      <a:lnTo>
                        <a:pt x="9" y="2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7" y="2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03" name="Group 1802">
                <a:extLst>
                  <a:ext uri="{FF2B5EF4-FFF2-40B4-BE49-F238E27FC236}">
                    <a16:creationId xmlns:a16="http://schemas.microsoft.com/office/drawing/2014/main" id="{F647F65A-F272-1C41-9543-6BF59362677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9" y="16"/>
                <a:ext cx="11" cy="7"/>
                <a:chOff x="519" y="16"/>
                <a:chExt cx="11" cy="7"/>
              </a:xfrm>
            </p:grpSpPr>
            <p:sp>
              <p:nvSpPr>
                <p:cNvPr id="1831" name="Freeform 205">
                  <a:extLst>
                    <a:ext uri="{FF2B5EF4-FFF2-40B4-BE49-F238E27FC236}">
                      <a16:creationId xmlns:a16="http://schemas.microsoft.com/office/drawing/2014/main" id="{03AAE529-B0CC-E74C-B832-6E5689516A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9" y="16"/>
                  <a:ext cx="11" cy="7"/>
                </a:xfrm>
                <a:custGeom>
                  <a:avLst/>
                  <a:gdLst>
                    <a:gd name="T0" fmla="*/ 9 w 11"/>
                    <a:gd name="T1" fmla="*/ 4 h 7"/>
                    <a:gd name="T2" fmla="*/ 11 w 11"/>
                    <a:gd name="T3" fmla="*/ 2 h 7"/>
                    <a:gd name="T4" fmla="*/ 9 w 11"/>
                    <a:gd name="T5" fmla="*/ 2 h 7"/>
                    <a:gd name="T6" fmla="*/ 9 w 11"/>
                    <a:gd name="T7" fmla="*/ 0 h 7"/>
                    <a:gd name="T8" fmla="*/ 7 w 11"/>
                    <a:gd name="T9" fmla="*/ 0 h 7"/>
                    <a:gd name="T10" fmla="*/ 5 w 11"/>
                    <a:gd name="T11" fmla="*/ 0 h 7"/>
                    <a:gd name="T12" fmla="*/ 4 w 11"/>
                    <a:gd name="T13" fmla="*/ 0 h 7"/>
                    <a:gd name="T14" fmla="*/ 2 w 11"/>
                    <a:gd name="T15" fmla="*/ 2 h 7"/>
                    <a:gd name="T16" fmla="*/ 0 w 11"/>
                    <a:gd name="T17" fmla="*/ 2 h 7"/>
                    <a:gd name="T18" fmla="*/ 0 w 11"/>
                    <a:gd name="T19" fmla="*/ 4 h 7"/>
                    <a:gd name="T20" fmla="*/ 0 w 11"/>
                    <a:gd name="T21" fmla="*/ 6 h 7"/>
                    <a:gd name="T22" fmla="*/ 2 w 11"/>
                    <a:gd name="T23" fmla="*/ 7 h 7"/>
                    <a:gd name="T24" fmla="*/ 4 w 11"/>
                    <a:gd name="T25" fmla="*/ 7 h 7"/>
                    <a:gd name="T26" fmla="*/ 5 w 11"/>
                    <a:gd name="T27" fmla="*/ 7 h 7"/>
                    <a:gd name="T28" fmla="*/ 5 w 11"/>
                    <a:gd name="T29" fmla="*/ 6 h 7"/>
                    <a:gd name="T30" fmla="*/ 7 w 11"/>
                    <a:gd name="T31" fmla="*/ 6 h 7"/>
                    <a:gd name="T32" fmla="*/ 9 w 11"/>
                    <a:gd name="T33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" h="7">
                      <a:moveTo>
                        <a:pt x="9" y="4"/>
                      </a:moveTo>
                      <a:lnTo>
                        <a:pt x="11" y="2"/>
                      </a:lnTo>
                      <a:lnTo>
                        <a:pt x="9" y="2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2" y="7"/>
                      </a:lnTo>
                      <a:lnTo>
                        <a:pt x="4" y="7"/>
                      </a:lnTo>
                      <a:lnTo>
                        <a:pt x="5" y="7"/>
                      </a:lnTo>
                      <a:lnTo>
                        <a:pt x="5" y="6"/>
                      </a:lnTo>
                      <a:lnTo>
                        <a:pt x="7" y="6"/>
                      </a:lnTo>
                      <a:lnTo>
                        <a:pt x="9" y="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2" name="Freeform 206">
                  <a:extLst>
                    <a:ext uri="{FF2B5EF4-FFF2-40B4-BE49-F238E27FC236}">
                      <a16:creationId xmlns:a16="http://schemas.microsoft.com/office/drawing/2014/main" id="{B7A0BB41-AC2B-A140-8BD0-AD8670D315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9" y="16"/>
                  <a:ext cx="11" cy="7"/>
                </a:xfrm>
                <a:custGeom>
                  <a:avLst/>
                  <a:gdLst>
                    <a:gd name="T0" fmla="*/ 9 w 11"/>
                    <a:gd name="T1" fmla="*/ 4 h 7"/>
                    <a:gd name="T2" fmla="*/ 11 w 11"/>
                    <a:gd name="T3" fmla="*/ 2 h 7"/>
                    <a:gd name="T4" fmla="*/ 9 w 11"/>
                    <a:gd name="T5" fmla="*/ 2 h 7"/>
                    <a:gd name="T6" fmla="*/ 9 w 11"/>
                    <a:gd name="T7" fmla="*/ 0 h 7"/>
                    <a:gd name="T8" fmla="*/ 7 w 11"/>
                    <a:gd name="T9" fmla="*/ 0 h 7"/>
                    <a:gd name="T10" fmla="*/ 5 w 11"/>
                    <a:gd name="T11" fmla="*/ 0 h 7"/>
                    <a:gd name="T12" fmla="*/ 4 w 11"/>
                    <a:gd name="T13" fmla="*/ 0 h 7"/>
                    <a:gd name="T14" fmla="*/ 2 w 11"/>
                    <a:gd name="T15" fmla="*/ 2 h 7"/>
                    <a:gd name="T16" fmla="*/ 0 w 11"/>
                    <a:gd name="T17" fmla="*/ 2 h 7"/>
                    <a:gd name="T18" fmla="*/ 0 w 11"/>
                    <a:gd name="T19" fmla="*/ 4 h 7"/>
                    <a:gd name="T20" fmla="*/ 0 w 11"/>
                    <a:gd name="T21" fmla="*/ 6 h 7"/>
                    <a:gd name="T22" fmla="*/ 2 w 11"/>
                    <a:gd name="T23" fmla="*/ 7 h 7"/>
                    <a:gd name="T24" fmla="*/ 4 w 11"/>
                    <a:gd name="T25" fmla="*/ 7 h 7"/>
                    <a:gd name="T26" fmla="*/ 5 w 11"/>
                    <a:gd name="T27" fmla="*/ 7 h 7"/>
                    <a:gd name="T28" fmla="*/ 5 w 11"/>
                    <a:gd name="T29" fmla="*/ 6 h 7"/>
                    <a:gd name="T30" fmla="*/ 7 w 11"/>
                    <a:gd name="T31" fmla="*/ 6 h 7"/>
                    <a:gd name="T32" fmla="*/ 9 w 11"/>
                    <a:gd name="T33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" h="7">
                      <a:moveTo>
                        <a:pt x="9" y="4"/>
                      </a:moveTo>
                      <a:lnTo>
                        <a:pt x="11" y="2"/>
                      </a:lnTo>
                      <a:lnTo>
                        <a:pt x="9" y="2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2" y="7"/>
                      </a:lnTo>
                      <a:lnTo>
                        <a:pt x="4" y="7"/>
                      </a:lnTo>
                      <a:lnTo>
                        <a:pt x="5" y="7"/>
                      </a:lnTo>
                      <a:lnTo>
                        <a:pt x="5" y="6"/>
                      </a:lnTo>
                      <a:lnTo>
                        <a:pt x="7" y="6"/>
                      </a:lnTo>
                      <a:lnTo>
                        <a:pt x="9" y="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04" name="Group 1803">
                <a:extLst>
                  <a:ext uri="{FF2B5EF4-FFF2-40B4-BE49-F238E27FC236}">
                    <a16:creationId xmlns:a16="http://schemas.microsoft.com/office/drawing/2014/main" id="{8B0AA509-EF85-C446-8975-294C7236D5E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31" y="11"/>
                <a:ext cx="5" cy="7"/>
                <a:chOff x="531" y="11"/>
                <a:chExt cx="5" cy="7"/>
              </a:xfrm>
            </p:grpSpPr>
            <p:sp>
              <p:nvSpPr>
                <p:cNvPr id="1829" name="Freeform 203">
                  <a:extLst>
                    <a:ext uri="{FF2B5EF4-FFF2-40B4-BE49-F238E27FC236}">
                      <a16:creationId xmlns:a16="http://schemas.microsoft.com/office/drawing/2014/main" id="{677A22DD-C89D-8A41-ABE5-ABAC37C5B8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" y="11"/>
                  <a:ext cx="5" cy="7"/>
                </a:xfrm>
                <a:custGeom>
                  <a:avLst/>
                  <a:gdLst>
                    <a:gd name="T0" fmla="*/ 5 w 5"/>
                    <a:gd name="T1" fmla="*/ 5 h 7"/>
                    <a:gd name="T2" fmla="*/ 5 w 5"/>
                    <a:gd name="T3" fmla="*/ 4 h 7"/>
                    <a:gd name="T4" fmla="*/ 5 w 5"/>
                    <a:gd name="T5" fmla="*/ 2 h 7"/>
                    <a:gd name="T6" fmla="*/ 2 w 5"/>
                    <a:gd name="T7" fmla="*/ 0 h 7"/>
                    <a:gd name="T8" fmla="*/ 0 w 5"/>
                    <a:gd name="T9" fmla="*/ 0 h 7"/>
                    <a:gd name="T10" fmla="*/ 0 w 5"/>
                    <a:gd name="T11" fmla="*/ 4 h 7"/>
                    <a:gd name="T12" fmla="*/ 2 w 5"/>
                    <a:gd name="T13" fmla="*/ 5 h 7"/>
                    <a:gd name="T14" fmla="*/ 2 w 5"/>
                    <a:gd name="T15" fmla="*/ 7 h 7"/>
                    <a:gd name="T16" fmla="*/ 4 w 5"/>
                    <a:gd name="T17" fmla="*/ 5 h 7"/>
                    <a:gd name="T18" fmla="*/ 5 w 5"/>
                    <a:gd name="T19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7">
                      <a:moveTo>
                        <a:pt x="5" y="5"/>
                      </a:moveTo>
                      <a:lnTo>
                        <a:pt x="5" y="4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2" y="5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0" name="Freeform 204">
                  <a:extLst>
                    <a:ext uri="{FF2B5EF4-FFF2-40B4-BE49-F238E27FC236}">
                      <a16:creationId xmlns:a16="http://schemas.microsoft.com/office/drawing/2014/main" id="{6503B4E4-7D8D-8F45-96B8-988454A103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" y="11"/>
                  <a:ext cx="5" cy="7"/>
                </a:xfrm>
                <a:custGeom>
                  <a:avLst/>
                  <a:gdLst>
                    <a:gd name="T0" fmla="*/ 5 w 5"/>
                    <a:gd name="T1" fmla="*/ 5 h 7"/>
                    <a:gd name="T2" fmla="*/ 5 w 5"/>
                    <a:gd name="T3" fmla="*/ 4 h 7"/>
                    <a:gd name="T4" fmla="*/ 5 w 5"/>
                    <a:gd name="T5" fmla="*/ 2 h 7"/>
                    <a:gd name="T6" fmla="*/ 2 w 5"/>
                    <a:gd name="T7" fmla="*/ 0 h 7"/>
                    <a:gd name="T8" fmla="*/ 0 w 5"/>
                    <a:gd name="T9" fmla="*/ 0 h 7"/>
                    <a:gd name="T10" fmla="*/ 0 w 5"/>
                    <a:gd name="T11" fmla="*/ 4 h 7"/>
                    <a:gd name="T12" fmla="*/ 2 w 5"/>
                    <a:gd name="T13" fmla="*/ 5 h 7"/>
                    <a:gd name="T14" fmla="*/ 2 w 5"/>
                    <a:gd name="T15" fmla="*/ 7 h 7"/>
                    <a:gd name="T16" fmla="*/ 4 w 5"/>
                    <a:gd name="T17" fmla="*/ 5 h 7"/>
                    <a:gd name="T18" fmla="*/ 5 w 5"/>
                    <a:gd name="T19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7">
                      <a:moveTo>
                        <a:pt x="5" y="5"/>
                      </a:moveTo>
                      <a:lnTo>
                        <a:pt x="5" y="4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2" y="5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05" name="Group 1804">
                <a:extLst>
                  <a:ext uri="{FF2B5EF4-FFF2-40B4-BE49-F238E27FC236}">
                    <a16:creationId xmlns:a16="http://schemas.microsoft.com/office/drawing/2014/main" id="{D63128AF-3C6C-D144-A380-E825994047B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55" y="0"/>
                <a:ext cx="12" cy="5"/>
                <a:chOff x="555" y="0"/>
                <a:chExt cx="12" cy="5"/>
              </a:xfrm>
            </p:grpSpPr>
            <p:sp>
              <p:nvSpPr>
                <p:cNvPr id="1827" name="Freeform 201">
                  <a:extLst>
                    <a:ext uri="{FF2B5EF4-FFF2-40B4-BE49-F238E27FC236}">
                      <a16:creationId xmlns:a16="http://schemas.microsoft.com/office/drawing/2014/main" id="{D6CE4F31-971F-A642-BCF8-6BB2968985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5" y="0"/>
                  <a:ext cx="12" cy="5"/>
                </a:xfrm>
                <a:custGeom>
                  <a:avLst/>
                  <a:gdLst>
                    <a:gd name="T0" fmla="*/ 8 w 12"/>
                    <a:gd name="T1" fmla="*/ 1 h 5"/>
                    <a:gd name="T2" fmla="*/ 7 w 12"/>
                    <a:gd name="T3" fmla="*/ 0 h 5"/>
                    <a:gd name="T4" fmla="*/ 7 w 12"/>
                    <a:gd name="T5" fmla="*/ 1 h 5"/>
                    <a:gd name="T6" fmla="*/ 5 w 12"/>
                    <a:gd name="T7" fmla="*/ 1 h 5"/>
                    <a:gd name="T8" fmla="*/ 3 w 12"/>
                    <a:gd name="T9" fmla="*/ 1 h 5"/>
                    <a:gd name="T10" fmla="*/ 2 w 12"/>
                    <a:gd name="T11" fmla="*/ 1 h 5"/>
                    <a:gd name="T12" fmla="*/ 0 w 12"/>
                    <a:gd name="T13" fmla="*/ 3 h 5"/>
                    <a:gd name="T14" fmla="*/ 3 w 12"/>
                    <a:gd name="T15" fmla="*/ 3 h 5"/>
                    <a:gd name="T16" fmla="*/ 5 w 12"/>
                    <a:gd name="T17" fmla="*/ 3 h 5"/>
                    <a:gd name="T18" fmla="*/ 2 w 12"/>
                    <a:gd name="T19" fmla="*/ 5 h 5"/>
                    <a:gd name="T20" fmla="*/ 3 w 12"/>
                    <a:gd name="T21" fmla="*/ 5 h 5"/>
                    <a:gd name="T22" fmla="*/ 5 w 12"/>
                    <a:gd name="T23" fmla="*/ 5 h 5"/>
                    <a:gd name="T24" fmla="*/ 7 w 12"/>
                    <a:gd name="T25" fmla="*/ 5 h 5"/>
                    <a:gd name="T26" fmla="*/ 8 w 12"/>
                    <a:gd name="T27" fmla="*/ 5 h 5"/>
                    <a:gd name="T28" fmla="*/ 10 w 12"/>
                    <a:gd name="T29" fmla="*/ 5 h 5"/>
                    <a:gd name="T30" fmla="*/ 12 w 12"/>
                    <a:gd name="T31" fmla="*/ 5 h 5"/>
                    <a:gd name="T32" fmla="*/ 12 w 12"/>
                    <a:gd name="T33" fmla="*/ 3 h 5"/>
                    <a:gd name="T34" fmla="*/ 10 w 12"/>
                    <a:gd name="T35" fmla="*/ 3 h 5"/>
                    <a:gd name="T36" fmla="*/ 10 w 12"/>
                    <a:gd name="T37" fmla="*/ 1 h 5"/>
                    <a:gd name="T38" fmla="*/ 8 w 12"/>
                    <a:gd name="T39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2" h="5">
                      <a:moveTo>
                        <a:pt x="8" y="1"/>
                      </a:moveTo>
                      <a:lnTo>
                        <a:pt x="7" y="0"/>
                      </a:lnTo>
                      <a:lnTo>
                        <a:pt x="7" y="1"/>
                      </a:lnTo>
                      <a:lnTo>
                        <a:pt x="5" y="1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5" y="3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7" y="5"/>
                      </a:lnTo>
                      <a:lnTo>
                        <a:pt x="8" y="5"/>
                      </a:lnTo>
                      <a:lnTo>
                        <a:pt x="10" y="5"/>
                      </a:lnTo>
                      <a:lnTo>
                        <a:pt x="12" y="5"/>
                      </a:lnTo>
                      <a:lnTo>
                        <a:pt x="12" y="3"/>
                      </a:lnTo>
                      <a:lnTo>
                        <a:pt x="10" y="3"/>
                      </a:lnTo>
                      <a:lnTo>
                        <a:pt x="10" y="1"/>
                      </a:lnTo>
                      <a:lnTo>
                        <a:pt x="8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28" name="Freeform 202">
                  <a:extLst>
                    <a:ext uri="{FF2B5EF4-FFF2-40B4-BE49-F238E27FC236}">
                      <a16:creationId xmlns:a16="http://schemas.microsoft.com/office/drawing/2014/main" id="{81771C0E-D4F4-A646-93B5-83FFD38B8C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5" y="0"/>
                  <a:ext cx="12" cy="5"/>
                </a:xfrm>
                <a:custGeom>
                  <a:avLst/>
                  <a:gdLst>
                    <a:gd name="T0" fmla="*/ 8 w 12"/>
                    <a:gd name="T1" fmla="*/ 1 h 5"/>
                    <a:gd name="T2" fmla="*/ 7 w 12"/>
                    <a:gd name="T3" fmla="*/ 0 h 5"/>
                    <a:gd name="T4" fmla="*/ 7 w 12"/>
                    <a:gd name="T5" fmla="*/ 1 h 5"/>
                    <a:gd name="T6" fmla="*/ 5 w 12"/>
                    <a:gd name="T7" fmla="*/ 1 h 5"/>
                    <a:gd name="T8" fmla="*/ 3 w 12"/>
                    <a:gd name="T9" fmla="*/ 1 h 5"/>
                    <a:gd name="T10" fmla="*/ 2 w 12"/>
                    <a:gd name="T11" fmla="*/ 1 h 5"/>
                    <a:gd name="T12" fmla="*/ 0 w 12"/>
                    <a:gd name="T13" fmla="*/ 3 h 5"/>
                    <a:gd name="T14" fmla="*/ 3 w 12"/>
                    <a:gd name="T15" fmla="*/ 3 h 5"/>
                    <a:gd name="T16" fmla="*/ 5 w 12"/>
                    <a:gd name="T17" fmla="*/ 3 h 5"/>
                    <a:gd name="T18" fmla="*/ 2 w 12"/>
                    <a:gd name="T19" fmla="*/ 5 h 5"/>
                    <a:gd name="T20" fmla="*/ 3 w 12"/>
                    <a:gd name="T21" fmla="*/ 5 h 5"/>
                    <a:gd name="T22" fmla="*/ 5 w 12"/>
                    <a:gd name="T23" fmla="*/ 5 h 5"/>
                    <a:gd name="T24" fmla="*/ 7 w 12"/>
                    <a:gd name="T25" fmla="*/ 5 h 5"/>
                    <a:gd name="T26" fmla="*/ 8 w 12"/>
                    <a:gd name="T27" fmla="*/ 5 h 5"/>
                    <a:gd name="T28" fmla="*/ 10 w 12"/>
                    <a:gd name="T29" fmla="*/ 5 h 5"/>
                    <a:gd name="T30" fmla="*/ 12 w 12"/>
                    <a:gd name="T31" fmla="*/ 5 h 5"/>
                    <a:gd name="T32" fmla="*/ 12 w 12"/>
                    <a:gd name="T33" fmla="*/ 3 h 5"/>
                    <a:gd name="T34" fmla="*/ 10 w 12"/>
                    <a:gd name="T35" fmla="*/ 3 h 5"/>
                    <a:gd name="T36" fmla="*/ 10 w 12"/>
                    <a:gd name="T37" fmla="*/ 1 h 5"/>
                    <a:gd name="T38" fmla="*/ 8 w 12"/>
                    <a:gd name="T39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2" h="5">
                      <a:moveTo>
                        <a:pt x="8" y="1"/>
                      </a:moveTo>
                      <a:lnTo>
                        <a:pt x="7" y="0"/>
                      </a:lnTo>
                      <a:lnTo>
                        <a:pt x="7" y="1"/>
                      </a:lnTo>
                      <a:lnTo>
                        <a:pt x="5" y="1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5" y="3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7" y="5"/>
                      </a:lnTo>
                      <a:lnTo>
                        <a:pt x="8" y="5"/>
                      </a:lnTo>
                      <a:lnTo>
                        <a:pt x="10" y="5"/>
                      </a:lnTo>
                      <a:lnTo>
                        <a:pt x="12" y="5"/>
                      </a:lnTo>
                      <a:lnTo>
                        <a:pt x="12" y="3"/>
                      </a:lnTo>
                      <a:lnTo>
                        <a:pt x="10" y="3"/>
                      </a:lnTo>
                      <a:lnTo>
                        <a:pt x="10" y="1"/>
                      </a:lnTo>
                      <a:lnTo>
                        <a:pt x="8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06" name="Group 1805">
                <a:extLst>
                  <a:ext uri="{FF2B5EF4-FFF2-40B4-BE49-F238E27FC236}">
                    <a16:creationId xmlns:a16="http://schemas.microsoft.com/office/drawing/2014/main" id="{1B12E9ED-793D-5A44-96E8-C4F3E15CD67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94" y="197"/>
                <a:ext cx="11" cy="5"/>
                <a:chOff x="294" y="197"/>
                <a:chExt cx="11" cy="5"/>
              </a:xfrm>
            </p:grpSpPr>
            <p:sp>
              <p:nvSpPr>
                <p:cNvPr id="1825" name="Freeform 199">
                  <a:extLst>
                    <a:ext uri="{FF2B5EF4-FFF2-40B4-BE49-F238E27FC236}">
                      <a16:creationId xmlns:a16="http://schemas.microsoft.com/office/drawing/2014/main" id="{07E26755-550D-0F4A-808B-952C0C1888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" y="197"/>
                  <a:ext cx="11" cy="5"/>
                </a:xfrm>
                <a:custGeom>
                  <a:avLst/>
                  <a:gdLst>
                    <a:gd name="T0" fmla="*/ 0 w 11"/>
                    <a:gd name="T1" fmla="*/ 5 h 5"/>
                    <a:gd name="T2" fmla="*/ 1 w 11"/>
                    <a:gd name="T3" fmla="*/ 5 h 5"/>
                    <a:gd name="T4" fmla="*/ 5 w 11"/>
                    <a:gd name="T5" fmla="*/ 3 h 5"/>
                    <a:gd name="T6" fmla="*/ 8 w 11"/>
                    <a:gd name="T7" fmla="*/ 3 h 5"/>
                    <a:gd name="T8" fmla="*/ 11 w 11"/>
                    <a:gd name="T9" fmla="*/ 3 h 5"/>
                    <a:gd name="T10" fmla="*/ 10 w 11"/>
                    <a:gd name="T11" fmla="*/ 2 h 5"/>
                    <a:gd name="T12" fmla="*/ 10 w 11"/>
                    <a:gd name="T13" fmla="*/ 0 h 5"/>
                    <a:gd name="T14" fmla="*/ 6 w 11"/>
                    <a:gd name="T15" fmla="*/ 0 h 5"/>
                    <a:gd name="T16" fmla="*/ 5 w 11"/>
                    <a:gd name="T17" fmla="*/ 0 h 5"/>
                    <a:gd name="T18" fmla="*/ 3 w 11"/>
                    <a:gd name="T19" fmla="*/ 2 h 5"/>
                    <a:gd name="T20" fmla="*/ 1 w 11"/>
                    <a:gd name="T21" fmla="*/ 3 h 5"/>
                    <a:gd name="T22" fmla="*/ 0 w 11"/>
                    <a:gd name="T23" fmla="*/ 2 h 5"/>
                    <a:gd name="T24" fmla="*/ 0 w 11"/>
                    <a:gd name="T25" fmla="*/ 3 h 5"/>
                    <a:gd name="T26" fmla="*/ 0 w 11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5">
                      <a:moveTo>
                        <a:pt x="0" y="5"/>
                      </a:moveTo>
                      <a:lnTo>
                        <a:pt x="1" y="5"/>
                      </a:lnTo>
                      <a:lnTo>
                        <a:pt x="5" y="3"/>
                      </a:lnTo>
                      <a:lnTo>
                        <a:pt x="8" y="3"/>
                      </a:lnTo>
                      <a:lnTo>
                        <a:pt x="11" y="3"/>
                      </a:lnTo>
                      <a:lnTo>
                        <a:pt x="10" y="2"/>
                      </a:lnTo>
                      <a:lnTo>
                        <a:pt x="10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26" name="Freeform 200">
                  <a:extLst>
                    <a:ext uri="{FF2B5EF4-FFF2-40B4-BE49-F238E27FC236}">
                      <a16:creationId xmlns:a16="http://schemas.microsoft.com/office/drawing/2014/main" id="{45FAA9B9-262F-9143-AD11-8358FFF9E7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" y="197"/>
                  <a:ext cx="11" cy="5"/>
                </a:xfrm>
                <a:custGeom>
                  <a:avLst/>
                  <a:gdLst>
                    <a:gd name="T0" fmla="*/ 0 w 11"/>
                    <a:gd name="T1" fmla="*/ 5 h 5"/>
                    <a:gd name="T2" fmla="*/ 1 w 11"/>
                    <a:gd name="T3" fmla="*/ 5 h 5"/>
                    <a:gd name="T4" fmla="*/ 5 w 11"/>
                    <a:gd name="T5" fmla="*/ 3 h 5"/>
                    <a:gd name="T6" fmla="*/ 8 w 11"/>
                    <a:gd name="T7" fmla="*/ 3 h 5"/>
                    <a:gd name="T8" fmla="*/ 11 w 11"/>
                    <a:gd name="T9" fmla="*/ 3 h 5"/>
                    <a:gd name="T10" fmla="*/ 10 w 11"/>
                    <a:gd name="T11" fmla="*/ 2 h 5"/>
                    <a:gd name="T12" fmla="*/ 10 w 11"/>
                    <a:gd name="T13" fmla="*/ 0 h 5"/>
                    <a:gd name="T14" fmla="*/ 6 w 11"/>
                    <a:gd name="T15" fmla="*/ 0 h 5"/>
                    <a:gd name="T16" fmla="*/ 5 w 11"/>
                    <a:gd name="T17" fmla="*/ 0 h 5"/>
                    <a:gd name="T18" fmla="*/ 3 w 11"/>
                    <a:gd name="T19" fmla="*/ 2 h 5"/>
                    <a:gd name="T20" fmla="*/ 1 w 11"/>
                    <a:gd name="T21" fmla="*/ 3 h 5"/>
                    <a:gd name="T22" fmla="*/ 0 w 11"/>
                    <a:gd name="T23" fmla="*/ 2 h 5"/>
                    <a:gd name="T24" fmla="*/ 0 w 11"/>
                    <a:gd name="T25" fmla="*/ 3 h 5"/>
                    <a:gd name="T26" fmla="*/ 0 w 11"/>
                    <a:gd name="T2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5">
                      <a:moveTo>
                        <a:pt x="0" y="5"/>
                      </a:moveTo>
                      <a:lnTo>
                        <a:pt x="1" y="5"/>
                      </a:lnTo>
                      <a:lnTo>
                        <a:pt x="5" y="3"/>
                      </a:lnTo>
                      <a:lnTo>
                        <a:pt x="8" y="3"/>
                      </a:lnTo>
                      <a:lnTo>
                        <a:pt x="11" y="3"/>
                      </a:lnTo>
                      <a:lnTo>
                        <a:pt x="10" y="2"/>
                      </a:lnTo>
                      <a:lnTo>
                        <a:pt x="10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07" name="Group 1806">
                <a:extLst>
                  <a:ext uri="{FF2B5EF4-FFF2-40B4-BE49-F238E27FC236}">
                    <a16:creationId xmlns:a16="http://schemas.microsoft.com/office/drawing/2014/main" id="{39EEEC6B-B271-344A-87D4-0D55141F20D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34" y="259"/>
                <a:ext cx="4" cy="4"/>
                <a:chOff x="234" y="259"/>
                <a:chExt cx="4" cy="4"/>
              </a:xfrm>
            </p:grpSpPr>
            <p:sp>
              <p:nvSpPr>
                <p:cNvPr id="1823" name="Freeform 197">
                  <a:extLst>
                    <a:ext uri="{FF2B5EF4-FFF2-40B4-BE49-F238E27FC236}">
                      <a16:creationId xmlns:a16="http://schemas.microsoft.com/office/drawing/2014/main" id="{0326622F-E188-D641-83FD-FE260213E2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4" y="259"/>
                  <a:ext cx="4" cy="4"/>
                </a:xfrm>
                <a:custGeom>
                  <a:avLst/>
                  <a:gdLst>
                    <a:gd name="T0" fmla="*/ 4 w 4"/>
                    <a:gd name="T1" fmla="*/ 0 h 4"/>
                    <a:gd name="T2" fmla="*/ 4 w 4"/>
                    <a:gd name="T3" fmla="*/ 2 h 4"/>
                    <a:gd name="T4" fmla="*/ 4 w 4"/>
                    <a:gd name="T5" fmla="*/ 4 h 4"/>
                    <a:gd name="T6" fmla="*/ 2 w 4"/>
                    <a:gd name="T7" fmla="*/ 4 h 4"/>
                    <a:gd name="T8" fmla="*/ 0 w 4"/>
                    <a:gd name="T9" fmla="*/ 4 h 4"/>
                    <a:gd name="T10" fmla="*/ 0 w 4"/>
                    <a:gd name="T11" fmla="*/ 2 h 4"/>
                    <a:gd name="T12" fmla="*/ 2 w 4"/>
                    <a:gd name="T13" fmla="*/ 2 h 4"/>
                    <a:gd name="T14" fmla="*/ 2 w 4"/>
                    <a:gd name="T15" fmla="*/ 0 h 4"/>
                    <a:gd name="T16" fmla="*/ 4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4" y="0"/>
                      </a:move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24" name="Freeform 198">
                  <a:extLst>
                    <a:ext uri="{FF2B5EF4-FFF2-40B4-BE49-F238E27FC236}">
                      <a16:creationId xmlns:a16="http://schemas.microsoft.com/office/drawing/2014/main" id="{C9711C56-1F8C-1541-A3C2-9F4FF8E512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4" y="259"/>
                  <a:ext cx="4" cy="4"/>
                </a:xfrm>
                <a:custGeom>
                  <a:avLst/>
                  <a:gdLst>
                    <a:gd name="T0" fmla="*/ 4 w 4"/>
                    <a:gd name="T1" fmla="*/ 0 h 4"/>
                    <a:gd name="T2" fmla="*/ 4 w 4"/>
                    <a:gd name="T3" fmla="*/ 2 h 4"/>
                    <a:gd name="T4" fmla="*/ 4 w 4"/>
                    <a:gd name="T5" fmla="*/ 4 h 4"/>
                    <a:gd name="T6" fmla="*/ 2 w 4"/>
                    <a:gd name="T7" fmla="*/ 4 h 4"/>
                    <a:gd name="T8" fmla="*/ 0 w 4"/>
                    <a:gd name="T9" fmla="*/ 4 h 4"/>
                    <a:gd name="T10" fmla="*/ 0 w 4"/>
                    <a:gd name="T11" fmla="*/ 2 h 4"/>
                    <a:gd name="T12" fmla="*/ 2 w 4"/>
                    <a:gd name="T13" fmla="*/ 2 h 4"/>
                    <a:gd name="T14" fmla="*/ 2 w 4"/>
                    <a:gd name="T15" fmla="*/ 0 h 4"/>
                    <a:gd name="T16" fmla="*/ 4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4" y="0"/>
                      </a:move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08" name="Group 1807">
                <a:extLst>
                  <a:ext uri="{FF2B5EF4-FFF2-40B4-BE49-F238E27FC236}">
                    <a16:creationId xmlns:a16="http://schemas.microsoft.com/office/drawing/2014/main" id="{FB40C8B7-6192-A540-A6E3-35905ABF9AD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38" y="268"/>
                <a:ext cx="2" cy="1"/>
                <a:chOff x="238" y="268"/>
                <a:chExt cx="2" cy="1"/>
              </a:xfrm>
            </p:grpSpPr>
            <p:sp>
              <p:nvSpPr>
                <p:cNvPr id="1821" name="Rectangle 1820">
                  <a:extLst>
                    <a:ext uri="{FF2B5EF4-FFF2-40B4-BE49-F238E27FC236}">
                      <a16:creationId xmlns:a16="http://schemas.microsoft.com/office/drawing/2014/main" id="{DA126D6C-CB59-5D48-9870-02FB4D3A089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38" y="268"/>
                  <a:ext cx="2" cy="1"/>
                </a:xfrm>
                <a:prstGeom prst="rect">
                  <a:avLst/>
                </a:prstGeom>
                <a:solidFill>
                  <a:srgbClr val="D4DBE4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22" name="Rectangle 1821">
                  <a:extLst>
                    <a:ext uri="{FF2B5EF4-FFF2-40B4-BE49-F238E27FC236}">
                      <a16:creationId xmlns:a16="http://schemas.microsoft.com/office/drawing/2014/main" id="{0C63804E-5447-D841-8F0E-E29FA9AC8D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38" y="268"/>
                  <a:ext cx="2" cy="1"/>
                </a:xfrm>
                <a:prstGeom prst="rect">
                  <a:avLst/>
                </a:pr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09" name="Group 1808">
                <a:extLst>
                  <a:ext uri="{FF2B5EF4-FFF2-40B4-BE49-F238E27FC236}">
                    <a16:creationId xmlns:a16="http://schemas.microsoft.com/office/drawing/2014/main" id="{4D2A1EDF-8494-5246-8566-B4BBB5ACEB9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51" y="229"/>
                <a:ext cx="4" cy="3"/>
                <a:chOff x="251" y="229"/>
                <a:chExt cx="4" cy="3"/>
              </a:xfrm>
            </p:grpSpPr>
            <p:sp>
              <p:nvSpPr>
                <p:cNvPr id="1819" name="Freeform 193">
                  <a:extLst>
                    <a:ext uri="{FF2B5EF4-FFF2-40B4-BE49-F238E27FC236}">
                      <a16:creationId xmlns:a16="http://schemas.microsoft.com/office/drawing/2014/main" id="{84D5B027-8A53-D246-8774-2621ADDF06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1" y="229"/>
                  <a:ext cx="4" cy="3"/>
                </a:xfrm>
                <a:custGeom>
                  <a:avLst/>
                  <a:gdLst>
                    <a:gd name="T0" fmla="*/ 0 w 4"/>
                    <a:gd name="T1" fmla="*/ 3 h 3"/>
                    <a:gd name="T2" fmla="*/ 0 w 4"/>
                    <a:gd name="T3" fmla="*/ 2 h 3"/>
                    <a:gd name="T4" fmla="*/ 0 w 4"/>
                    <a:gd name="T5" fmla="*/ 0 h 3"/>
                    <a:gd name="T6" fmla="*/ 2 w 4"/>
                    <a:gd name="T7" fmla="*/ 0 h 3"/>
                    <a:gd name="T8" fmla="*/ 4 w 4"/>
                    <a:gd name="T9" fmla="*/ 0 h 3"/>
                    <a:gd name="T10" fmla="*/ 4 w 4"/>
                    <a:gd name="T11" fmla="*/ 2 h 3"/>
                    <a:gd name="T12" fmla="*/ 2 w 4"/>
                    <a:gd name="T13" fmla="*/ 3 h 3"/>
                    <a:gd name="T14" fmla="*/ 0 w 4"/>
                    <a:gd name="T1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3">
                      <a:moveTo>
                        <a:pt x="0" y="3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2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20" name="Freeform 194">
                  <a:extLst>
                    <a:ext uri="{FF2B5EF4-FFF2-40B4-BE49-F238E27FC236}">
                      <a16:creationId xmlns:a16="http://schemas.microsoft.com/office/drawing/2014/main" id="{793888DE-5A91-D345-897A-E563F3F071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1" y="229"/>
                  <a:ext cx="4" cy="3"/>
                </a:xfrm>
                <a:custGeom>
                  <a:avLst/>
                  <a:gdLst>
                    <a:gd name="T0" fmla="*/ 0 w 4"/>
                    <a:gd name="T1" fmla="*/ 3 h 3"/>
                    <a:gd name="T2" fmla="*/ 0 w 4"/>
                    <a:gd name="T3" fmla="*/ 2 h 3"/>
                    <a:gd name="T4" fmla="*/ 0 w 4"/>
                    <a:gd name="T5" fmla="*/ 0 h 3"/>
                    <a:gd name="T6" fmla="*/ 2 w 4"/>
                    <a:gd name="T7" fmla="*/ 0 h 3"/>
                    <a:gd name="T8" fmla="*/ 4 w 4"/>
                    <a:gd name="T9" fmla="*/ 0 h 3"/>
                    <a:gd name="T10" fmla="*/ 4 w 4"/>
                    <a:gd name="T11" fmla="*/ 2 h 3"/>
                    <a:gd name="T12" fmla="*/ 2 w 4"/>
                    <a:gd name="T13" fmla="*/ 3 h 3"/>
                    <a:gd name="T14" fmla="*/ 0 w 4"/>
                    <a:gd name="T1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3">
                      <a:moveTo>
                        <a:pt x="0" y="3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2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10" name="Group 1809">
                <a:extLst>
                  <a:ext uri="{FF2B5EF4-FFF2-40B4-BE49-F238E27FC236}">
                    <a16:creationId xmlns:a16="http://schemas.microsoft.com/office/drawing/2014/main" id="{CF93E211-0D14-D94D-845A-ACDCA23D891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40" y="241"/>
                <a:ext cx="1" cy="3"/>
                <a:chOff x="240" y="241"/>
                <a:chExt cx="1" cy="3"/>
              </a:xfrm>
            </p:grpSpPr>
            <p:sp>
              <p:nvSpPr>
                <p:cNvPr id="1817" name="Freeform 191">
                  <a:extLst>
                    <a:ext uri="{FF2B5EF4-FFF2-40B4-BE49-F238E27FC236}">
                      <a16:creationId xmlns:a16="http://schemas.microsoft.com/office/drawing/2014/main" id="{2822762E-A541-8E4F-949D-14CB1F302F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" y="241"/>
                  <a:ext cx="1" cy="3"/>
                </a:xfrm>
                <a:custGeom>
                  <a:avLst/>
                  <a:gdLst>
                    <a:gd name="T0" fmla="*/ 0 w 1"/>
                    <a:gd name="T1" fmla="*/ 1 h 3"/>
                    <a:gd name="T2" fmla="*/ 0 w 1"/>
                    <a:gd name="T3" fmla="*/ 0 h 3"/>
                    <a:gd name="T4" fmla="*/ 0 w 1"/>
                    <a:gd name="T5" fmla="*/ 1 h 3"/>
                    <a:gd name="T6" fmla="*/ 1 w 1"/>
                    <a:gd name="T7" fmla="*/ 1 h 3"/>
                    <a:gd name="T8" fmla="*/ 0 w 1"/>
                    <a:gd name="T9" fmla="*/ 1 h 3"/>
                    <a:gd name="T10" fmla="*/ 0 w 1"/>
                    <a:gd name="T11" fmla="*/ 3 h 3"/>
                    <a:gd name="T12" fmla="*/ 0 w 1"/>
                    <a:gd name="T13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" h="3">
                      <a:moveTo>
                        <a:pt x="0" y="1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18" name="Freeform 192">
                  <a:extLst>
                    <a:ext uri="{FF2B5EF4-FFF2-40B4-BE49-F238E27FC236}">
                      <a16:creationId xmlns:a16="http://schemas.microsoft.com/office/drawing/2014/main" id="{50F82641-2F17-BE43-BD24-90DE2EDB21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" y="241"/>
                  <a:ext cx="1" cy="3"/>
                </a:xfrm>
                <a:custGeom>
                  <a:avLst/>
                  <a:gdLst>
                    <a:gd name="T0" fmla="*/ 0 w 1"/>
                    <a:gd name="T1" fmla="*/ 1 h 3"/>
                    <a:gd name="T2" fmla="*/ 0 w 1"/>
                    <a:gd name="T3" fmla="*/ 0 h 3"/>
                    <a:gd name="T4" fmla="*/ 0 w 1"/>
                    <a:gd name="T5" fmla="*/ 1 h 3"/>
                    <a:gd name="T6" fmla="*/ 1 w 1"/>
                    <a:gd name="T7" fmla="*/ 1 h 3"/>
                    <a:gd name="T8" fmla="*/ 0 w 1"/>
                    <a:gd name="T9" fmla="*/ 1 h 3"/>
                    <a:gd name="T10" fmla="*/ 0 w 1"/>
                    <a:gd name="T11" fmla="*/ 3 h 3"/>
                    <a:gd name="T12" fmla="*/ 0 w 1"/>
                    <a:gd name="T13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" h="3">
                      <a:moveTo>
                        <a:pt x="0" y="1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11" name="Group 1810">
                <a:extLst>
                  <a:ext uri="{FF2B5EF4-FFF2-40B4-BE49-F238E27FC236}">
                    <a16:creationId xmlns:a16="http://schemas.microsoft.com/office/drawing/2014/main" id="{B558A22F-F7D2-1F40-AC88-316D4D7C753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43" y="286"/>
                <a:ext cx="3" cy="5"/>
                <a:chOff x="243" y="286"/>
                <a:chExt cx="3" cy="5"/>
              </a:xfrm>
            </p:grpSpPr>
            <p:sp>
              <p:nvSpPr>
                <p:cNvPr id="1815" name="Freeform 189">
                  <a:extLst>
                    <a:ext uri="{FF2B5EF4-FFF2-40B4-BE49-F238E27FC236}">
                      <a16:creationId xmlns:a16="http://schemas.microsoft.com/office/drawing/2014/main" id="{D895BE7E-8FBB-F748-84CA-27E68D66D5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" y="286"/>
                  <a:ext cx="3" cy="5"/>
                </a:xfrm>
                <a:custGeom>
                  <a:avLst/>
                  <a:gdLst>
                    <a:gd name="T0" fmla="*/ 2 w 3"/>
                    <a:gd name="T1" fmla="*/ 5 h 5"/>
                    <a:gd name="T2" fmla="*/ 0 w 3"/>
                    <a:gd name="T3" fmla="*/ 5 h 5"/>
                    <a:gd name="T4" fmla="*/ 0 w 3"/>
                    <a:gd name="T5" fmla="*/ 4 h 5"/>
                    <a:gd name="T6" fmla="*/ 0 w 3"/>
                    <a:gd name="T7" fmla="*/ 2 h 5"/>
                    <a:gd name="T8" fmla="*/ 0 w 3"/>
                    <a:gd name="T9" fmla="*/ 0 h 5"/>
                    <a:gd name="T10" fmla="*/ 2 w 3"/>
                    <a:gd name="T11" fmla="*/ 0 h 5"/>
                    <a:gd name="T12" fmla="*/ 2 w 3"/>
                    <a:gd name="T13" fmla="*/ 2 h 5"/>
                    <a:gd name="T14" fmla="*/ 3 w 3"/>
                    <a:gd name="T15" fmla="*/ 2 h 5"/>
                    <a:gd name="T16" fmla="*/ 3 w 3"/>
                    <a:gd name="T17" fmla="*/ 4 h 5"/>
                    <a:gd name="T18" fmla="*/ 3 w 3"/>
                    <a:gd name="T19" fmla="*/ 5 h 5"/>
                    <a:gd name="T20" fmla="*/ 2 w 3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" h="5">
                      <a:moveTo>
                        <a:pt x="2" y="5"/>
                      </a:move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16" name="Freeform 190">
                  <a:extLst>
                    <a:ext uri="{FF2B5EF4-FFF2-40B4-BE49-F238E27FC236}">
                      <a16:creationId xmlns:a16="http://schemas.microsoft.com/office/drawing/2014/main" id="{F0A32CA5-39CE-CF4C-96B0-CD33A5471F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" y="286"/>
                  <a:ext cx="3" cy="5"/>
                </a:xfrm>
                <a:custGeom>
                  <a:avLst/>
                  <a:gdLst>
                    <a:gd name="T0" fmla="*/ 2 w 3"/>
                    <a:gd name="T1" fmla="*/ 5 h 5"/>
                    <a:gd name="T2" fmla="*/ 0 w 3"/>
                    <a:gd name="T3" fmla="*/ 5 h 5"/>
                    <a:gd name="T4" fmla="*/ 0 w 3"/>
                    <a:gd name="T5" fmla="*/ 4 h 5"/>
                    <a:gd name="T6" fmla="*/ 0 w 3"/>
                    <a:gd name="T7" fmla="*/ 2 h 5"/>
                    <a:gd name="T8" fmla="*/ 0 w 3"/>
                    <a:gd name="T9" fmla="*/ 0 h 5"/>
                    <a:gd name="T10" fmla="*/ 2 w 3"/>
                    <a:gd name="T11" fmla="*/ 0 h 5"/>
                    <a:gd name="T12" fmla="*/ 2 w 3"/>
                    <a:gd name="T13" fmla="*/ 2 h 5"/>
                    <a:gd name="T14" fmla="*/ 3 w 3"/>
                    <a:gd name="T15" fmla="*/ 2 h 5"/>
                    <a:gd name="T16" fmla="*/ 3 w 3"/>
                    <a:gd name="T17" fmla="*/ 4 h 5"/>
                    <a:gd name="T18" fmla="*/ 3 w 3"/>
                    <a:gd name="T19" fmla="*/ 5 h 5"/>
                    <a:gd name="T20" fmla="*/ 2 w 3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" h="5">
                      <a:moveTo>
                        <a:pt x="2" y="5"/>
                      </a:move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12" name="Group 1811">
                <a:extLst>
                  <a:ext uri="{FF2B5EF4-FFF2-40B4-BE49-F238E27FC236}">
                    <a16:creationId xmlns:a16="http://schemas.microsoft.com/office/drawing/2014/main" id="{FA60BAD2-7905-1149-8AEC-0FBBA3B9616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41" y="301"/>
                <a:ext cx="2" cy="4"/>
                <a:chOff x="241" y="301"/>
                <a:chExt cx="2" cy="4"/>
              </a:xfrm>
            </p:grpSpPr>
            <p:sp>
              <p:nvSpPr>
                <p:cNvPr id="1813" name="Freeform 187">
                  <a:extLst>
                    <a:ext uri="{FF2B5EF4-FFF2-40B4-BE49-F238E27FC236}">
                      <a16:creationId xmlns:a16="http://schemas.microsoft.com/office/drawing/2014/main" id="{D3BD4191-B890-2440-AE37-F896CAB4E6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" y="301"/>
                  <a:ext cx="2" cy="4"/>
                </a:xfrm>
                <a:custGeom>
                  <a:avLst/>
                  <a:gdLst>
                    <a:gd name="T0" fmla="*/ 0 w 2"/>
                    <a:gd name="T1" fmla="*/ 4 h 4"/>
                    <a:gd name="T2" fmla="*/ 0 w 2"/>
                    <a:gd name="T3" fmla="*/ 2 h 4"/>
                    <a:gd name="T4" fmla="*/ 0 w 2"/>
                    <a:gd name="T5" fmla="*/ 0 h 4"/>
                    <a:gd name="T6" fmla="*/ 2 w 2"/>
                    <a:gd name="T7" fmla="*/ 0 h 4"/>
                    <a:gd name="T8" fmla="*/ 2 w 2"/>
                    <a:gd name="T9" fmla="*/ 2 h 4"/>
                    <a:gd name="T10" fmla="*/ 2 w 2"/>
                    <a:gd name="T11" fmla="*/ 4 h 4"/>
                    <a:gd name="T12" fmla="*/ 0 w 2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4">
                      <a:moveTo>
                        <a:pt x="0" y="4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14" name="Freeform 188">
                  <a:extLst>
                    <a:ext uri="{FF2B5EF4-FFF2-40B4-BE49-F238E27FC236}">
                      <a16:creationId xmlns:a16="http://schemas.microsoft.com/office/drawing/2014/main" id="{E8971493-C929-5645-9903-A17ADC138B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" y="301"/>
                  <a:ext cx="2" cy="4"/>
                </a:xfrm>
                <a:custGeom>
                  <a:avLst/>
                  <a:gdLst>
                    <a:gd name="T0" fmla="*/ 0 w 2"/>
                    <a:gd name="T1" fmla="*/ 4 h 4"/>
                    <a:gd name="T2" fmla="*/ 0 w 2"/>
                    <a:gd name="T3" fmla="*/ 2 h 4"/>
                    <a:gd name="T4" fmla="*/ 0 w 2"/>
                    <a:gd name="T5" fmla="*/ 0 h 4"/>
                    <a:gd name="T6" fmla="*/ 2 w 2"/>
                    <a:gd name="T7" fmla="*/ 0 h 4"/>
                    <a:gd name="T8" fmla="*/ 2 w 2"/>
                    <a:gd name="T9" fmla="*/ 2 h 4"/>
                    <a:gd name="T10" fmla="*/ 2 w 2"/>
                    <a:gd name="T11" fmla="*/ 4 h 4"/>
                    <a:gd name="T12" fmla="*/ 0 w 2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4">
                      <a:moveTo>
                        <a:pt x="0" y="4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662" name="Group 1661">
              <a:extLst>
                <a:ext uri="{FF2B5EF4-FFF2-40B4-BE49-F238E27FC236}">
                  <a16:creationId xmlns:a16="http://schemas.microsoft.com/office/drawing/2014/main" id="{F6170FB9-45A4-1A4B-AE75-2F961BC72B5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1" y="401"/>
              <a:ext cx="155" cy="120"/>
              <a:chOff x="381" y="401"/>
              <a:chExt cx="155" cy="120"/>
            </a:xfrm>
          </p:grpSpPr>
          <p:sp>
            <p:nvSpPr>
              <p:cNvPr id="1789" name="Freeform 163">
                <a:extLst>
                  <a:ext uri="{FF2B5EF4-FFF2-40B4-BE49-F238E27FC236}">
                    <a16:creationId xmlns:a16="http://schemas.microsoft.com/office/drawing/2014/main" id="{263ACD0B-7713-E64B-824A-B317098156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" y="401"/>
                <a:ext cx="155" cy="120"/>
              </a:xfrm>
              <a:custGeom>
                <a:avLst/>
                <a:gdLst>
                  <a:gd name="T0" fmla="*/ 2 w 155"/>
                  <a:gd name="T1" fmla="*/ 29 h 120"/>
                  <a:gd name="T2" fmla="*/ 4 w 155"/>
                  <a:gd name="T3" fmla="*/ 34 h 120"/>
                  <a:gd name="T4" fmla="*/ 0 w 155"/>
                  <a:gd name="T5" fmla="*/ 42 h 120"/>
                  <a:gd name="T6" fmla="*/ 4 w 155"/>
                  <a:gd name="T7" fmla="*/ 45 h 120"/>
                  <a:gd name="T8" fmla="*/ 5 w 155"/>
                  <a:gd name="T9" fmla="*/ 54 h 120"/>
                  <a:gd name="T10" fmla="*/ 7 w 155"/>
                  <a:gd name="T11" fmla="*/ 62 h 120"/>
                  <a:gd name="T12" fmla="*/ 9 w 155"/>
                  <a:gd name="T13" fmla="*/ 71 h 120"/>
                  <a:gd name="T14" fmla="*/ 12 w 155"/>
                  <a:gd name="T15" fmla="*/ 74 h 120"/>
                  <a:gd name="T16" fmla="*/ 10 w 155"/>
                  <a:gd name="T17" fmla="*/ 82 h 120"/>
                  <a:gd name="T18" fmla="*/ 12 w 155"/>
                  <a:gd name="T19" fmla="*/ 86 h 120"/>
                  <a:gd name="T20" fmla="*/ 19 w 155"/>
                  <a:gd name="T21" fmla="*/ 82 h 120"/>
                  <a:gd name="T22" fmla="*/ 25 w 155"/>
                  <a:gd name="T23" fmla="*/ 86 h 120"/>
                  <a:gd name="T24" fmla="*/ 34 w 155"/>
                  <a:gd name="T25" fmla="*/ 89 h 120"/>
                  <a:gd name="T26" fmla="*/ 32 w 155"/>
                  <a:gd name="T27" fmla="*/ 93 h 120"/>
                  <a:gd name="T28" fmla="*/ 41 w 155"/>
                  <a:gd name="T29" fmla="*/ 98 h 120"/>
                  <a:gd name="T30" fmla="*/ 42 w 155"/>
                  <a:gd name="T31" fmla="*/ 94 h 120"/>
                  <a:gd name="T32" fmla="*/ 47 w 155"/>
                  <a:gd name="T33" fmla="*/ 94 h 120"/>
                  <a:gd name="T34" fmla="*/ 56 w 155"/>
                  <a:gd name="T35" fmla="*/ 96 h 120"/>
                  <a:gd name="T36" fmla="*/ 59 w 155"/>
                  <a:gd name="T37" fmla="*/ 101 h 120"/>
                  <a:gd name="T38" fmla="*/ 68 w 155"/>
                  <a:gd name="T39" fmla="*/ 109 h 120"/>
                  <a:gd name="T40" fmla="*/ 79 w 155"/>
                  <a:gd name="T41" fmla="*/ 113 h 120"/>
                  <a:gd name="T42" fmla="*/ 88 w 155"/>
                  <a:gd name="T43" fmla="*/ 114 h 120"/>
                  <a:gd name="T44" fmla="*/ 95 w 155"/>
                  <a:gd name="T45" fmla="*/ 116 h 120"/>
                  <a:gd name="T46" fmla="*/ 106 w 155"/>
                  <a:gd name="T47" fmla="*/ 116 h 120"/>
                  <a:gd name="T48" fmla="*/ 115 w 155"/>
                  <a:gd name="T49" fmla="*/ 113 h 120"/>
                  <a:gd name="T50" fmla="*/ 123 w 155"/>
                  <a:gd name="T51" fmla="*/ 116 h 120"/>
                  <a:gd name="T52" fmla="*/ 133 w 155"/>
                  <a:gd name="T53" fmla="*/ 120 h 120"/>
                  <a:gd name="T54" fmla="*/ 137 w 155"/>
                  <a:gd name="T55" fmla="*/ 108 h 120"/>
                  <a:gd name="T56" fmla="*/ 149 w 155"/>
                  <a:gd name="T57" fmla="*/ 96 h 120"/>
                  <a:gd name="T58" fmla="*/ 154 w 155"/>
                  <a:gd name="T59" fmla="*/ 86 h 120"/>
                  <a:gd name="T60" fmla="*/ 150 w 155"/>
                  <a:gd name="T61" fmla="*/ 79 h 120"/>
                  <a:gd name="T62" fmla="*/ 147 w 155"/>
                  <a:gd name="T63" fmla="*/ 72 h 120"/>
                  <a:gd name="T64" fmla="*/ 143 w 155"/>
                  <a:gd name="T65" fmla="*/ 62 h 120"/>
                  <a:gd name="T66" fmla="*/ 142 w 155"/>
                  <a:gd name="T67" fmla="*/ 54 h 120"/>
                  <a:gd name="T68" fmla="*/ 150 w 155"/>
                  <a:gd name="T69" fmla="*/ 45 h 120"/>
                  <a:gd name="T70" fmla="*/ 152 w 155"/>
                  <a:gd name="T71" fmla="*/ 32 h 120"/>
                  <a:gd name="T72" fmla="*/ 143 w 155"/>
                  <a:gd name="T73" fmla="*/ 20 h 120"/>
                  <a:gd name="T74" fmla="*/ 140 w 155"/>
                  <a:gd name="T75" fmla="*/ 12 h 120"/>
                  <a:gd name="T76" fmla="*/ 128 w 155"/>
                  <a:gd name="T77" fmla="*/ 10 h 120"/>
                  <a:gd name="T78" fmla="*/ 117 w 155"/>
                  <a:gd name="T79" fmla="*/ 12 h 120"/>
                  <a:gd name="T80" fmla="*/ 101 w 155"/>
                  <a:gd name="T81" fmla="*/ 12 h 120"/>
                  <a:gd name="T82" fmla="*/ 90 w 155"/>
                  <a:gd name="T83" fmla="*/ 10 h 120"/>
                  <a:gd name="T84" fmla="*/ 78 w 155"/>
                  <a:gd name="T85" fmla="*/ 10 h 120"/>
                  <a:gd name="T86" fmla="*/ 71 w 155"/>
                  <a:gd name="T87" fmla="*/ 12 h 120"/>
                  <a:gd name="T88" fmla="*/ 68 w 155"/>
                  <a:gd name="T89" fmla="*/ 3 h 120"/>
                  <a:gd name="T90" fmla="*/ 69 w 155"/>
                  <a:gd name="T91" fmla="*/ 3 h 120"/>
                  <a:gd name="T92" fmla="*/ 71 w 155"/>
                  <a:gd name="T93" fmla="*/ 2 h 120"/>
                  <a:gd name="T94" fmla="*/ 61 w 155"/>
                  <a:gd name="T95" fmla="*/ 0 h 120"/>
                  <a:gd name="T96" fmla="*/ 49 w 155"/>
                  <a:gd name="T97" fmla="*/ 2 h 120"/>
                  <a:gd name="T98" fmla="*/ 37 w 155"/>
                  <a:gd name="T99" fmla="*/ 7 h 120"/>
                  <a:gd name="T100" fmla="*/ 29 w 155"/>
                  <a:gd name="T101" fmla="*/ 12 h 120"/>
                  <a:gd name="T102" fmla="*/ 19 w 155"/>
                  <a:gd name="T103" fmla="*/ 15 h 120"/>
                  <a:gd name="T104" fmla="*/ 9 w 155"/>
                  <a:gd name="T105" fmla="*/ 18 h 120"/>
                  <a:gd name="T106" fmla="*/ 4 w 155"/>
                  <a:gd name="T107" fmla="*/ 20 h 120"/>
                  <a:gd name="T108" fmla="*/ 5 w 155"/>
                  <a:gd name="T109" fmla="*/ 22 h 120"/>
                  <a:gd name="T110" fmla="*/ 4 w 155"/>
                  <a:gd name="T111" fmla="*/ 25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5" h="120">
                    <a:moveTo>
                      <a:pt x="0" y="23"/>
                    </a:moveTo>
                    <a:lnTo>
                      <a:pt x="0" y="25"/>
                    </a:lnTo>
                    <a:lnTo>
                      <a:pt x="2" y="29"/>
                    </a:lnTo>
                    <a:lnTo>
                      <a:pt x="4" y="30"/>
                    </a:lnTo>
                    <a:lnTo>
                      <a:pt x="4" y="32"/>
                    </a:lnTo>
                    <a:lnTo>
                      <a:pt x="4" y="34"/>
                    </a:lnTo>
                    <a:lnTo>
                      <a:pt x="2" y="37"/>
                    </a:lnTo>
                    <a:lnTo>
                      <a:pt x="0" y="39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2" y="45"/>
                    </a:lnTo>
                    <a:lnTo>
                      <a:pt x="4" y="45"/>
                    </a:lnTo>
                    <a:lnTo>
                      <a:pt x="5" y="49"/>
                    </a:lnTo>
                    <a:lnTo>
                      <a:pt x="5" y="50"/>
                    </a:lnTo>
                    <a:lnTo>
                      <a:pt x="5" y="54"/>
                    </a:lnTo>
                    <a:lnTo>
                      <a:pt x="5" y="55"/>
                    </a:lnTo>
                    <a:lnTo>
                      <a:pt x="7" y="61"/>
                    </a:lnTo>
                    <a:lnTo>
                      <a:pt x="7" y="62"/>
                    </a:lnTo>
                    <a:lnTo>
                      <a:pt x="7" y="64"/>
                    </a:lnTo>
                    <a:lnTo>
                      <a:pt x="7" y="67"/>
                    </a:lnTo>
                    <a:lnTo>
                      <a:pt x="9" y="71"/>
                    </a:lnTo>
                    <a:lnTo>
                      <a:pt x="10" y="72"/>
                    </a:lnTo>
                    <a:lnTo>
                      <a:pt x="12" y="72"/>
                    </a:lnTo>
                    <a:lnTo>
                      <a:pt x="12" y="74"/>
                    </a:lnTo>
                    <a:lnTo>
                      <a:pt x="12" y="76"/>
                    </a:lnTo>
                    <a:lnTo>
                      <a:pt x="12" y="79"/>
                    </a:lnTo>
                    <a:lnTo>
                      <a:pt x="10" y="82"/>
                    </a:lnTo>
                    <a:lnTo>
                      <a:pt x="10" y="84"/>
                    </a:lnTo>
                    <a:lnTo>
                      <a:pt x="9" y="84"/>
                    </a:lnTo>
                    <a:lnTo>
                      <a:pt x="12" y="86"/>
                    </a:lnTo>
                    <a:lnTo>
                      <a:pt x="14" y="82"/>
                    </a:lnTo>
                    <a:lnTo>
                      <a:pt x="15" y="82"/>
                    </a:lnTo>
                    <a:lnTo>
                      <a:pt x="19" y="82"/>
                    </a:lnTo>
                    <a:lnTo>
                      <a:pt x="20" y="86"/>
                    </a:lnTo>
                    <a:lnTo>
                      <a:pt x="22" y="86"/>
                    </a:lnTo>
                    <a:lnTo>
                      <a:pt x="25" y="86"/>
                    </a:lnTo>
                    <a:lnTo>
                      <a:pt x="29" y="86"/>
                    </a:lnTo>
                    <a:lnTo>
                      <a:pt x="31" y="89"/>
                    </a:lnTo>
                    <a:lnTo>
                      <a:pt x="34" y="89"/>
                    </a:lnTo>
                    <a:lnTo>
                      <a:pt x="34" y="91"/>
                    </a:lnTo>
                    <a:lnTo>
                      <a:pt x="34" y="93"/>
                    </a:lnTo>
                    <a:lnTo>
                      <a:pt x="32" y="93"/>
                    </a:lnTo>
                    <a:lnTo>
                      <a:pt x="36" y="96"/>
                    </a:lnTo>
                    <a:lnTo>
                      <a:pt x="39" y="98"/>
                    </a:lnTo>
                    <a:lnTo>
                      <a:pt x="41" y="98"/>
                    </a:lnTo>
                    <a:lnTo>
                      <a:pt x="42" y="98"/>
                    </a:lnTo>
                    <a:lnTo>
                      <a:pt x="44" y="96"/>
                    </a:lnTo>
                    <a:lnTo>
                      <a:pt x="42" y="94"/>
                    </a:lnTo>
                    <a:lnTo>
                      <a:pt x="44" y="94"/>
                    </a:lnTo>
                    <a:lnTo>
                      <a:pt x="46" y="94"/>
                    </a:lnTo>
                    <a:lnTo>
                      <a:pt x="47" y="94"/>
                    </a:lnTo>
                    <a:lnTo>
                      <a:pt x="51" y="96"/>
                    </a:lnTo>
                    <a:lnTo>
                      <a:pt x="54" y="96"/>
                    </a:lnTo>
                    <a:lnTo>
                      <a:pt x="56" y="96"/>
                    </a:lnTo>
                    <a:lnTo>
                      <a:pt x="56" y="98"/>
                    </a:lnTo>
                    <a:lnTo>
                      <a:pt x="56" y="99"/>
                    </a:lnTo>
                    <a:lnTo>
                      <a:pt x="59" y="101"/>
                    </a:lnTo>
                    <a:lnTo>
                      <a:pt x="63" y="103"/>
                    </a:lnTo>
                    <a:lnTo>
                      <a:pt x="64" y="106"/>
                    </a:lnTo>
                    <a:lnTo>
                      <a:pt x="68" y="109"/>
                    </a:lnTo>
                    <a:lnTo>
                      <a:pt x="73" y="111"/>
                    </a:lnTo>
                    <a:lnTo>
                      <a:pt x="76" y="113"/>
                    </a:lnTo>
                    <a:lnTo>
                      <a:pt x="79" y="113"/>
                    </a:lnTo>
                    <a:lnTo>
                      <a:pt x="83" y="111"/>
                    </a:lnTo>
                    <a:lnTo>
                      <a:pt x="84" y="113"/>
                    </a:lnTo>
                    <a:lnTo>
                      <a:pt x="88" y="114"/>
                    </a:lnTo>
                    <a:lnTo>
                      <a:pt x="90" y="116"/>
                    </a:lnTo>
                    <a:lnTo>
                      <a:pt x="91" y="118"/>
                    </a:lnTo>
                    <a:lnTo>
                      <a:pt x="95" y="116"/>
                    </a:lnTo>
                    <a:lnTo>
                      <a:pt x="98" y="114"/>
                    </a:lnTo>
                    <a:lnTo>
                      <a:pt x="103" y="114"/>
                    </a:lnTo>
                    <a:lnTo>
                      <a:pt x="106" y="116"/>
                    </a:lnTo>
                    <a:lnTo>
                      <a:pt x="108" y="114"/>
                    </a:lnTo>
                    <a:lnTo>
                      <a:pt x="111" y="113"/>
                    </a:lnTo>
                    <a:lnTo>
                      <a:pt x="115" y="113"/>
                    </a:lnTo>
                    <a:lnTo>
                      <a:pt x="118" y="113"/>
                    </a:lnTo>
                    <a:lnTo>
                      <a:pt x="122" y="114"/>
                    </a:lnTo>
                    <a:lnTo>
                      <a:pt x="123" y="116"/>
                    </a:lnTo>
                    <a:lnTo>
                      <a:pt x="127" y="120"/>
                    </a:lnTo>
                    <a:lnTo>
                      <a:pt x="130" y="120"/>
                    </a:lnTo>
                    <a:lnTo>
                      <a:pt x="133" y="120"/>
                    </a:lnTo>
                    <a:lnTo>
                      <a:pt x="133" y="116"/>
                    </a:lnTo>
                    <a:lnTo>
                      <a:pt x="133" y="113"/>
                    </a:lnTo>
                    <a:lnTo>
                      <a:pt x="137" y="108"/>
                    </a:lnTo>
                    <a:lnTo>
                      <a:pt x="138" y="104"/>
                    </a:lnTo>
                    <a:lnTo>
                      <a:pt x="143" y="99"/>
                    </a:lnTo>
                    <a:lnTo>
                      <a:pt x="149" y="96"/>
                    </a:lnTo>
                    <a:lnTo>
                      <a:pt x="154" y="93"/>
                    </a:lnTo>
                    <a:lnTo>
                      <a:pt x="155" y="89"/>
                    </a:lnTo>
                    <a:lnTo>
                      <a:pt x="154" y="86"/>
                    </a:lnTo>
                    <a:lnTo>
                      <a:pt x="154" y="82"/>
                    </a:lnTo>
                    <a:lnTo>
                      <a:pt x="150" y="81"/>
                    </a:lnTo>
                    <a:lnTo>
                      <a:pt x="150" y="79"/>
                    </a:lnTo>
                    <a:lnTo>
                      <a:pt x="150" y="77"/>
                    </a:lnTo>
                    <a:lnTo>
                      <a:pt x="149" y="76"/>
                    </a:lnTo>
                    <a:lnTo>
                      <a:pt x="147" y="72"/>
                    </a:lnTo>
                    <a:lnTo>
                      <a:pt x="145" y="69"/>
                    </a:lnTo>
                    <a:lnTo>
                      <a:pt x="143" y="66"/>
                    </a:lnTo>
                    <a:lnTo>
                      <a:pt x="143" y="62"/>
                    </a:lnTo>
                    <a:lnTo>
                      <a:pt x="145" y="59"/>
                    </a:lnTo>
                    <a:lnTo>
                      <a:pt x="142" y="57"/>
                    </a:lnTo>
                    <a:lnTo>
                      <a:pt x="142" y="54"/>
                    </a:lnTo>
                    <a:lnTo>
                      <a:pt x="143" y="50"/>
                    </a:lnTo>
                    <a:lnTo>
                      <a:pt x="149" y="49"/>
                    </a:lnTo>
                    <a:lnTo>
                      <a:pt x="150" y="45"/>
                    </a:lnTo>
                    <a:lnTo>
                      <a:pt x="154" y="40"/>
                    </a:lnTo>
                    <a:lnTo>
                      <a:pt x="154" y="37"/>
                    </a:lnTo>
                    <a:lnTo>
                      <a:pt x="152" y="32"/>
                    </a:lnTo>
                    <a:lnTo>
                      <a:pt x="149" y="27"/>
                    </a:lnTo>
                    <a:lnTo>
                      <a:pt x="149" y="25"/>
                    </a:lnTo>
                    <a:lnTo>
                      <a:pt x="143" y="20"/>
                    </a:lnTo>
                    <a:lnTo>
                      <a:pt x="145" y="17"/>
                    </a:lnTo>
                    <a:lnTo>
                      <a:pt x="145" y="15"/>
                    </a:lnTo>
                    <a:lnTo>
                      <a:pt x="140" y="12"/>
                    </a:lnTo>
                    <a:lnTo>
                      <a:pt x="135" y="10"/>
                    </a:lnTo>
                    <a:lnTo>
                      <a:pt x="132" y="10"/>
                    </a:lnTo>
                    <a:lnTo>
                      <a:pt x="128" y="10"/>
                    </a:lnTo>
                    <a:lnTo>
                      <a:pt x="125" y="12"/>
                    </a:lnTo>
                    <a:lnTo>
                      <a:pt x="122" y="12"/>
                    </a:lnTo>
                    <a:lnTo>
                      <a:pt x="117" y="12"/>
                    </a:lnTo>
                    <a:lnTo>
                      <a:pt x="113" y="12"/>
                    </a:lnTo>
                    <a:lnTo>
                      <a:pt x="108" y="12"/>
                    </a:lnTo>
                    <a:lnTo>
                      <a:pt x="101" y="12"/>
                    </a:lnTo>
                    <a:lnTo>
                      <a:pt x="98" y="10"/>
                    </a:lnTo>
                    <a:lnTo>
                      <a:pt x="93" y="10"/>
                    </a:lnTo>
                    <a:lnTo>
                      <a:pt x="90" y="10"/>
                    </a:lnTo>
                    <a:lnTo>
                      <a:pt x="84" y="8"/>
                    </a:lnTo>
                    <a:lnTo>
                      <a:pt x="83" y="10"/>
                    </a:lnTo>
                    <a:lnTo>
                      <a:pt x="78" y="10"/>
                    </a:lnTo>
                    <a:lnTo>
                      <a:pt x="74" y="10"/>
                    </a:lnTo>
                    <a:lnTo>
                      <a:pt x="73" y="12"/>
                    </a:lnTo>
                    <a:lnTo>
                      <a:pt x="71" y="12"/>
                    </a:lnTo>
                    <a:lnTo>
                      <a:pt x="69" y="10"/>
                    </a:lnTo>
                    <a:lnTo>
                      <a:pt x="69" y="7"/>
                    </a:lnTo>
                    <a:lnTo>
                      <a:pt x="68" y="3"/>
                    </a:lnTo>
                    <a:lnTo>
                      <a:pt x="68" y="2"/>
                    </a:lnTo>
                    <a:lnTo>
                      <a:pt x="68" y="3"/>
                    </a:lnTo>
                    <a:lnTo>
                      <a:pt x="69" y="3"/>
                    </a:lnTo>
                    <a:lnTo>
                      <a:pt x="73" y="5"/>
                    </a:lnTo>
                    <a:lnTo>
                      <a:pt x="73" y="3"/>
                    </a:lnTo>
                    <a:lnTo>
                      <a:pt x="71" y="2"/>
                    </a:lnTo>
                    <a:lnTo>
                      <a:pt x="68" y="0"/>
                    </a:lnTo>
                    <a:lnTo>
                      <a:pt x="64" y="0"/>
                    </a:lnTo>
                    <a:lnTo>
                      <a:pt x="61" y="0"/>
                    </a:lnTo>
                    <a:lnTo>
                      <a:pt x="58" y="0"/>
                    </a:lnTo>
                    <a:lnTo>
                      <a:pt x="52" y="2"/>
                    </a:lnTo>
                    <a:lnTo>
                      <a:pt x="49" y="2"/>
                    </a:lnTo>
                    <a:lnTo>
                      <a:pt x="46" y="3"/>
                    </a:lnTo>
                    <a:lnTo>
                      <a:pt x="42" y="5"/>
                    </a:lnTo>
                    <a:lnTo>
                      <a:pt x="37" y="7"/>
                    </a:lnTo>
                    <a:lnTo>
                      <a:pt x="36" y="8"/>
                    </a:lnTo>
                    <a:lnTo>
                      <a:pt x="32" y="10"/>
                    </a:lnTo>
                    <a:lnTo>
                      <a:pt x="29" y="12"/>
                    </a:lnTo>
                    <a:lnTo>
                      <a:pt x="25" y="13"/>
                    </a:lnTo>
                    <a:lnTo>
                      <a:pt x="24" y="13"/>
                    </a:lnTo>
                    <a:lnTo>
                      <a:pt x="19" y="15"/>
                    </a:lnTo>
                    <a:lnTo>
                      <a:pt x="14" y="15"/>
                    </a:lnTo>
                    <a:lnTo>
                      <a:pt x="10" y="17"/>
                    </a:lnTo>
                    <a:lnTo>
                      <a:pt x="9" y="18"/>
                    </a:lnTo>
                    <a:lnTo>
                      <a:pt x="7" y="20"/>
                    </a:lnTo>
                    <a:lnTo>
                      <a:pt x="7" y="18"/>
                    </a:lnTo>
                    <a:lnTo>
                      <a:pt x="4" y="20"/>
                    </a:lnTo>
                    <a:lnTo>
                      <a:pt x="2" y="22"/>
                    </a:lnTo>
                    <a:lnTo>
                      <a:pt x="4" y="22"/>
                    </a:lnTo>
                    <a:lnTo>
                      <a:pt x="5" y="22"/>
                    </a:lnTo>
                    <a:lnTo>
                      <a:pt x="5" y="23"/>
                    </a:lnTo>
                    <a:lnTo>
                      <a:pt x="5" y="25"/>
                    </a:lnTo>
                    <a:lnTo>
                      <a:pt x="4" y="25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790" name="Freeform 164">
                <a:extLst>
                  <a:ext uri="{FF2B5EF4-FFF2-40B4-BE49-F238E27FC236}">
                    <a16:creationId xmlns:a16="http://schemas.microsoft.com/office/drawing/2014/main" id="{3B6D285B-7F20-C14D-9424-EDFA2FCDD4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" y="401"/>
                <a:ext cx="155" cy="120"/>
              </a:xfrm>
              <a:custGeom>
                <a:avLst/>
                <a:gdLst>
                  <a:gd name="T0" fmla="*/ 2 w 155"/>
                  <a:gd name="T1" fmla="*/ 29 h 120"/>
                  <a:gd name="T2" fmla="*/ 4 w 155"/>
                  <a:gd name="T3" fmla="*/ 34 h 120"/>
                  <a:gd name="T4" fmla="*/ 0 w 155"/>
                  <a:gd name="T5" fmla="*/ 42 h 120"/>
                  <a:gd name="T6" fmla="*/ 4 w 155"/>
                  <a:gd name="T7" fmla="*/ 45 h 120"/>
                  <a:gd name="T8" fmla="*/ 5 w 155"/>
                  <a:gd name="T9" fmla="*/ 54 h 120"/>
                  <a:gd name="T10" fmla="*/ 7 w 155"/>
                  <a:gd name="T11" fmla="*/ 62 h 120"/>
                  <a:gd name="T12" fmla="*/ 9 w 155"/>
                  <a:gd name="T13" fmla="*/ 71 h 120"/>
                  <a:gd name="T14" fmla="*/ 12 w 155"/>
                  <a:gd name="T15" fmla="*/ 74 h 120"/>
                  <a:gd name="T16" fmla="*/ 10 w 155"/>
                  <a:gd name="T17" fmla="*/ 82 h 120"/>
                  <a:gd name="T18" fmla="*/ 12 w 155"/>
                  <a:gd name="T19" fmla="*/ 86 h 120"/>
                  <a:gd name="T20" fmla="*/ 19 w 155"/>
                  <a:gd name="T21" fmla="*/ 82 h 120"/>
                  <a:gd name="T22" fmla="*/ 25 w 155"/>
                  <a:gd name="T23" fmla="*/ 86 h 120"/>
                  <a:gd name="T24" fmla="*/ 34 w 155"/>
                  <a:gd name="T25" fmla="*/ 89 h 120"/>
                  <a:gd name="T26" fmla="*/ 32 w 155"/>
                  <a:gd name="T27" fmla="*/ 93 h 120"/>
                  <a:gd name="T28" fmla="*/ 41 w 155"/>
                  <a:gd name="T29" fmla="*/ 98 h 120"/>
                  <a:gd name="T30" fmla="*/ 42 w 155"/>
                  <a:gd name="T31" fmla="*/ 94 h 120"/>
                  <a:gd name="T32" fmla="*/ 47 w 155"/>
                  <a:gd name="T33" fmla="*/ 94 h 120"/>
                  <a:gd name="T34" fmla="*/ 56 w 155"/>
                  <a:gd name="T35" fmla="*/ 96 h 120"/>
                  <a:gd name="T36" fmla="*/ 59 w 155"/>
                  <a:gd name="T37" fmla="*/ 101 h 120"/>
                  <a:gd name="T38" fmla="*/ 68 w 155"/>
                  <a:gd name="T39" fmla="*/ 109 h 120"/>
                  <a:gd name="T40" fmla="*/ 79 w 155"/>
                  <a:gd name="T41" fmla="*/ 113 h 120"/>
                  <a:gd name="T42" fmla="*/ 88 w 155"/>
                  <a:gd name="T43" fmla="*/ 114 h 120"/>
                  <a:gd name="T44" fmla="*/ 95 w 155"/>
                  <a:gd name="T45" fmla="*/ 116 h 120"/>
                  <a:gd name="T46" fmla="*/ 106 w 155"/>
                  <a:gd name="T47" fmla="*/ 116 h 120"/>
                  <a:gd name="T48" fmla="*/ 115 w 155"/>
                  <a:gd name="T49" fmla="*/ 113 h 120"/>
                  <a:gd name="T50" fmla="*/ 123 w 155"/>
                  <a:gd name="T51" fmla="*/ 116 h 120"/>
                  <a:gd name="T52" fmla="*/ 133 w 155"/>
                  <a:gd name="T53" fmla="*/ 120 h 120"/>
                  <a:gd name="T54" fmla="*/ 137 w 155"/>
                  <a:gd name="T55" fmla="*/ 108 h 120"/>
                  <a:gd name="T56" fmla="*/ 149 w 155"/>
                  <a:gd name="T57" fmla="*/ 96 h 120"/>
                  <a:gd name="T58" fmla="*/ 154 w 155"/>
                  <a:gd name="T59" fmla="*/ 86 h 120"/>
                  <a:gd name="T60" fmla="*/ 150 w 155"/>
                  <a:gd name="T61" fmla="*/ 79 h 120"/>
                  <a:gd name="T62" fmla="*/ 147 w 155"/>
                  <a:gd name="T63" fmla="*/ 72 h 120"/>
                  <a:gd name="T64" fmla="*/ 143 w 155"/>
                  <a:gd name="T65" fmla="*/ 62 h 120"/>
                  <a:gd name="T66" fmla="*/ 142 w 155"/>
                  <a:gd name="T67" fmla="*/ 54 h 120"/>
                  <a:gd name="T68" fmla="*/ 150 w 155"/>
                  <a:gd name="T69" fmla="*/ 45 h 120"/>
                  <a:gd name="T70" fmla="*/ 152 w 155"/>
                  <a:gd name="T71" fmla="*/ 32 h 120"/>
                  <a:gd name="T72" fmla="*/ 143 w 155"/>
                  <a:gd name="T73" fmla="*/ 20 h 120"/>
                  <a:gd name="T74" fmla="*/ 140 w 155"/>
                  <a:gd name="T75" fmla="*/ 12 h 120"/>
                  <a:gd name="T76" fmla="*/ 128 w 155"/>
                  <a:gd name="T77" fmla="*/ 10 h 120"/>
                  <a:gd name="T78" fmla="*/ 117 w 155"/>
                  <a:gd name="T79" fmla="*/ 12 h 120"/>
                  <a:gd name="T80" fmla="*/ 101 w 155"/>
                  <a:gd name="T81" fmla="*/ 12 h 120"/>
                  <a:gd name="T82" fmla="*/ 90 w 155"/>
                  <a:gd name="T83" fmla="*/ 10 h 120"/>
                  <a:gd name="T84" fmla="*/ 78 w 155"/>
                  <a:gd name="T85" fmla="*/ 10 h 120"/>
                  <a:gd name="T86" fmla="*/ 71 w 155"/>
                  <a:gd name="T87" fmla="*/ 12 h 120"/>
                  <a:gd name="T88" fmla="*/ 68 w 155"/>
                  <a:gd name="T89" fmla="*/ 3 h 120"/>
                  <a:gd name="T90" fmla="*/ 69 w 155"/>
                  <a:gd name="T91" fmla="*/ 3 h 120"/>
                  <a:gd name="T92" fmla="*/ 71 w 155"/>
                  <a:gd name="T93" fmla="*/ 2 h 120"/>
                  <a:gd name="T94" fmla="*/ 61 w 155"/>
                  <a:gd name="T95" fmla="*/ 0 h 120"/>
                  <a:gd name="T96" fmla="*/ 49 w 155"/>
                  <a:gd name="T97" fmla="*/ 2 h 120"/>
                  <a:gd name="T98" fmla="*/ 37 w 155"/>
                  <a:gd name="T99" fmla="*/ 7 h 120"/>
                  <a:gd name="T100" fmla="*/ 29 w 155"/>
                  <a:gd name="T101" fmla="*/ 12 h 120"/>
                  <a:gd name="T102" fmla="*/ 19 w 155"/>
                  <a:gd name="T103" fmla="*/ 15 h 120"/>
                  <a:gd name="T104" fmla="*/ 9 w 155"/>
                  <a:gd name="T105" fmla="*/ 18 h 120"/>
                  <a:gd name="T106" fmla="*/ 4 w 155"/>
                  <a:gd name="T107" fmla="*/ 20 h 120"/>
                  <a:gd name="T108" fmla="*/ 5 w 155"/>
                  <a:gd name="T109" fmla="*/ 22 h 120"/>
                  <a:gd name="T110" fmla="*/ 4 w 155"/>
                  <a:gd name="T111" fmla="*/ 25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5" h="120">
                    <a:moveTo>
                      <a:pt x="0" y="23"/>
                    </a:moveTo>
                    <a:lnTo>
                      <a:pt x="0" y="25"/>
                    </a:lnTo>
                    <a:lnTo>
                      <a:pt x="2" y="29"/>
                    </a:lnTo>
                    <a:lnTo>
                      <a:pt x="4" y="30"/>
                    </a:lnTo>
                    <a:lnTo>
                      <a:pt x="4" y="32"/>
                    </a:lnTo>
                    <a:lnTo>
                      <a:pt x="4" y="34"/>
                    </a:lnTo>
                    <a:lnTo>
                      <a:pt x="2" y="37"/>
                    </a:lnTo>
                    <a:lnTo>
                      <a:pt x="0" y="39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2" y="45"/>
                    </a:lnTo>
                    <a:lnTo>
                      <a:pt x="4" y="45"/>
                    </a:lnTo>
                    <a:lnTo>
                      <a:pt x="5" y="49"/>
                    </a:lnTo>
                    <a:lnTo>
                      <a:pt x="5" y="50"/>
                    </a:lnTo>
                    <a:lnTo>
                      <a:pt x="5" y="54"/>
                    </a:lnTo>
                    <a:lnTo>
                      <a:pt x="5" y="55"/>
                    </a:lnTo>
                    <a:lnTo>
                      <a:pt x="7" y="61"/>
                    </a:lnTo>
                    <a:lnTo>
                      <a:pt x="7" y="62"/>
                    </a:lnTo>
                    <a:lnTo>
                      <a:pt x="7" y="64"/>
                    </a:lnTo>
                    <a:lnTo>
                      <a:pt x="7" y="67"/>
                    </a:lnTo>
                    <a:lnTo>
                      <a:pt x="9" y="71"/>
                    </a:lnTo>
                    <a:lnTo>
                      <a:pt x="10" y="72"/>
                    </a:lnTo>
                    <a:lnTo>
                      <a:pt x="12" y="72"/>
                    </a:lnTo>
                    <a:lnTo>
                      <a:pt x="12" y="74"/>
                    </a:lnTo>
                    <a:lnTo>
                      <a:pt x="12" y="76"/>
                    </a:lnTo>
                    <a:lnTo>
                      <a:pt x="12" y="79"/>
                    </a:lnTo>
                    <a:lnTo>
                      <a:pt x="10" y="82"/>
                    </a:lnTo>
                    <a:lnTo>
                      <a:pt x="10" y="84"/>
                    </a:lnTo>
                    <a:lnTo>
                      <a:pt x="9" y="84"/>
                    </a:lnTo>
                    <a:lnTo>
                      <a:pt x="12" y="86"/>
                    </a:lnTo>
                    <a:lnTo>
                      <a:pt x="14" y="82"/>
                    </a:lnTo>
                    <a:lnTo>
                      <a:pt x="15" y="82"/>
                    </a:lnTo>
                    <a:lnTo>
                      <a:pt x="19" y="82"/>
                    </a:lnTo>
                    <a:lnTo>
                      <a:pt x="20" y="86"/>
                    </a:lnTo>
                    <a:lnTo>
                      <a:pt x="22" y="86"/>
                    </a:lnTo>
                    <a:lnTo>
                      <a:pt x="25" y="86"/>
                    </a:lnTo>
                    <a:lnTo>
                      <a:pt x="29" y="86"/>
                    </a:lnTo>
                    <a:lnTo>
                      <a:pt x="31" y="89"/>
                    </a:lnTo>
                    <a:lnTo>
                      <a:pt x="34" y="89"/>
                    </a:lnTo>
                    <a:lnTo>
                      <a:pt x="34" y="91"/>
                    </a:lnTo>
                    <a:lnTo>
                      <a:pt x="34" y="93"/>
                    </a:lnTo>
                    <a:lnTo>
                      <a:pt x="32" y="93"/>
                    </a:lnTo>
                    <a:lnTo>
                      <a:pt x="36" y="96"/>
                    </a:lnTo>
                    <a:lnTo>
                      <a:pt x="39" y="98"/>
                    </a:lnTo>
                    <a:lnTo>
                      <a:pt x="41" y="98"/>
                    </a:lnTo>
                    <a:lnTo>
                      <a:pt x="42" y="98"/>
                    </a:lnTo>
                    <a:lnTo>
                      <a:pt x="44" y="96"/>
                    </a:lnTo>
                    <a:lnTo>
                      <a:pt x="42" y="94"/>
                    </a:lnTo>
                    <a:lnTo>
                      <a:pt x="44" y="94"/>
                    </a:lnTo>
                    <a:lnTo>
                      <a:pt x="46" y="94"/>
                    </a:lnTo>
                    <a:lnTo>
                      <a:pt x="47" y="94"/>
                    </a:lnTo>
                    <a:lnTo>
                      <a:pt x="51" y="96"/>
                    </a:lnTo>
                    <a:lnTo>
                      <a:pt x="54" y="96"/>
                    </a:lnTo>
                    <a:lnTo>
                      <a:pt x="56" y="96"/>
                    </a:lnTo>
                    <a:lnTo>
                      <a:pt x="56" y="98"/>
                    </a:lnTo>
                    <a:lnTo>
                      <a:pt x="56" y="99"/>
                    </a:lnTo>
                    <a:lnTo>
                      <a:pt x="59" y="101"/>
                    </a:lnTo>
                    <a:lnTo>
                      <a:pt x="63" y="103"/>
                    </a:lnTo>
                    <a:lnTo>
                      <a:pt x="64" y="106"/>
                    </a:lnTo>
                    <a:lnTo>
                      <a:pt x="68" y="109"/>
                    </a:lnTo>
                    <a:lnTo>
                      <a:pt x="73" y="111"/>
                    </a:lnTo>
                    <a:lnTo>
                      <a:pt x="76" y="113"/>
                    </a:lnTo>
                    <a:lnTo>
                      <a:pt x="79" y="113"/>
                    </a:lnTo>
                    <a:lnTo>
                      <a:pt x="83" y="111"/>
                    </a:lnTo>
                    <a:lnTo>
                      <a:pt x="84" y="113"/>
                    </a:lnTo>
                    <a:lnTo>
                      <a:pt x="88" y="114"/>
                    </a:lnTo>
                    <a:lnTo>
                      <a:pt x="90" y="116"/>
                    </a:lnTo>
                    <a:lnTo>
                      <a:pt x="91" y="118"/>
                    </a:lnTo>
                    <a:lnTo>
                      <a:pt x="95" y="116"/>
                    </a:lnTo>
                    <a:lnTo>
                      <a:pt x="98" y="114"/>
                    </a:lnTo>
                    <a:lnTo>
                      <a:pt x="103" y="114"/>
                    </a:lnTo>
                    <a:lnTo>
                      <a:pt x="106" y="116"/>
                    </a:lnTo>
                    <a:lnTo>
                      <a:pt x="108" y="114"/>
                    </a:lnTo>
                    <a:lnTo>
                      <a:pt x="111" y="113"/>
                    </a:lnTo>
                    <a:lnTo>
                      <a:pt x="115" y="113"/>
                    </a:lnTo>
                    <a:lnTo>
                      <a:pt x="118" y="113"/>
                    </a:lnTo>
                    <a:lnTo>
                      <a:pt x="122" y="114"/>
                    </a:lnTo>
                    <a:lnTo>
                      <a:pt x="123" y="116"/>
                    </a:lnTo>
                    <a:lnTo>
                      <a:pt x="127" y="120"/>
                    </a:lnTo>
                    <a:lnTo>
                      <a:pt x="130" y="120"/>
                    </a:lnTo>
                    <a:lnTo>
                      <a:pt x="133" y="120"/>
                    </a:lnTo>
                    <a:lnTo>
                      <a:pt x="133" y="116"/>
                    </a:lnTo>
                    <a:lnTo>
                      <a:pt x="133" y="113"/>
                    </a:lnTo>
                    <a:lnTo>
                      <a:pt x="137" y="108"/>
                    </a:lnTo>
                    <a:lnTo>
                      <a:pt x="138" y="104"/>
                    </a:lnTo>
                    <a:lnTo>
                      <a:pt x="143" y="99"/>
                    </a:lnTo>
                    <a:lnTo>
                      <a:pt x="149" y="96"/>
                    </a:lnTo>
                    <a:lnTo>
                      <a:pt x="154" y="93"/>
                    </a:lnTo>
                    <a:lnTo>
                      <a:pt x="155" y="89"/>
                    </a:lnTo>
                    <a:lnTo>
                      <a:pt x="154" y="86"/>
                    </a:lnTo>
                    <a:lnTo>
                      <a:pt x="154" y="82"/>
                    </a:lnTo>
                    <a:lnTo>
                      <a:pt x="150" y="81"/>
                    </a:lnTo>
                    <a:lnTo>
                      <a:pt x="150" y="79"/>
                    </a:lnTo>
                    <a:lnTo>
                      <a:pt x="150" y="77"/>
                    </a:lnTo>
                    <a:lnTo>
                      <a:pt x="149" y="76"/>
                    </a:lnTo>
                    <a:lnTo>
                      <a:pt x="147" y="72"/>
                    </a:lnTo>
                    <a:lnTo>
                      <a:pt x="145" y="69"/>
                    </a:lnTo>
                    <a:lnTo>
                      <a:pt x="143" y="66"/>
                    </a:lnTo>
                    <a:lnTo>
                      <a:pt x="143" y="62"/>
                    </a:lnTo>
                    <a:lnTo>
                      <a:pt x="145" y="59"/>
                    </a:lnTo>
                    <a:lnTo>
                      <a:pt x="142" y="57"/>
                    </a:lnTo>
                    <a:lnTo>
                      <a:pt x="142" y="54"/>
                    </a:lnTo>
                    <a:lnTo>
                      <a:pt x="143" y="50"/>
                    </a:lnTo>
                    <a:lnTo>
                      <a:pt x="149" y="49"/>
                    </a:lnTo>
                    <a:lnTo>
                      <a:pt x="150" y="45"/>
                    </a:lnTo>
                    <a:lnTo>
                      <a:pt x="154" y="40"/>
                    </a:lnTo>
                    <a:lnTo>
                      <a:pt x="154" y="37"/>
                    </a:lnTo>
                    <a:lnTo>
                      <a:pt x="152" y="32"/>
                    </a:lnTo>
                    <a:lnTo>
                      <a:pt x="149" y="27"/>
                    </a:lnTo>
                    <a:lnTo>
                      <a:pt x="149" y="25"/>
                    </a:lnTo>
                    <a:lnTo>
                      <a:pt x="143" y="20"/>
                    </a:lnTo>
                    <a:lnTo>
                      <a:pt x="145" y="17"/>
                    </a:lnTo>
                    <a:lnTo>
                      <a:pt x="145" y="15"/>
                    </a:lnTo>
                    <a:lnTo>
                      <a:pt x="140" y="12"/>
                    </a:lnTo>
                    <a:lnTo>
                      <a:pt x="135" y="10"/>
                    </a:lnTo>
                    <a:lnTo>
                      <a:pt x="132" y="10"/>
                    </a:lnTo>
                    <a:lnTo>
                      <a:pt x="128" y="10"/>
                    </a:lnTo>
                    <a:lnTo>
                      <a:pt x="125" y="12"/>
                    </a:lnTo>
                    <a:lnTo>
                      <a:pt x="122" y="12"/>
                    </a:lnTo>
                    <a:lnTo>
                      <a:pt x="117" y="12"/>
                    </a:lnTo>
                    <a:lnTo>
                      <a:pt x="113" y="12"/>
                    </a:lnTo>
                    <a:lnTo>
                      <a:pt x="108" y="12"/>
                    </a:lnTo>
                    <a:lnTo>
                      <a:pt x="101" y="12"/>
                    </a:lnTo>
                    <a:lnTo>
                      <a:pt x="98" y="10"/>
                    </a:lnTo>
                    <a:lnTo>
                      <a:pt x="93" y="10"/>
                    </a:lnTo>
                    <a:lnTo>
                      <a:pt x="90" y="10"/>
                    </a:lnTo>
                    <a:lnTo>
                      <a:pt x="84" y="8"/>
                    </a:lnTo>
                    <a:lnTo>
                      <a:pt x="83" y="10"/>
                    </a:lnTo>
                    <a:lnTo>
                      <a:pt x="78" y="10"/>
                    </a:lnTo>
                    <a:lnTo>
                      <a:pt x="74" y="10"/>
                    </a:lnTo>
                    <a:lnTo>
                      <a:pt x="73" y="12"/>
                    </a:lnTo>
                    <a:lnTo>
                      <a:pt x="71" y="12"/>
                    </a:lnTo>
                    <a:lnTo>
                      <a:pt x="69" y="10"/>
                    </a:lnTo>
                    <a:lnTo>
                      <a:pt x="69" y="7"/>
                    </a:lnTo>
                    <a:lnTo>
                      <a:pt x="68" y="3"/>
                    </a:lnTo>
                    <a:lnTo>
                      <a:pt x="68" y="2"/>
                    </a:lnTo>
                    <a:lnTo>
                      <a:pt x="68" y="3"/>
                    </a:lnTo>
                    <a:lnTo>
                      <a:pt x="69" y="3"/>
                    </a:lnTo>
                    <a:lnTo>
                      <a:pt x="73" y="5"/>
                    </a:lnTo>
                    <a:lnTo>
                      <a:pt x="73" y="3"/>
                    </a:lnTo>
                    <a:lnTo>
                      <a:pt x="71" y="2"/>
                    </a:lnTo>
                    <a:lnTo>
                      <a:pt x="68" y="0"/>
                    </a:lnTo>
                    <a:lnTo>
                      <a:pt x="64" y="0"/>
                    </a:lnTo>
                    <a:lnTo>
                      <a:pt x="61" y="0"/>
                    </a:lnTo>
                    <a:lnTo>
                      <a:pt x="58" y="0"/>
                    </a:lnTo>
                    <a:lnTo>
                      <a:pt x="52" y="2"/>
                    </a:lnTo>
                    <a:lnTo>
                      <a:pt x="49" y="2"/>
                    </a:lnTo>
                    <a:lnTo>
                      <a:pt x="46" y="3"/>
                    </a:lnTo>
                    <a:lnTo>
                      <a:pt x="42" y="5"/>
                    </a:lnTo>
                    <a:lnTo>
                      <a:pt x="37" y="7"/>
                    </a:lnTo>
                    <a:lnTo>
                      <a:pt x="36" y="8"/>
                    </a:lnTo>
                    <a:lnTo>
                      <a:pt x="32" y="10"/>
                    </a:lnTo>
                    <a:lnTo>
                      <a:pt x="29" y="12"/>
                    </a:lnTo>
                    <a:lnTo>
                      <a:pt x="25" y="13"/>
                    </a:lnTo>
                    <a:lnTo>
                      <a:pt x="24" y="13"/>
                    </a:lnTo>
                    <a:lnTo>
                      <a:pt x="19" y="15"/>
                    </a:lnTo>
                    <a:lnTo>
                      <a:pt x="14" y="15"/>
                    </a:lnTo>
                    <a:lnTo>
                      <a:pt x="10" y="17"/>
                    </a:lnTo>
                    <a:lnTo>
                      <a:pt x="9" y="18"/>
                    </a:lnTo>
                    <a:lnTo>
                      <a:pt x="7" y="20"/>
                    </a:lnTo>
                    <a:lnTo>
                      <a:pt x="7" y="18"/>
                    </a:lnTo>
                    <a:lnTo>
                      <a:pt x="4" y="20"/>
                    </a:lnTo>
                    <a:lnTo>
                      <a:pt x="2" y="22"/>
                    </a:lnTo>
                    <a:lnTo>
                      <a:pt x="4" y="22"/>
                    </a:lnTo>
                    <a:lnTo>
                      <a:pt x="5" y="22"/>
                    </a:lnTo>
                    <a:lnTo>
                      <a:pt x="5" y="23"/>
                    </a:lnTo>
                    <a:lnTo>
                      <a:pt x="5" y="25"/>
                    </a:lnTo>
                    <a:lnTo>
                      <a:pt x="4" y="25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63" name="Group 1662">
              <a:extLst>
                <a:ext uri="{FF2B5EF4-FFF2-40B4-BE49-F238E27FC236}">
                  <a16:creationId xmlns:a16="http://schemas.microsoft.com/office/drawing/2014/main" id="{6805F578-61D5-B844-88D4-31A0801F02A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" y="657"/>
              <a:ext cx="51" cy="93"/>
              <a:chOff x="15" y="657"/>
              <a:chExt cx="51" cy="93"/>
            </a:xfrm>
          </p:grpSpPr>
          <p:sp>
            <p:nvSpPr>
              <p:cNvPr id="1787" name="Freeform 161">
                <a:extLst>
                  <a:ext uri="{FF2B5EF4-FFF2-40B4-BE49-F238E27FC236}">
                    <a16:creationId xmlns:a16="http://schemas.microsoft.com/office/drawing/2014/main" id="{03C47970-A274-CA4E-8973-F7205FA9F3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" y="657"/>
                <a:ext cx="51" cy="93"/>
              </a:xfrm>
              <a:custGeom>
                <a:avLst/>
                <a:gdLst>
                  <a:gd name="T0" fmla="*/ 17 w 51"/>
                  <a:gd name="T1" fmla="*/ 2 h 93"/>
                  <a:gd name="T2" fmla="*/ 22 w 51"/>
                  <a:gd name="T3" fmla="*/ 2 h 93"/>
                  <a:gd name="T4" fmla="*/ 24 w 51"/>
                  <a:gd name="T5" fmla="*/ 5 h 93"/>
                  <a:gd name="T6" fmla="*/ 31 w 51"/>
                  <a:gd name="T7" fmla="*/ 5 h 93"/>
                  <a:gd name="T8" fmla="*/ 37 w 51"/>
                  <a:gd name="T9" fmla="*/ 3 h 93"/>
                  <a:gd name="T10" fmla="*/ 48 w 51"/>
                  <a:gd name="T11" fmla="*/ 5 h 93"/>
                  <a:gd name="T12" fmla="*/ 51 w 51"/>
                  <a:gd name="T13" fmla="*/ 10 h 93"/>
                  <a:gd name="T14" fmla="*/ 49 w 51"/>
                  <a:gd name="T15" fmla="*/ 15 h 93"/>
                  <a:gd name="T16" fmla="*/ 42 w 51"/>
                  <a:gd name="T17" fmla="*/ 20 h 93"/>
                  <a:gd name="T18" fmla="*/ 42 w 51"/>
                  <a:gd name="T19" fmla="*/ 27 h 93"/>
                  <a:gd name="T20" fmla="*/ 41 w 51"/>
                  <a:gd name="T21" fmla="*/ 34 h 93"/>
                  <a:gd name="T22" fmla="*/ 42 w 51"/>
                  <a:gd name="T23" fmla="*/ 39 h 93"/>
                  <a:gd name="T24" fmla="*/ 39 w 51"/>
                  <a:gd name="T25" fmla="*/ 44 h 93"/>
                  <a:gd name="T26" fmla="*/ 34 w 51"/>
                  <a:gd name="T27" fmla="*/ 47 h 93"/>
                  <a:gd name="T28" fmla="*/ 36 w 51"/>
                  <a:gd name="T29" fmla="*/ 54 h 93"/>
                  <a:gd name="T30" fmla="*/ 39 w 51"/>
                  <a:gd name="T31" fmla="*/ 57 h 93"/>
                  <a:gd name="T32" fmla="*/ 36 w 51"/>
                  <a:gd name="T33" fmla="*/ 62 h 93"/>
                  <a:gd name="T34" fmla="*/ 36 w 51"/>
                  <a:gd name="T35" fmla="*/ 69 h 93"/>
                  <a:gd name="T36" fmla="*/ 39 w 51"/>
                  <a:gd name="T37" fmla="*/ 74 h 93"/>
                  <a:gd name="T38" fmla="*/ 34 w 51"/>
                  <a:gd name="T39" fmla="*/ 79 h 93"/>
                  <a:gd name="T40" fmla="*/ 32 w 51"/>
                  <a:gd name="T41" fmla="*/ 86 h 93"/>
                  <a:gd name="T42" fmla="*/ 32 w 51"/>
                  <a:gd name="T43" fmla="*/ 89 h 93"/>
                  <a:gd name="T44" fmla="*/ 31 w 51"/>
                  <a:gd name="T45" fmla="*/ 91 h 93"/>
                  <a:gd name="T46" fmla="*/ 26 w 51"/>
                  <a:gd name="T47" fmla="*/ 93 h 93"/>
                  <a:gd name="T48" fmla="*/ 21 w 51"/>
                  <a:gd name="T49" fmla="*/ 93 h 93"/>
                  <a:gd name="T50" fmla="*/ 14 w 51"/>
                  <a:gd name="T51" fmla="*/ 93 h 93"/>
                  <a:gd name="T52" fmla="*/ 9 w 51"/>
                  <a:gd name="T53" fmla="*/ 91 h 93"/>
                  <a:gd name="T54" fmla="*/ 10 w 51"/>
                  <a:gd name="T55" fmla="*/ 86 h 93"/>
                  <a:gd name="T56" fmla="*/ 10 w 51"/>
                  <a:gd name="T57" fmla="*/ 81 h 93"/>
                  <a:gd name="T58" fmla="*/ 12 w 51"/>
                  <a:gd name="T59" fmla="*/ 78 h 93"/>
                  <a:gd name="T60" fmla="*/ 12 w 51"/>
                  <a:gd name="T61" fmla="*/ 73 h 93"/>
                  <a:gd name="T62" fmla="*/ 12 w 51"/>
                  <a:gd name="T63" fmla="*/ 68 h 93"/>
                  <a:gd name="T64" fmla="*/ 10 w 51"/>
                  <a:gd name="T65" fmla="*/ 66 h 93"/>
                  <a:gd name="T66" fmla="*/ 5 w 51"/>
                  <a:gd name="T67" fmla="*/ 68 h 93"/>
                  <a:gd name="T68" fmla="*/ 4 w 51"/>
                  <a:gd name="T69" fmla="*/ 64 h 93"/>
                  <a:gd name="T70" fmla="*/ 0 w 51"/>
                  <a:gd name="T71" fmla="*/ 61 h 93"/>
                  <a:gd name="T72" fmla="*/ 2 w 51"/>
                  <a:gd name="T73" fmla="*/ 57 h 93"/>
                  <a:gd name="T74" fmla="*/ 2 w 51"/>
                  <a:gd name="T75" fmla="*/ 52 h 93"/>
                  <a:gd name="T76" fmla="*/ 5 w 51"/>
                  <a:gd name="T77" fmla="*/ 49 h 93"/>
                  <a:gd name="T78" fmla="*/ 7 w 51"/>
                  <a:gd name="T79" fmla="*/ 44 h 93"/>
                  <a:gd name="T80" fmla="*/ 10 w 51"/>
                  <a:gd name="T81" fmla="*/ 37 h 93"/>
                  <a:gd name="T82" fmla="*/ 10 w 51"/>
                  <a:gd name="T83" fmla="*/ 30 h 93"/>
                  <a:gd name="T84" fmla="*/ 12 w 51"/>
                  <a:gd name="T85" fmla="*/ 25 h 93"/>
                  <a:gd name="T86" fmla="*/ 14 w 51"/>
                  <a:gd name="T87" fmla="*/ 19 h 93"/>
                  <a:gd name="T88" fmla="*/ 12 w 51"/>
                  <a:gd name="T89" fmla="*/ 14 h 93"/>
                  <a:gd name="T90" fmla="*/ 10 w 51"/>
                  <a:gd name="T91" fmla="*/ 5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1" h="93">
                    <a:moveTo>
                      <a:pt x="14" y="3"/>
                    </a:moveTo>
                    <a:lnTo>
                      <a:pt x="17" y="2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22" y="3"/>
                    </a:lnTo>
                    <a:lnTo>
                      <a:pt x="24" y="5"/>
                    </a:lnTo>
                    <a:lnTo>
                      <a:pt x="27" y="5"/>
                    </a:lnTo>
                    <a:lnTo>
                      <a:pt x="31" y="5"/>
                    </a:lnTo>
                    <a:lnTo>
                      <a:pt x="34" y="5"/>
                    </a:lnTo>
                    <a:lnTo>
                      <a:pt x="37" y="3"/>
                    </a:lnTo>
                    <a:lnTo>
                      <a:pt x="42" y="3"/>
                    </a:lnTo>
                    <a:lnTo>
                      <a:pt x="48" y="5"/>
                    </a:lnTo>
                    <a:lnTo>
                      <a:pt x="49" y="7"/>
                    </a:lnTo>
                    <a:lnTo>
                      <a:pt x="51" y="10"/>
                    </a:lnTo>
                    <a:lnTo>
                      <a:pt x="51" y="12"/>
                    </a:lnTo>
                    <a:lnTo>
                      <a:pt x="49" y="15"/>
                    </a:lnTo>
                    <a:lnTo>
                      <a:pt x="46" y="19"/>
                    </a:lnTo>
                    <a:lnTo>
                      <a:pt x="42" y="20"/>
                    </a:lnTo>
                    <a:lnTo>
                      <a:pt x="42" y="24"/>
                    </a:lnTo>
                    <a:lnTo>
                      <a:pt x="42" y="27"/>
                    </a:lnTo>
                    <a:lnTo>
                      <a:pt x="42" y="30"/>
                    </a:lnTo>
                    <a:lnTo>
                      <a:pt x="41" y="34"/>
                    </a:lnTo>
                    <a:lnTo>
                      <a:pt x="41" y="36"/>
                    </a:lnTo>
                    <a:lnTo>
                      <a:pt x="42" y="39"/>
                    </a:lnTo>
                    <a:lnTo>
                      <a:pt x="42" y="41"/>
                    </a:lnTo>
                    <a:lnTo>
                      <a:pt x="39" y="44"/>
                    </a:lnTo>
                    <a:lnTo>
                      <a:pt x="36" y="46"/>
                    </a:lnTo>
                    <a:lnTo>
                      <a:pt x="34" y="47"/>
                    </a:lnTo>
                    <a:lnTo>
                      <a:pt x="34" y="51"/>
                    </a:lnTo>
                    <a:lnTo>
                      <a:pt x="36" y="54"/>
                    </a:lnTo>
                    <a:lnTo>
                      <a:pt x="37" y="56"/>
                    </a:lnTo>
                    <a:lnTo>
                      <a:pt x="39" y="57"/>
                    </a:lnTo>
                    <a:lnTo>
                      <a:pt x="37" y="59"/>
                    </a:lnTo>
                    <a:lnTo>
                      <a:pt x="36" y="62"/>
                    </a:lnTo>
                    <a:lnTo>
                      <a:pt x="36" y="66"/>
                    </a:lnTo>
                    <a:lnTo>
                      <a:pt x="36" y="69"/>
                    </a:lnTo>
                    <a:lnTo>
                      <a:pt x="39" y="73"/>
                    </a:lnTo>
                    <a:lnTo>
                      <a:pt x="39" y="74"/>
                    </a:lnTo>
                    <a:lnTo>
                      <a:pt x="37" y="78"/>
                    </a:lnTo>
                    <a:lnTo>
                      <a:pt x="34" y="79"/>
                    </a:lnTo>
                    <a:lnTo>
                      <a:pt x="32" y="83"/>
                    </a:lnTo>
                    <a:lnTo>
                      <a:pt x="32" y="86"/>
                    </a:lnTo>
                    <a:lnTo>
                      <a:pt x="32" y="88"/>
                    </a:lnTo>
                    <a:lnTo>
                      <a:pt x="32" y="89"/>
                    </a:lnTo>
                    <a:lnTo>
                      <a:pt x="32" y="91"/>
                    </a:lnTo>
                    <a:lnTo>
                      <a:pt x="31" y="91"/>
                    </a:lnTo>
                    <a:lnTo>
                      <a:pt x="29" y="93"/>
                    </a:lnTo>
                    <a:lnTo>
                      <a:pt x="26" y="93"/>
                    </a:lnTo>
                    <a:lnTo>
                      <a:pt x="22" y="93"/>
                    </a:lnTo>
                    <a:lnTo>
                      <a:pt x="21" y="93"/>
                    </a:lnTo>
                    <a:lnTo>
                      <a:pt x="17" y="93"/>
                    </a:lnTo>
                    <a:lnTo>
                      <a:pt x="14" y="93"/>
                    </a:lnTo>
                    <a:lnTo>
                      <a:pt x="10" y="93"/>
                    </a:lnTo>
                    <a:lnTo>
                      <a:pt x="9" y="91"/>
                    </a:lnTo>
                    <a:lnTo>
                      <a:pt x="9" y="89"/>
                    </a:lnTo>
                    <a:lnTo>
                      <a:pt x="10" y="86"/>
                    </a:lnTo>
                    <a:lnTo>
                      <a:pt x="12" y="83"/>
                    </a:lnTo>
                    <a:lnTo>
                      <a:pt x="10" y="81"/>
                    </a:lnTo>
                    <a:lnTo>
                      <a:pt x="10" y="79"/>
                    </a:lnTo>
                    <a:lnTo>
                      <a:pt x="12" y="78"/>
                    </a:lnTo>
                    <a:lnTo>
                      <a:pt x="10" y="76"/>
                    </a:lnTo>
                    <a:lnTo>
                      <a:pt x="12" y="73"/>
                    </a:lnTo>
                    <a:lnTo>
                      <a:pt x="12" y="69"/>
                    </a:lnTo>
                    <a:lnTo>
                      <a:pt x="12" y="68"/>
                    </a:lnTo>
                    <a:lnTo>
                      <a:pt x="12" y="66"/>
                    </a:lnTo>
                    <a:lnTo>
                      <a:pt x="10" y="66"/>
                    </a:lnTo>
                    <a:lnTo>
                      <a:pt x="9" y="68"/>
                    </a:lnTo>
                    <a:lnTo>
                      <a:pt x="5" y="68"/>
                    </a:lnTo>
                    <a:lnTo>
                      <a:pt x="5" y="66"/>
                    </a:lnTo>
                    <a:lnTo>
                      <a:pt x="4" y="64"/>
                    </a:lnTo>
                    <a:lnTo>
                      <a:pt x="0" y="62"/>
                    </a:lnTo>
                    <a:lnTo>
                      <a:pt x="0" y="61"/>
                    </a:lnTo>
                    <a:lnTo>
                      <a:pt x="2" y="59"/>
                    </a:lnTo>
                    <a:lnTo>
                      <a:pt x="2" y="57"/>
                    </a:lnTo>
                    <a:lnTo>
                      <a:pt x="2" y="54"/>
                    </a:lnTo>
                    <a:lnTo>
                      <a:pt x="2" y="52"/>
                    </a:lnTo>
                    <a:lnTo>
                      <a:pt x="4" y="51"/>
                    </a:lnTo>
                    <a:lnTo>
                      <a:pt x="5" y="49"/>
                    </a:lnTo>
                    <a:lnTo>
                      <a:pt x="7" y="46"/>
                    </a:lnTo>
                    <a:lnTo>
                      <a:pt x="7" y="44"/>
                    </a:lnTo>
                    <a:lnTo>
                      <a:pt x="9" y="41"/>
                    </a:lnTo>
                    <a:lnTo>
                      <a:pt x="10" y="37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2" y="27"/>
                    </a:lnTo>
                    <a:lnTo>
                      <a:pt x="12" y="25"/>
                    </a:lnTo>
                    <a:lnTo>
                      <a:pt x="12" y="22"/>
                    </a:lnTo>
                    <a:lnTo>
                      <a:pt x="14" y="19"/>
                    </a:lnTo>
                    <a:lnTo>
                      <a:pt x="14" y="17"/>
                    </a:lnTo>
                    <a:lnTo>
                      <a:pt x="12" y="14"/>
                    </a:lnTo>
                    <a:lnTo>
                      <a:pt x="12" y="9"/>
                    </a:lnTo>
                    <a:lnTo>
                      <a:pt x="10" y="5"/>
                    </a:lnTo>
                    <a:lnTo>
                      <a:pt x="14" y="3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788" name="Freeform 162">
                <a:extLst>
                  <a:ext uri="{FF2B5EF4-FFF2-40B4-BE49-F238E27FC236}">
                    <a16:creationId xmlns:a16="http://schemas.microsoft.com/office/drawing/2014/main" id="{ACD6F9BE-9447-EF41-ACA2-6715AF609B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" y="657"/>
                <a:ext cx="51" cy="93"/>
              </a:xfrm>
              <a:custGeom>
                <a:avLst/>
                <a:gdLst>
                  <a:gd name="T0" fmla="*/ 17 w 51"/>
                  <a:gd name="T1" fmla="*/ 2 h 93"/>
                  <a:gd name="T2" fmla="*/ 22 w 51"/>
                  <a:gd name="T3" fmla="*/ 2 h 93"/>
                  <a:gd name="T4" fmla="*/ 24 w 51"/>
                  <a:gd name="T5" fmla="*/ 5 h 93"/>
                  <a:gd name="T6" fmla="*/ 31 w 51"/>
                  <a:gd name="T7" fmla="*/ 5 h 93"/>
                  <a:gd name="T8" fmla="*/ 37 w 51"/>
                  <a:gd name="T9" fmla="*/ 3 h 93"/>
                  <a:gd name="T10" fmla="*/ 48 w 51"/>
                  <a:gd name="T11" fmla="*/ 5 h 93"/>
                  <a:gd name="T12" fmla="*/ 51 w 51"/>
                  <a:gd name="T13" fmla="*/ 10 h 93"/>
                  <a:gd name="T14" fmla="*/ 49 w 51"/>
                  <a:gd name="T15" fmla="*/ 15 h 93"/>
                  <a:gd name="T16" fmla="*/ 42 w 51"/>
                  <a:gd name="T17" fmla="*/ 20 h 93"/>
                  <a:gd name="T18" fmla="*/ 42 w 51"/>
                  <a:gd name="T19" fmla="*/ 27 h 93"/>
                  <a:gd name="T20" fmla="*/ 41 w 51"/>
                  <a:gd name="T21" fmla="*/ 34 h 93"/>
                  <a:gd name="T22" fmla="*/ 42 w 51"/>
                  <a:gd name="T23" fmla="*/ 39 h 93"/>
                  <a:gd name="T24" fmla="*/ 39 w 51"/>
                  <a:gd name="T25" fmla="*/ 44 h 93"/>
                  <a:gd name="T26" fmla="*/ 34 w 51"/>
                  <a:gd name="T27" fmla="*/ 47 h 93"/>
                  <a:gd name="T28" fmla="*/ 36 w 51"/>
                  <a:gd name="T29" fmla="*/ 54 h 93"/>
                  <a:gd name="T30" fmla="*/ 39 w 51"/>
                  <a:gd name="T31" fmla="*/ 57 h 93"/>
                  <a:gd name="T32" fmla="*/ 36 w 51"/>
                  <a:gd name="T33" fmla="*/ 62 h 93"/>
                  <a:gd name="T34" fmla="*/ 36 w 51"/>
                  <a:gd name="T35" fmla="*/ 69 h 93"/>
                  <a:gd name="T36" fmla="*/ 39 w 51"/>
                  <a:gd name="T37" fmla="*/ 74 h 93"/>
                  <a:gd name="T38" fmla="*/ 34 w 51"/>
                  <a:gd name="T39" fmla="*/ 79 h 93"/>
                  <a:gd name="T40" fmla="*/ 32 w 51"/>
                  <a:gd name="T41" fmla="*/ 86 h 93"/>
                  <a:gd name="T42" fmla="*/ 32 w 51"/>
                  <a:gd name="T43" fmla="*/ 89 h 93"/>
                  <a:gd name="T44" fmla="*/ 31 w 51"/>
                  <a:gd name="T45" fmla="*/ 91 h 93"/>
                  <a:gd name="T46" fmla="*/ 26 w 51"/>
                  <a:gd name="T47" fmla="*/ 93 h 93"/>
                  <a:gd name="T48" fmla="*/ 21 w 51"/>
                  <a:gd name="T49" fmla="*/ 93 h 93"/>
                  <a:gd name="T50" fmla="*/ 14 w 51"/>
                  <a:gd name="T51" fmla="*/ 93 h 93"/>
                  <a:gd name="T52" fmla="*/ 9 w 51"/>
                  <a:gd name="T53" fmla="*/ 91 h 93"/>
                  <a:gd name="T54" fmla="*/ 10 w 51"/>
                  <a:gd name="T55" fmla="*/ 86 h 93"/>
                  <a:gd name="T56" fmla="*/ 10 w 51"/>
                  <a:gd name="T57" fmla="*/ 81 h 93"/>
                  <a:gd name="T58" fmla="*/ 12 w 51"/>
                  <a:gd name="T59" fmla="*/ 78 h 93"/>
                  <a:gd name="T60" fmla="*/ 12 w 51"/>
                  <a:gd name="T61" fmla="*/ 73 h 93"/>
                  <a:gd name="T62" fmla="*/ 12 w 51"/>
                  <a:gd name="T63" fmla="*/ 68 h 93"/>
                  <a:gd name="T64" fmla="*/ 10 w 51"/>
                  <a:gd name="T65" fmla="*/ 66 h 93"/>
                  <a:gd name="T66" fmla="*/ 5 w 51"/>
                  <a:gd name="T67" fmla="*/ 68 h 93"/>
                  <a:gd name="T68" fmla="*/ 4 w 51"/>
                  <a:gd name="T69" fmla="*/ 64 h 93"/>
                  <a:gd name="T70" fmla="*/ 0 w 51"/>
                  <a:gd name="T71" fmla="*/ 61 h 93"/>
                  <a:gd name="T72" fmla="*/ 2 w 51"/>
                  <a:gd name="T73" fmla="*/ 57 h 93"/>
                  <a:gd name="T74" fmla="*/ 2 w 51"/>
                  <a:gd name="T75" fmla="*/ 52 h 93"/>
                  <a:gd name="T76" fmla="*/ 5 w 51"/>
                  <a:gd name="T77" fmla="*/ 49 h 93"/>
                  <a:gd name="T78" fmla="*/ 7 w 51"/>
                  <a:gd name="T79" fmla="*/ 44 h 93"/>
                  <a:gd name="T80" fmla="*/ 10 w 51"/>
                  <a:gd name="T81" fmla="*/ 37 h 93"/>
                  <a:gd name="T82" fmla="*/ 10 w 51"/>
                  <a:gd name="T83" fmla="*/ 30 h 93"/>
                  <a:gd name="T84" fmla="*/ 12 w 51"/>
                  <a:gd name="T85" fmla="*/ 25 h 93"/>
                  <a:gd name="T86" fmla="*/ 14 w 51"/>
                  <a:gd name="T87" fmla="*/ 19 h 93"/>
                  <a:gd name="T88" fmla="*/ 12 w 51"/>
                  <a:gd name="T89" fmla="*/ 14 h 93"/>
                  <a:gd name="T90" fmla="*/ 10 w 51"/>
                  <a:gd name="T91" fmla="*/ 5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1" h="93">
                    <a:moveTo>
                      <a:pt x="14" y="3"/>
                    </a:moveTo>
                    <a:lnTo>
                      <a:pt x="17" y="2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22" y="3"/>
                    </a:lnTo>
                    <a:lnTo>
                      <a:pt x="24" y="5"/>
                    </a:lnTo>
                    <a:lnTo>
                      <a:pt x="27" y="5"/>
                    </a:lnTo>
                    <a:lnTo>
                      <a:pt x="31" y="5"/>
                    </a:lnTo>
                    <a:lnTo>
                      <a:pt x="34" y="5"/>
                    </a:lnTo>
                    <a:lnTo>
                      <a:pt x="37" y="3"/>
                    </a:lnTo>
                    <a:lnTo>
                      <a:pt x="42" y="3"/>
                    </a:lnTo>
                    <a:lnTo>
                      <a:pt x="48" y="5"/>
                    </a:lnTo>
                    <a:lnTo>
                      <a:pt x="49" y="7"/>
                    </a:lnTo>
                    <a:lnTo>
                      <a:pt x="51" y="10"/>
                    </a:lnTo>
                    <a:lnTo>
                      <a:pt x="51" y="12"/>
                    </a:lnTo>
                    <a:lnTo>
                      <a:pt x="49" y="15"/>
                    </a:lnTo>
                    <a:lnTo>
                      <a:pt x="46" y="19"/>
                    </a:lnTo>
                    <a:lnTo>
                      <a:pt x="42" y="20"/>
                    </a:lnTo>
                    <a:lnTo>
                      <a:pt x="42" y="24"/>
                    </a:lnTo>
                    <a:lnTo>
                      <a:pt x="42" y="27"/>
                    </a:lnTo>
                    <a:lnTo>
                      <a:pt x="42" y="30"/>
                    </a:lnTo>
                    <a:lnTo>
                      <a:pt x="41" y="34"/>
                    </a:lnTo>
                    <a:lnTo>
                      <a:pt x="41" y="36"/>
                    </a:lnTo>
                    <a:lnTo>
                      <a:pt x="42" y="39"/>
                    </a:lnTo>
                    <a:lnTo>
                      <a:pt x="42" y="41"/>
                    </a:lnTo>
                    <a:lnTo>
                      <a:pt x="39" y="44"/>
                    </a:lnTo>
                    <a:lnTo>
                      <a:pt x="36" y="46"/>
                    </a:lnTo>
                    <a:lnTo>
                      <a:pt x="34" y="47"/>
                    </a:lnTo>
                    <a:lnTo>
                      <a:pt x="34" y="51"/>
                    </a:lnTo>
                    <a:lnTo>
                      <a:pt x="36" y="54"/>
                    </a:lnTo>
                    <a:lnTo>
                      <a:pt x="37" y="56"/>
                    </a:lnTo>
                    <a:lnTo>
                      <a:pt x="39" y="57"/>
                    </a:lnTo>
                    <a:lnTo>
                      <a:pt x="37" y="59"/>
                    </a:lnTo>
                    <a:lnTo>
                      <a:pt x="36" y="62"/>
                    </a:lnTo>
                    <a:lnTo>
                      <a:pt x="36" y="66"/>
                    </a:lnTo>
                    <a:lnTo>
                      <a:pt x="36" y="69"/>
                    </a:lnTo>
                    <a:lnTo>
                      <a:pt x="39" y="73"/>
                    </a:lnTo>
                    <a:lnTo>
                      <a:pt x="39" y="74"/>
                    </a:lnTo>
                    <a:lnTo>
                      <a:pt x="37" y="78"/>
                    </a:lnTo>
                    <a:lnTo>
                      <a:pt x="34" y="79"/>
                    </a:lnTo>
                    <a:lnTo>
                      <a:pt x="32" y="83"/>
                    </a:lnTo>
                    <a:lnTo>
                      <a:pt x="32" y="86"/>
                    </a:lnTo>
                    <a:lnTo>
                      <a:pt x="32" y="88"/>
                    </a:lnTo>
                    <a:lnTo>
                      <a:pt x="32" y="89"/>
                    </a:lnTo>
                    <a:lnTo>
                      <a:pt x="32" y="91"/>
                    </a:lnTo>
                    <a:lnTo>
                      <a:pt x="31" y="91"/>
                    </a:lnTo>
                    <a:lnTo>
                      <a:pt x="29" y="93"/>
                    </a:lnTo>
                    <a:lnTo>
                      <a:pt x="26" y="93"/>
                    </a:lnTo>
                    <a:lnTo>
                      <a:pt x="22" y="93"/>
                    </a:lnTo>
                    <a:lnTo>
                      <a:pt x="21" y="93"/>
                    </a:lnTo>
                    <a:lnTo>
                      <a:pt x="17" y="93"/>
                    </a:lnTo>
                    <a:lnTo>
                      <a:pt x="14" y="93"/>
                    </a:lnTo>
                    <a:lnTo>
                      <a:pt x="10" y="93"/>
                    </a:lnTo>
                    <a:lnTo>
                      <a:pt x="9" y="91"/>
                    </a:lnTo>
                    <a:lnTo>
                      <a:pt x="9" y="89"/>
                    </a:lnTo>
                    <a:lnTo>
                      <a:pt x="10" y="86"/>
                    </a:lnTo>
                    <a:lnTo>
                      <a:pt x="12" y="83"/>
                    </a:lnTo>
                    <a:lnTo>
                      <a:pt x="10" y="81"/>
                    </a:lnTo>
                    <a:lnTo>
                      <a:pt x="10" y="79"/>
                    </a:lnTo>
                    <a:lnTo>
                      <a:pt x="12" y="78"/>
                    </a:lnTo>
                    <a:lnTo>
                      <a:pt x="10" y="76"/>
                    </a:lnTo>
                    <a:lnTo>
                      <a:pt x="12" y="73"/>
                    </a:lnTo>
                    <a:lnTo>
                      <a:pt x="12" y="69"/>
                    </a:lnTo>
                    <a:lnTo>
                      <a:pt x="12" y="68"/>
                    </a:lnTo>
                    <a:lnTo>
                      <a:pt x="12" y="66"/>
                    </a:lnTo>
                    <a:lnTo>
                      <a:pt x="10" y="66"/>
                    </a:lnTo>
                    <a:lnTo>
                      <a:pt x="9" y="68"/>
                    </a:lnTo>
                    <a:lnTo>
                      <a:pt x="5" y="68"/>
                    </a:lnTo>
                    <a:lnTo>
                      <a:pt x="5" y="66"/>
                    </a:lnTo>
                    <a:lnTo>
                      <a:pt x="4" y="64"/>
                    </a:lnTo>
                    <a:lnTo>
                      <a:pt x="0" y="62"/>
                    </a:lnTo>
                    <a:lnTo>
                      <a:pt x="0" y="61"/>
                    </a:lnTo>
                    <a:lnTo>
                      <a:pt x="2" y="59"/>
                    </a:lnTo>
                    <a:lnTo>
                      <a:pt x="2" y="57"/>
                    </a:lnTo>
                    <a:lnTo>
                      <a:pt x="2" y="54"/>
                    </a:lnTo>
                    <a:lnTo>
                      <a:pt x="2" y="52"/>
                    </a:lnTo>
                    <a:lnTo>
                      <a:pt x="4" y="51"/>
                    </a:lnTo>
                    <a:lnTo>
                      <a:pt x="5" y="49"/>
                    </a:lnTo>
                    <a:lnTo>
                      <a:pt x="7" y="46"/>
                    </a:lnTo>
                    <a:lnTo>
                      <a:pt x="7" y="44"/>
                    </a:lnTo>
                    <a:lnTo>
                      <a:pt x="9" y="41"/>
                    </a:lnTo>
                    <a:lnTo>
                      <a:pt x="10" y="37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2" y="27"/>
                    </a:lnTo>
                    <a:lnTo>
                      <a:pt x="12" y="25"/>
                    </a:lnTo>
                    <a:lnTo>
                      <a:pt x="12" y="22"/>
                    </a:lnTo>
                    <a:lnTo>
                      <a:pt x="14" y="19"/>
                    </a:lnTo>
                    <a:lnTo>
                      <a:pt x="14" y="17"/>
                    </a:lnTo>
                    <a:lnTo>
                      <a:pt x="12" y="14"/>
                    </a:lnTo>
                    <a:lnTo>
                      <a:pt x="12" y="9"/>
                    </a:lnTo>
                    <a:lnTo>
                      <a:pt x="10" y="5"/>
                    </a:lnTo>
                    <a:lnTo>
                      <a:pt x="14" y="3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64" name="Group 1663">
              <a:extLst>
                <a:ext uri="{FF2B5EF4-FFF2-40B4-BE49-F238E27FC236}">
                  <a16:creationId xmlns:a16="http://schemas.microsoft.com/office/drawing/2014/main" id="{225D9F13-B50A-1C41-9B2B-F123B166B4A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76" y="537"/>
              <a:ext cx="148" cy="91"/>
              <a:chOff x="476" y="537"/>
              <a:chExt cx="148" cy="91"/>
            </a:xfrm>
          </p:grpSpPr>
          <p:sp>
            <p:nvSpPr>
              <p:cNvPr id="1785" name="Freeform 159">
                <a:extLst>
                  <a:ext uri="{FF2B5EF4-FFF2-40B4-BE49-F238E27FC236}">
                    <a16:creationId xmlns:a16="http://schemas.microsoft.com/office/drawing/2014/main" id="{2F5F4089-7BDA-9846-9609-E9EF46662B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" y="537"/>
                <a:ext cx="148" cy="91"/>
              </a:xfrm>
              <a:custGeom>
                <a:avLst/>
                <a:gdLst>
                  <a:gd name="T0" fmla="*/ 1 w 148"/>
                  <a:gd name="T1" fmla="*/ 44 h 91"/>
                  <a:gd name="T2" fmla="*/ 8 w 148"/>
                  <a:gd name="T3" fmla="*/ 48 h 91"/>
                  <a:gd name="T4" fmla="*/ 11 w 148"/>
                  <a:gd name="T5" fmla="*/ 56 h 91"/>
                  <a:gd name="T6" fmla="*/ 16 w 148"/>
                  <a:gd name="T7" fmla="*/ 59 h 91"/>
                  <a:gd name="T8" fmla="*/ 20 w 148"/>
                  <a:gd name="T9" fmla="*/ 63 h 91"/>
                  <a:gd name="T10" fmla="*/ 25 w 148"/>
                  <a:gd name="T11" fmla="*/ 71 h 91"/>
                  <a:gd name="T12" fmla="*/ 32 w 148"/>
                  <a:gd name="T13" fmla="*/ 73 h 91"/>
                  <a:gd name="T14" fmla="*/ 38 w 148"/>
                  <a:gd name="T15" fmla="*/ 73 h 91"/>
                  <a:gd name="T16" fmla="*/ 37 w 148"/>
                  <a:gd name="T17" fmla="*/ 80 h 91"/>
                  <a:gd name="T18" fmla="*/ 43 w 148"/>
                  <a:gd name="T19" fmla="*/ 81 h 91"/>
                  <a:gd name="T20" fmla="*/ 45 w 148"/>
                  <a:gd name="T21" fmla="*/ 88 h 91"/>
                  <a:gd name="T22" fmla="*/ 59 w 148"/>
                  <a:gd name="T23" fmla="*/ 88 h 91"/>
                  <a:gd name="T24" fmla="*/ 75 w 148"/>
                  <a:gd name="T25" fmla="*/ 90 h 91"/>
                  <a:gd name="T26" fmla="*/ 87 w 148"/>
                  <a:gd name="T27" fmla="*/ 90 h 91"/>
                  <a:gd name="T28" fmla="*/ 99 w 148"/>
                  <a:gd name="T29" fmla="*/ 85 h 91"/>
                  <a:gd name="T30" fmla="*/ 111 w 148"/>
                  <a:gd name="T31" fmla="*/ 81 h 91"/>
                  <a:gd name="T32" fmla="*/ 121 w 148"/>
                  <a:gd name="T33" fmla="*/ 85 h 91"/>
                  <a:gd name="T34" fmla="*/ 133 w 148"/>
                  <a:gd name="T35" fmla="*/ 88 h 91"/>
                  <a:gd name="T36" fmla="*/ 133 w 148"/>
                  <a:gd name="T37" fmla="*/ 83 h 91"/>
                  <a:gd name="T38" fmla="*/ 133 w 148"/>
                  <a:gd name="T39" fmla="*/ 80 h 91"/>
                  <a:gd name="T40" fmla="*/ 134 w 148"/>
                  <a:gd name="T41" fmla="*/ 75 h 91"/>
                  <a:gd name="T42" fmla="*/ 136 w 148"/>
                  <a:gd name="T43" fmla="*/ 68 h 91"/>
                  <a:gd name="T44" fmla="*/ 138 w 148"/>
                  <a:gd name="T45" fmla="*/ 66 h 91"/>
                  <a:gd name="T46" fmla="*/ 138 w 148"/>
                  <a:gd name="T47" fmla="*/ 70 h 91"/>
                  <a:gd name="T48" fmla="*/ 134 w 148"/>
                  <a:gd name="T49" fmla="*/ 75 h 91"/>
                  <a:gd name="T50" fmla="*/ 138 w 148"/>
                  <a:gd name="T51" fmla="*/ 73 h 91"/>
                  <a:gd name="T52" fmla="*/ 143 w 148"/>
                  <a:gd name="T53" fmla="*/ 70 h 91"/>
                  <a:gd name="T54" fmla="*/ 148 w 148"/>
                  <a:gd name="T55" fmla="*/ 66 h 91"/>
                  <a:gd name="T56" fmla="*/ 148 w 148"/>
                  <a:gd name="T57" fmla="*/ 61 h 91"/>
                  <a:gd name="T58" fmla="*/ 148 w 148"/>
                  <a:gd name="T59" fmla="*/ 58 h 91"/>
                  <a:gd name="T60" fmla="*/ 143 w 148"/>
                  <a:gd name="T61" fmla="*/ 56 h 91"/>
                  <a:gd name="T62" fmla="*/ 136 w 148"/>
                  <a:gd name="T63" fmla="*/ 58 h 91"/>
                  <a:gd name="T64" fmla="*/ 131 w 148"/>
                  <a:gd name="T65" fmla="*/ 59 h 91"/>
                  <a:gd name="T66" fmla="*/ 128 w 148"/>
                  <a:gd name="T67" fmla="*/ 56 h 91"/>
                  <a:gd name="T68" fmla="*/ 124 w 148"/>
                  <a:gd name="T69" fmla="*/ 54 h 91"/>
                  <a:gd name="T70" fmla="*/ 124 w 148"/>
                  <a:gd name="T71" fmla="*/ 48 h 91"/>
                  <a:gd name="T72" fmla="*/ 124 w 148"/>
                  <a:gd name="T73" fmla="*/ 41 h 91"/>
                  <a:gd name="T74" fmla="*/ 123 w 148"/>
                  <a:gd name="T75" fmla="*/ 29 h 91"/>
                  <a:gd name="T76" fmla="*/ 116 w 148"/>
                  <a:gd name="T77" fmla="*/ 19 h 91"/>
                  <a:gd name="T78" fmla="*/ 111 w 148"/>
                  <a:gd name="T79" fmla="*/ 11 h 91"/>
                  <a:gd name="T80" fmla="*/ 106 w 148"/>
                  <a:gd name="T81" fmla="*/ 4 h 91"/>
                  <a:gd name="T82" fmla="*/ 97 w 148"/>
                  <a:gd name="T83" fmla="*/ 0 h 91"/>
                  <a:gd name="T84" fmla="*/ 87 w 148"/>
                  <a:gd name="T85" fmla="*/ 5 h 91"/>
                  <a:gd name="T86" fmla="*/ 79 w 148"/>
                  <a:gd name="T87" fmla="*/ 7 h 91"/>
                  <a:gd name="T88" fmla="*/ 70 w 148"/>
                  <a:gd name="T89" fmla="*/ 9 h 91"/>
                  <a:gd name="T90" fmla="*/ 64 w 148"/>
                  <a:gd name="T91" fmla="*/ 5 h 91"/>
                  <a:gd name="T92" fmla="*/ 52 w 148"/>
                  <a:gd name="T93" fmla="*/ 7 h 91"/>
                  <a:gd name="T94" fmla="*/ 42 w 148"/>
                  <a:gd name="T95" fmla="*/ 5 h 91"/>
                  <a:gd name="T96" fmla="*/ 38 w 148"/>
                  <a:gd name="T97" fmla="*/ 9 h 91"/>
                  <a:gd name="T98" fmla="*/ 35 w 148"/>
                  <a:gd name="T99" fmla="*/ 11 h 91"/>
                  <a:gd name="T100" fmla="*/ 28 w 148"/>
                  <a:gd name="T101" fmla="*/ 14 h 91"/>
                  <a:gd name="T102" fmla="*/ 27 w 148"/>
                  <a:gd name="T103" fmla="*/ 19 h 91"/>
                  <a:gd name="T104" fmla="*/ 22 w 148"/>
                  <a:gd name="T105" fmla="*/ 24 h 91"/>
                  <a:gd name="T106" fmla="*/ 18 w 148"/>
                  <a:gd name="T107" fmla="*/ 32 h 91"/>
                  <a:gd name="T108" fmla="*/ 15 w 148"/>
                  <a:gd name="T109" fmla="*/ 39 h 91"/>
                  <a:gd name="T110" fmla="*/ 6 w 148"/>
                  <a:gd name="T111" fmla="*/ 41 h 91"/>
                  <a:gd name="T112" fmla="*/ 1 w 148"/>
                  <a:gd name="T113" fmla="*/ 43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8" h="91">
                    <a:moveTo>
                      <a:pt x="0" y="43"/>
                    </a:moveTo>
                    <a:lnTo>
                      <a:pt x="1" y="44"/>
                    </a:lnTo>
                    <a:lnTo>
                      <a:pt x="5" y="46"/>
                    </a:lnTo>
                    <a:lnTo>
                      <a:pt x="8" y="48"/>
                    </a:lnTo>
                    <a:lnTo>
                      <a:pt x="10" y="51"/>
                    </a:lnTo>
                    <a:lnTo>
                      <a:pt x="11" y="56"/>
                    </a:lnTo>
                    <a:lnTo>
                      <a:pt x="13" y="59"/>
                    </a:lnTo>
                    <a:lnTo>
                      <a:pt x="16" y="59"/>
                    </a:lnTo>
                    <a:lnTo>
                      <a:pt x="18" y="61"/>
                    </a:lnTo>
                    <a:lnTo>
                      <a:pt x="20" y="63"/>
                    </a:lnTo>
                    <a:lnTo>
                      <a:pt x="20" y="68"/>
                    </a:lnTo>
                    <a:lnTo>
                      <a:pt x="25" y="71"/>
                    </a:lnTo>
                    <a:lnTo>
                      <a:pt x="28" y="71"/>
                    </a:lnTo>
                    <a:lnTo>
                      <a:pt x="32" y="73"/>
                    </a:lnTo>
                    <a:lnTo>
                      <a:pt x="35" y="71"/>
                    </a:lnTo>
                    <a:lnTo>
                      <a:pt x="38" y="73"/>
                    </a:lnTo>
                    <a:lnTo>
                      <a:pt x="35" y="76"/>
                    </a:lnTo>
                    <a:lnTo>
                      <a:pt x="37" y="80"/>
                    </a:lnTo>
                    <a:lnTo>
                      <a:pt x="40" y="81"/>
                    </a:lnTo>
                    <a:lnTo>
                      <a:pt x="43" y="81"/>
                    </a:lnTo>
                    <a:lnTo>
                      <a:pt x="42" y="85"/>
                    </a:lnTo>
                    <a:lnTo>
                      <a:pt x="45" y="88"/>
                    </a:lnTo>
                    <a:lnTo>
                      <a:pt x="48" y="88"/>
                    </a:lnTo>
                    <a:lnTo>
                      <a:pt x="59" y="88"/>
                    </a:lnTo>
                    <a:lnTo>
                      <a:pt x="70" y="88"/>
                    </a:lnTo>
                    <a:lnTo>
                      <a:pt x="75" y="90"/>
                    </a:lnTo>
                    <a:lnTo>
                      <a:pt x="82" y="91"/>
                    </a:lnTo>
                    <a:lnTo>
                      <a:pt x="87" y="90"/>
                    </a:lnTo>
                    <a:lnTo>
                      <a:pt x="92" y="86"/>
                    </a:lnTo>
                    <a:lnTo>
                      <a:pt x="99" y="85"/>
                    </a:lnTo>
                    <a:lnTo>
                      <a:pt x="106" y="81"/>
                    </a:lnTo>
                    <a:lnTo>
                      <a:pt x="111" y="81"/>
                    </a:lnTo>
                    <a:lnTo>
                      <a:pt x="113" y="83"/>
                    </a:lnTo>
                    <a:lnTo>
                      <a:pt x="121" y="85"/>
                    </a:lnTo>
                    <a:lnTo>
                      <a:pt x="128" y="90"/>
                    </a:lnTo>
                    <a:lnTo>
                      <a:pt x="133" y="88"/>
                    </a:lnTo>
                    <a:lnTo>
                      <a:pt x="133" y="86"/>
                    </a:lnTo>
                    <a:lnTo>
                      <a:pt x="133" y="83"/>
                    </a:lnTo>
                    <a:lnTo>
                      <a:pt x="133" y="81"/>
                    </a:lnTo>
                    <a:lnTo>
                      <a:pt x="133" y="80"/>
                    </a:lnTo>
                    <a:lnTo>
                      <a:pt x="133" y="76"/>
                    </a:lnTo>
                    <a:lnTo>
                      <a:pt x="134" y="75"/>
                    </a:lnTo>
                    <a:lnTo>
                      <a:pt x="134" y="71"/>
                    </a:lnTo>
                    <a:lnTo>
                      <a:pt x="136" y="68"/>
                    </a:lnTo>
                    <a:lnTo>
                      <a:pt x="136" y="66"/>
                    </a:lnTo>
                    <a:lnTo>
                      <a:pt x="138" y="66"/>
                    </a:lnTo>
                    <a:lnTo>
                      <a:pt x="138" y="68"/>
                    </a:lnTo>
                    <a:lnTo>
                      <a:pt x="138" y="70"/>
                    </a:lnTo>
                    <a:lnTo>
                      <a:pt x="136" y="71"/>
                    </a:lnTo>
                    <a:lnTo>
                      <a:pt x="134" y="75"/>
                    </a:lnTo>
                    <a:lnTo>
                      <a:pt x="136" y="75"/>
                    </a:lnTo>
                    <a:lnTo>
                      <a:pt x="138" y="73"/>
                    </a:lnTo>
                    <a:lnTo>
                      <a:pt x="140" y="71"/>
                    </a:lnTo>
                    <a:lnTo>
                      <a:pt x="143" y="70"/>
                    </a:lnTo>
                    <a:lnTo>
                      <a:pt x="146" y="70"/>
                    </a:lnTo>
                    <a:lnTo>
                      <a:pt x="148" y="66"/>
                    </a:lnTo>
                    <a:lnTo>
                      <a:pt x="148" y="63"/>
                    </a:lnTo>
                    <a:lnTo>
                      <a:pt x="148" y="61"/>
                    </a:lnTo>
                    <a:lnTo>
                      <a:pt x="148" y="59"/>
                    </a:lnTo>
                    <a:lnTo>
                      <a:pt x="148" y="58"/>
                    </a:lnTo>
                    <a:lnTo>
                      <a:pt x="146" y="56"/>
                    </a:lnTo>
                    <a:lnTo>
                      <a:pt x="143" y="56"/>
                    </a:lnTo>
                    <a:lnTo>
                      <a:pt x="141" y="58"/>
                    </a:lnTo>
                    <a:lnTo>
                      <a:pt x="136" y="58"/>
                    </a:lnTo>
                    <a:lnTo>
                      <a:pt x="134" y="59"/>
                    </a:lnTo>
                    <a:lnTo>
                      <a:pt x="131" y="59"/>
                    </a:lnTo>
                    <a:lnTo>
                      <a:pt x="129" y="58"/>
                    </a:lnTo>
                    <a:lnTo>
                      <a:pt x="128" y="56"/>
                    </a:lnTo>
                    <a:lnTo>
                      <a:pt x="124" y="56"/>
                    </a:lnTo>
                    <a:lnTo>
                      <a:pt x="124" y="54"/>
                    </a:lnTo>
                    <a:lnTo>
                      <a:pt x="124" y="51"/>
                    </a:lnTo>
                    <a:lnTo>
                      <a:pt x="124" y="48"/>
                    </a:lnTo>
                    <a:lnTo>
                      <a:pt x="124" y="46"/>
                    </a:lnTo>
                    <a:lnTo>
                      <a:pt x="124" y="41"/>
                    </a:lnTo>
                    <a:lnTo>
                      <a:pt x="124" y="36"/>
                    </a:lnTo>
                    <a:lnTo>
                      <a:pt x="123" y="29"/>
                    </a:lnTo>
                    <a:lnTo>
                      <a:pt x="119" y="24"/>
                    </a:lnTo>
                    <a:lnTo>
                      <a:pt x="116" y="19"/>
                    </a:lnTo>
                    <a:lnTo>
                      <a:pt x="113" y="14"/>
                    </a:lnTo>
                    <a:lnTo>
                      <a:pt x="111" y="11"/>
                    </a:lnTo>
                    <a:lnTo>
                      <a:pt x="109" y="7"/>
                    </a:lnTo>
                    <a:lnTo>
                      <a:pt x="106" y="4"/>
                    </a:lnTo>
                    <a:lnTo>
                      <a:pt x="102" y="0"/>
                    </a:lnTo>
                    <a:lnTo>
                      <a:pt x="97" y="0"/>
                    </a:lnTo>
                    <a:lnTo>
                      <a:pt x="92" y="4"/>
                    </a:lnTo>
                    <a:lnTo>
                      <a:pt x="87" y="5"/>
                    </a:lnTo>
                    <a:lnTo>
                      <a:pt x="84" y="5"/>
                    </a:lnTo>
                    <a:lnTo>
                      <a:pt x="79" y="7"/>
                    </a:lnTo>
                    <a:lnTo>
                      <a:pt x="74" y="11"/>
                    </a:lnTo>
                    <a:lnTo>
                      <a:pt x="70" y="9"/>
                    </a:lnTo>
                    <a:lnTo>
                      <a:pt x="69" y="5"/>
                    </a:lnTo>
                    <a:lnTo>
                      <a:pt x="64" y="5"/>
                    </a:lnTo>
                    <a:lnTo>
                      <a:pt x="59" y="7"/>
                    </a:lnTo>
                    <a:lnTo>
                      <a:pt x="52" y="7"/>
                    </a:lnTo>
                    <a:lnTo>
                      <a:pt x="47" y="5"/>
                    </a:lnTo>
                    <a:lnTo>
                      <a:pt x="42" y="5"/>
                    </a:lnTo>
                    <a:lnTo>
                      <a:pt x="40" y="7"/>
                    </a:lnTo>
                    <a:lnTo>
                      <a:pt x="38" y="9"/>
                    </a:lnTo>
                    <a:lnTo>
                      <a:pt x="37" y="11"/>
                    </a:lnTo>
                    <a:lnTo>
                      <a:pt x="35" y="11"/>
                    </a:lnTo>
                    <a:lnTo>
                      <a:pt x="32" y="12"/>
                    </a:lnTo>
                    <a:lnTo>
                      <a:pt x="28" y="14"/>
                    </a:lnTo>
                    <a:lnTo>
                      <a:pt x="28" y="16"/>
                    </a:lnTo>
                    <a:lnTo>
                      <a:pt x="27" y="19"/>
                    </a:lnTo>
                    <a:lnTo>
                      <a:pt x="25" y="22"/>
                    </a:lnTo>
                    <a:lnTo>
                      <a:pt x="22" y="24"/>
                    </a:lnTo>
                    <a:lnTo>
                      <a:pt x="20" y="27"/>
                    </a:lnTo>
                    <a:lnTo>
                      <a:pt x="18" y="32"/>
                    </a:lnTo>
                    <a:lnTo>
                      <a:pt x="16" y="34"/>
                    </a:lnTo>
                    <a:lnTo>
                      <a:pt x="15" y="39"/>
                    </a:lnTo>
                    <a:lnTo>
                      <a:pt x="10" y="41"/>
                    </a:lnTo>
                    <a:lnTo>
                      <a:pt x="6" y="41"/>
                    </a:lnTo>
                    <a:lnTo>
                      <a:pt x="3" y="43"/>
                    </a:lnTo>
                    <a:lnTo>
                      <a:pt x="1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786" name="Freeform 160">
                <a:extLst>
                  <a:ext uri="{FF2B5EF4-FFF2-40B4-BE49-F238E27FC236}">
                    <a16:creationId xmlns:a16="http://schemas.microsoft.com/office/drawing/2014/main" id="{9CE2102C-9383-C94A-9A91-2F11C4A916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" y="537"/>
                <a:ext cx="148" cy="91"/>
              </a:xfrm>
              <a:custGeom>
                <a:avLst/>
                <a:gdLst>
                  <a:gd name="T0" fmla="*/ 1 w 148"/>
                  <a:gd name="T1" fmla="*/ 44 h 91"/>
                  <a:gd name="T2" fmla="*/ 8 w 148"/>
                  <a:gd name="T3" fmla="*/ 48 h 91"/>
                  <a:gd name="T4" fmla="*/ 11 w 148"/>
                  <a:gd name="T5" fmla="*/ 56 h 91"/>
                  <a:gd name="T6" fmla="*/ 16 w 148"/>
                  <a:gd name="T7" fmla="*/ 59 h 91"/>
                  <a:gd name="T8" fmla="*/ 20 w 148"/>
                  <a:gd name="T9" fmla="*/ 63 h 91"/>
                  <a:gd name="T10" fmla="*/ 25 w 148"/>
                  <a:gd name="T11" fmla="*/ 71 h 91"/>
                  <a:gd name="T12" fmla="*/ 32 w 148"/>
                  <a:gd name="T13" fmla="*/ 73 h 91"/>
                  <a:gd name="T14" fmla="*/ 38 w 148"/>
                  <a:gd name="T15" fmla="*/ 73 h 91"/>
                  <a:gd name="T16" fmla="*/ 37 w 148"/>
                  <a:gd name="T17" fmla="*/ 80 h 91"/>
                  <a:gd name="T18" fmla="*/ 43 w 148"/>
                  <a:gd name="T19" fmla="*/ 81 h 91"/>
                  <a:gd name="T20" fmla="*/ 45 w 148"/>
                  <a:gd name="T21" fmla="*/ 88 h 91"/>
                  <a:gd name="T22" fmla="*/ 59 w 148"/>
                  <a:gd name="T23" fmla="*/ 88 h 91"/>
                  <a:gd name="T24" fmla="*/ 75 w 148"/>
                  <a:gd name="T25" fmla="*/ 90 h 91"/>
                  <a:gd name="T26" fmla="*/ 87 w 148"/>
                  <a:gd name="T27" fmla="*/ 90 h 91"/>
                  <a:gd name="T28" fmla="*/ 99 w 148"/>
                  <a:gd name="T29" fmla="*/ 85 h 91"/>
                  <a:gd name="T30" fmla="*/ 111 w 148"/>
                  <a:gd name="T31" fmla="*/ 81 h 91"/>
                  <a:gd name="T32" fmla="*/ 121 w 148"/>
                  <a:gd name="T33" fmla="*/ 85 h 91"/>
                  <a:gd name="T34" fmla="*/ 133 w 148"/>
                  <a:gd name="T35" fmla="*/ 88 h 91"/>
                  <a:gd name="T36" fmla="*/ 133 w 148"/>
                  <a:gd name="T37" fmla="*/ 83 h 91"/>
                  <a:gd name="T38" fmla="*/ 133 w 148"/>
                  <a:gd name="T39" fmla="*/ 80 h 91"/>
                  <a:gd name="T40" fmla="*/ 134 w 148"/>
                  <a:gd name="T41" fmla="*/ 75 h 91"/>
                  <a:gd name="T42" fmla="*/ 136 w 148"/>
                  <a:gd name="T43" fmla="*/ 68 h 91"/>
                  <a:gd name="T44" fmla="*/ 138 w 148"/>
                  <a:gd name="T45" fmla="*/ 66 h 91"/>
                  <a:gd name="T46" fmla="*/ 138 w 148"/>
                  <a:gd name="T47" fmla="*/ 70 h 91"/>
                  <a:gd name="T48" fmla="*/ 134 w 148"/>
                  <a:gd name="T49" fmla="*/ 75 h 91"/>
                  <a:gd name="T50" fmla="*/ 138 w 148"/>
                  <a:gd name="T51" fmla="*/ 73 h 91"/>
                  <a:gd name="T52" fmla="*/ 143 w 148"/>
                  <a:gd name="T53" fmla="*/ 70 h 91"/>
                  <a:gd name="T54" fmla="*/ 148 w 148"/>
                  <a:gd name="T55" fmla="*/ 66 h 91"/>
                  <a:gd name="T56" fmla="*/ 148 w 148"/>
                  <a:gd name="T57" fmla="*/ 61 h 91"/>
                  <a:gd name="T58" fmla="*/ 148 w 148"/>
                  <a:gd name="T59" fmla="*/ 58 h 91"/>
                  <a:gd name="T60" fmla="*/ 143 w 148"/>
                  <a:gd name="T61" fmla="*/ 56 h 91"/>
                  <a:gd name="T62" fmla="*/ 136 w 148"/>
                  <a:gd name="T63" fmla="*/ 58 h 91"/>
                  <a:gd name="T64" fmla="*/ 131 w 148"/>
                  <a:gd name="T65" fmla="*/ 59 h 91"/>
                  <a:gd name="T66" fmla="*/ 128 w 148"/>
                  <a:gd name="T67" fmla="*/ 56 h 91"/>
                  <a:gd name="T68" fmla="*/ 124 w 148"/>
                  <a:gd name="T69" fmla="*/ 54 h 91"/>
                  <a:gd name="T70" fmla="*/ 124 w 148"/>
                  <a:gd name="T71" fmla="*/ 48 h 91"/>
                  <a:gd name="T72" fmla="*/ 124 w 148"/>
                  <a:gd name="T73" fmla="*/ 41 h 91"/>
                  <a:gd name="T74" fmla="*/ 123 w 148"/>
                  <a:gd name="T75" fmla="*/ 29 h 91"/>
                  <a:gd name="T76" fmla="*/ 116 w 148"/>
                  <a:gd name="T77" fmla="*/ 19 h 91"/>
                  <a:gd name="T78" fmla="*/ 111 w 148"/>
                  <a:gd name="T79" fmla="*/ 11 h 91"/>
                  <a:gd name="T80" fmla="*/ 106 w 148"/>
                  <a:gd name="T81" fmla="*/ 4 h 91"/>
                  <a:gd name="T82" fmla="*/ 97 w 148"/>
                  <a:gd name="T83" fmla="*/ 0 h 91"/>
                  <a:gd name="T84" fmla="*/ 87 w 148"/>
                  <a:gd name="T85" fmla="*/ 5 h 91"/>
                  <a:gd name="T86" fmla="*/ 79 w 148"/>
                  <a:gd name="T87" fmla="*/ 7 h 91"/>
                  <a:gd name="T88" fmla="*/ 70 w 148"/>
                  <a:gd name="T89" fmla="*/ 9 h 91"/>
                  <a:gd name="T90" fmla="*/ 64 w 148"/>
                  <a:gd name="T91" fmla="*/ 5 h 91"/>
                  <a:gd name="T92" fmla="*/ 52 w 148"/>
                  <a:gd name="T93" fmla="*/ 7 h 91"/>
                  <a:gd name="T94" fmla="*/ 42 w 148"/>
                  <a:gd name="T95" fmla="*/ 5 h 91"/>
                  <a:gd name="T96" fmla="*/ 38 w 148"/>
                  <a:gd name="T97" fmla="*/ 9 h 91"/>
                  <a:gd name="T98" fmla="*/ 35 w 148"/>
                  <a:gd name="T99" fmla="*/ 11 h 91"/>
                  <a:gd name="T100" fmla="*/ 28 w 148"/>
                  <a:gd name="T101" fmla="*/ 14 h 91"/>
                  <a:gd name="T102" fmla="*/ 27 w 148"/>
                  <a:gd name="T103" fmla="*/ 19 h 91"/>
                  <a:gd name="T104" fmla="*/ 22 w 148"/>
                  <a:gd name="T105" fmla="*/ 24 h 91"/>
                  <a:gd name="T106" fmla="*/ 18 w 148"/>
                  <a:gd name="T107" fmla="*/ 32 h 91"/>
                  <a:gd name="T108" fmla="*/ 15 w 148"/>
                  <a:gd name="T109" fmla="*/ 39 h 91"/>
                  <a:gd name="T110" fmla="*/ 6 w 148"/>
                  <a:gd name="T111" fmla="*/ 41 h 91"/>
                  <a:gd name="T112" fmla="*/ 1 w 148"/>
                  <a:gd name="T113" fmla="*/ 43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8" h="91">
                    <a:moveTo>
                      <a:pt x="0" y="43"/>
                    </a:moveTo>
                    <a:lnTo>
                      <a:pt x="1" y="44"/>
                    </a:lnTo>
                    <a:lnTo>
                      <a:pt x="5" y="46"/>
                    </a:lnTo>
                    <a:lnTo>
                      <a:pt x="8" y="48"/>
                    </a:lnTo>
                    <a:lnTo>
                      <a:pt x="10" y="51"/>
                    </a:lnTo>
                    <a:lnTo>
                      <a:pt x="11" y="56"/>
                    </a:lnTo>
                    <a:lnTo>
                      <a:pt x="13" y="59"/>
                    </a:lnTo>
                    <a:lnTo>
                      <a:pt x="16" y="59"/>
                    </a:lnTo>
                    <a:lnTo>
                      <a:pt x="18" y="61"/>
                    </a:lnTo>
                    <a:lnTo>
                      <a:pt x="20" y="63"/>
                    </a:lnTo>
                    <a:lnTo>
                      <a:pt x="20" y="68"/>
                    </a:lnTo>
                    <a:lnTo>
                      <a:pt x="25" y="71"/>
                    </a:lnTo>
                    <a:lnTo>
                      <a:pt x="28" y="71"/>
                    </a:lnTo>
                    <a:lnTo>
                      <a:pt x="32" y="73"/>
                    </a:lnTo>
                    <a:lnTo>
                      <a:pt x="35" y="71"/>
                    </a:lnTo>
                    <a:lnTo>
                      <a:pt x="38" y="73"/>
                    </a:lnTo>
                    <a:lnTo>
                      <a:pt x="35" y="76"/>
                    </a:lnTo>
                    <a:lnTo>
                      <a:pt x="37" y="80"/>
                    </a:lnTo>
                    <a:lnTo>
                      <a:pt x="40" y="81"/>
                    </a:lnTo>
                    <a:lnTo>
                      <a:pt x="43" y="81"/>
                    </a:lnTo>
                    <a:lnTo>
                      <a:pt x="42" y="85"/>
                    </a:lnTo>
                    <a:lnTo>
                      <a:pt x="45" y="88"/>
                    </a:lnTo>
                    <a:lnTo>
                      <a:pt x="48" y="88"/>
                    </a:lnTo>
                    <a:lnTo>
                      <a:pt x="59" y="88"/>
                    </a:lnTo>
                    <a:lnTo>
                      <a:pt x="70" y="88"/>
                    </a:lnTo>
                    <a:lnTo>
                      <a:pt x="75" y="90"/>
                    </a:lnTo>
                    <a:lnTo>
                      <a:pt x="82" y="91"/>
                    </a:lnTo>
                    <a:lnTo>
                      <a:pt x="87" y="90"/>
                    </a:lnTo>
                    <a:lnTo>
                      <a:pt x="92" y="86"/>
                    </a:lnTo>
                    <a:lnTo>
                      <a:pt x="99" y="85"/>
                    </a:lnTo>
                    <a:lnTo>
                      <a:pt x="106" y="81"/>
                    </a:lnTo>
                    <a:lnTo>
                      <a:pt x="111" y="81"/>
                    </a:lnTo>
                    <a:lnTo>
                      <a:pt x="113" y="83"/>
                    </a:lnTo>
                    <a:lnTo>
                      <a:pt x="121" y="85"/>
                    </a:lnTo>
                    <a:lnTo>
                      <a:pt x="128" y="90"/>
                    </a:lnTo>
                    <a:lnTo>
                      <a:pt x="133" y="88"/>
                    </a:lnTo>
                    <a:lnTo>
                      <a:pt x="133" y="86"/>
                    </a:lnTo>
                    <a:lnTo>
                      <a:pt x="133" y="83"/>
                    </a:lnTo>
                    <a:lnTo>
                      <a:pt x="133" y="81"/>
                    </a:lnTo>
                    <a:lnTo>
                      <a:pt x="133" y="80"/>
                    </a:lnTo>
                    <a:lnTo>
                      <a:pt x="133" y="76"/>
                    </a:lnTo>
                    <a:lnTo>
                      <a:pt x="134" y="75"/>
                    </a:lnTo>
                    <a:lnTo>
                      <a:pt x="134" y="71"/>
                    </a:lnTo>
                    <a:lnTo>
                      <a:pt x="136" y="68"/>
                    </a:lnTo>
                    <a:lnTo>
                      <a:pt x="136" y="66"/>
                    </a:lnTo>
                    <a:lnTo>
                      <a:pt x="138" y="66"/>
                    </a:lnTo>
                    <a:lnTo>
                      <a:pt x="138" y="68"/>
                    </a:lnTo>
                    <a:lnTo>
                      <a:pt x="138" y="70"/>
                    </a:lnTo>
                    <a:lnTo>
                      <a:pt x="136" y="71"/>
                    </a:lnTo>
                    <a:lnTo>
                      <a:pt x="134" y="75"/>
                    </a:lnTo>
                    <a:lnTo>
                      <a:pt x="136" y="75"/>
                    </a:lnTo>
                    <a:lnTo>
                      <a:pt x="138" y="73"/>
                    </a:lnTo>
                    <a:lnTo>
                      <a:pt x="140" y="71"/>
                    </a:lnTo>
                    <a:lnTo>
                      <a:pt x="143" y="70"/>
                    </a:lnTo>
                    <a:lnTo>
                      <a:pt x="146" y="70"/>
                    </a:lnTo>
                    <a:lnTo>
                      <a:pt x="148" y="66"/>
                    </a:lnTo>
                    <a:lnTo>
                      <a:pt x="148" y="63"/>
                    </a:lnTo>
                    <a:lnTo>
                      <a:pt x="148" y="61"/>
                    </a:lnTo>
                    <a:lnTo>
                      <a:pt x="148" y="59"/>
                    </a:lnTo>
                    <a:lnTo>
                      <a:pt x="148" y="58"/>
                    </a:lnTo>
                    <a:lnTo>
                      <a:pt x="146" y="56"/>
                    </a:lnTo>
                    <a:lnTo>
                      <a:pt x="143" y="56"/>
                    </a:lnTo>
                    <a:lnTo>
                      <a:pt x="141" y="58"/>
                    </a:lnTo>
                    <a:lnTo>
                      <a:pt x="136" y="58"/>
                    </a:lnTo>
                    <a:lnTo>
                      <a:pt x="134" y="59"/>
                    </a:lnTo>
                    <a:lnTo>
                      <a:pt x="131" y="59"/>
                    </a:lnTo>
                    <a:lnTo>
                      <a:pt x="129" y="58"/>
                    </a:lnTo>
                    <a:lnTo>
                      <a:pt x="128" y="56"/>
                    </a:lnTo>
                    <a:lnTo>
                      <a:pt x="124" y="56"/>
                    </a:lnTo>
                    <a:lnTo>
                      <a:pt x="124" y="54"/>
                    </a:lnTo>
                    <a:lnTo>
                      <a:pt x="124" y="51"/>
                    </a:lnTo>
                    <a:lnTo>
                      <a:pt x="124" y="48"/>
                    </a:lnTo>
                    <a:lnTo>
                      <a:pt x="124" y="46"/>
                    </a:lnTo>
                    <a:lnTo>
                      <a:pt x="124" y="41"/>
                    </a:lnTo>
                    <a:lnTo>
                      <a:pt x="124" y="36"/>
                    </a:lnTo>
                    <a:lnTo>
                      <a:pt x="123" y="29"/>
                    </a:lnTo>
                    <a:lnTo>
                      <a:pt x="119" y="24"/>
                    </a:lnTo>
                    <a:lnTo>
                      <a:pt x="116" y="19"/>
                    </a:lnTo>
                    <a:lnTo>
                      <a:pt x="113" y="14"/>
                    </a:lnTo>
                    <a:lnTo>
                      <a:pt x="111" y="11"/>
                    </a:lnTo>
                    <a:lnTo>
                      <a:pt x="109" y="7"/>
                    </a:lnTo>
                    <a:lnTo>
                      <a:pt x="106" y="4"/>
                    </a:lnTo>
                    <a:lnTo>
                      <a:pt x="102" y="0"/>
                    </a:lnTo>
                    <a:lnTo>
                      <a:pt x="97" y="0"/>
                    </a:lnTo>
                    <a:lnTo>
                      <a:pt x="92" y="4"/>
                    </a:lnTo>
                    <a:lnTo>
                      <a:pt x="87" y="5"/>
                    </a:lnTo>
                    <a:lnTo>
                      <a:pt x="84" y="5"/>
                    </a:lnTo>
                    <a:lnTo>
                      <a:pt x="79" y="7"/>
                    </a:lnTo>
                    <a:lnTo>
                      <a:pt x="74" y="11"/>
                    </a:lnTo>
                    <a:lnTo>
                      <a:pt x="70" y="9"/>
                    </a:lnTo>
                    <a:lnTo>
                      <a:pt x="69" y="5"/>
                    </a:lnTo>
                    <a:lnTo>
                      <a:pt x="64" y="5"/>
                    </a:lnTo>
                    <a:lnTo>
                      <a:pt x="59" y="7"/>
                    </a:lnTo>
                    <a:lnTo>
                      <a:pt x="52" y="7"/>
                    </a:lnTo>
                    <a:lnTo>
                      <a:pt x="47" y="5"/>
                    </a:lnTo>
                    <a:lnTo>
                      <a:pt x="42" y="5"/>
                    </a:lnTo>
                    <a:lnTo>
                      <a:pt x="40" y="7"/>
                    </a:lnTo>
                    <a:lnTo>
                      <a:pt x="38" y="9"/>
                    </a:lnTo>
                    <a:lnTo>
                      <a:pt x="37" y="11"/>
                    </a:lnTo>
                    <a:lnTo>
                      <a:pt x="35" y="11"/>
                    </a:lnTo>
                    <a:lnTo>
                      <a:pt x="32" y="12"/>
                    </a:lnTo>
                    <a:lnTo>
                      <a:pt x="28" y="14"/>
                    </a:lnTo>
                    <a:lnTo>
                      <a:pt x="28" y="16"/>
                    </a:lnTo>
                    <a:lnTo>
                      <a:pt x="27" y="19"/>
                    </a:lnTo>
                    <a:lnTo>
                      <a:pt x="25" y="22"/>
                    </a:lnTo>
                    <a:lnTo>
                      <a:pt x="22" y="24"/>
                    </a:lnTo>
                    <a:lnTo>
                      <a:pt x="20" y="27"/>
                    </a:lnTo>
                    <a:lnTo>
                      <a:pt x="18" y="32"/>
                    </a:lnTo>
                    <a:lnTo>
                      <a:pt x="16" y="34"/>
                    </a:lnTo>
                    <a:lnTo>
                      <a:pt x="15" y="39"/>
                    </a:lnTo>
                    <a:lnTo>
                      <a:pt x="10" y="41"/>
                    </a:lnTo>
                    <a:lnTo>
                      <a:pt x="6" y="41"/>
                    </a:lnTo>
                    <a:lnTo>
                      <a:pt x="3" y="43"/>
                    </a:lnTo>
                    <a:lnTo>
                      <a:pt x="1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65" name="Group 1664">
              <a:extLst>
                <a:ext uri="{FF2B5EF4-FFF2-40B4-BE49-F238E27FC236}">
                  <a16:creationId xmlns:a16="http://schemas.microsoft.com/office/drawing/2014/main" id="{2F0C0111-289E-D441-B533-918EB11DDBE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9" y="566"/>
              <a:ext cx="59" cy="76"/>
              <a:chOff x="369" y="566"/>
              <a:chExt cx="59" cy="76"/>
            </a:xfrm>
          </p:grpSpPr>
          <p:grpSp>
            <p:nvGrpSpPr>
              <p:cNvPr id="1770" name="Group 1769">
                <a:extLst>
                  <a:ext uri="{FF2B5EF4-FFF2-40B4-BE49-F238E27FC236}">
                    <a16:creationId xmlns:a16="http://schemas.microsoft.com/office/drawing/2014/main" id="{B6915A90-B285-C448-8D5B-71DD40BE55F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69" y="566"/>
                <a:ext cx="51" cy="29"/>
                <a:chOff x="369" y="566"/>
                <a:chExt cx="51" cy="29"/>
              </a:xfrm>
            </p:grpSpPr>
            <p:sp>
              <p:nvSpPr>
                <p:cNvPr id="1783" name="Freeform 157">
                  <a:extLst>
                    <a:ext uri="{FF2B5EF4-FFF2-40B4-BE49-F238E27FC236}">
                      <a16:creationId xmlns:a16="http://schemas.microsoft.com/office/drawing/2014/main" id="{5F4D0F3D-53D6-914A-9337-634AA47FD4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" y="566"/>
                  <a:ext cx="51" cy="29"/>
                </a:xfrm>
                <a:custGeom>
                  <a:avLst/>
                  <a:gdLst>
                    <a:gd name="T0" fmla="*/ 48 w 51"/>
                    <a:gd name="T1" fmla="*/ 7 h 29"/>
                    <a:gd name="T2" fmla="*/ 51 w 51"/>
                    <a:gd name="T3" fmla="*/ 7 h 29"/>
                    <a:gd name="T4" fmla="*/ 46 w 51"/>
                    <a:gd name="T5" fmla="*/ 0 h 29"/>
                    <a:gd name="T6" fmla="*/ 43 w 51"/>
                    <a:gd name="T7" fmla="*/ 0 h 29"/>
                    <a:gd name="T8" fmla="*/ 39 w 51"/>
                    <a:gd name="T9" fmla="*/ 2 h 29"/>
                    <a:gd name="T10" fmla="*/ 36 w 51"/>
                    <a:gd name="T11" fmla="*/ 2 h 29"/>
                    <a:gd name="T12" fmla="*/ 32 w 51"/>
                    <a:gd name="T13" fmla="*/ 3 h 29"/>
                    <a:gd name="T14" fmla="*/ 29 w 51"/>
                    <a:gd name="T15" fmla="*/ 3 h 29"/>
                    <a:gd name="T16" fmla="*/ 22 w 51"/>
                    <a:gd name="T17" fmla="*/ 3 h 29"/>
                    <a:gd name="T18" fmla="*/ 21 w 51"/>
                    <a:gd name="T19" fmla="*/ 7 h 29"/>
                    <a:gd name="T20" fmla="*/ 17 w 51"/>
                    <a:gd name="T21" fmla="*/ 7 h 29"/>
                    <a:gd name="T22" fmla="*/ 14 w 51"/>
                    <a:gd name="T23" fmla="*/ 7 h 29"/>
                    <a:gd name="T24" fmla="*/ 9 w 51"/>
                    <a:gd name="T25" fmla="*/ 7 h 29"/>
                    <a:gd name="T26" fmla="*/ 5 w 51"/>
                    <a:gd name="T27" fmla="*/ 7 h 29"/>
                    <a:gd name="T28" fmla="*/ 4 w 51"/>
                    <a:gd name="T29" fmla="*/ 8 h 29"/>
                    <a:gd name="T30" fmla="*/ 0 w 51"/>
                    <a:gd name="T31" fmla="*/ 12 h 29"/>
                    <a:gd name="T32" fmla="*/ 4 w 51"/>
                    <a:gd name="T33" fmla="*/ 12 h 29"/>
                    <a:gd name="T34" fmla="*/ 2 w 51"/>
                    <a:gd name="T35" fmla="*/ 17 h 29"/>
                    <a:gd name="T36" fmla="*/ 4 w 51"/>
                    <a:gd name="T37" fmla="*/ 19 h 29"/>
                    <a:gd name="T38" fmla="*/ 5 w 51"/>
                    <a:gd name="T39" fmla="*/ 20 h 29"/>
                    <a:gd name="T40" fmla="*/ 7 w 51"/>
                    <a:gd name="T41" fmla="*/ 22 h 29"/>
                    <a:gd name="T42" fmla="*/ 9 w 51"/>
                    <a:gd name="T43" fmla="*/ 24 h 29"/>
                    <a:gd name="T44" fmla="*/ 7 w 51"/>
                    <a:gd name="T45" fmla="*/ 25 h 29"/>
                    <a:gd name="T46" fmla="*/ 4 w 51"/>
                    <a:gd name="T47" fmla="*/ 25 h 29"/>
                    <a:gd name="T48" fmla="*/ 5 w 51"/>
                    <a:gd name="T49" fmla="*/ 27 h 29"/>
                    <a:gd name="T50" fmla="*/ 7 w 51"/>
                    <a:gd name="T51" fmla="*/ 29 h 29"/>
                    <a:gd name="T52" fmla="*/ 10 w 51"/>
                    <a:gd name="T53" fmla="*/ 29 h 29"/>
                    <a:gd name="T54" fmla="*/ 12 w 51"/>
                    <a:gd name="T55" fmla="*/ 27 h 29"/>
                    <a:gd name="T56" fmla="*/ 14 w 51"/>
                    <a:gd name="T57" fmla="*/ 29 h 29"/>
                    <a:gd name="T58" fmla="*/ 16 w 51"/>
                    <a:gd name="T59" fmla="*/ 27 h 29"/>
                    <a:gd name="T60" fmla="*/ 19 w 51"/>
                    <a:gd name="T61" fmla="*/ 27 h 29"/>
                    <a:gd name="T62" fmla="*/ 21 w 51"/>
                    <a:gd name="T63" fmla="*/ 25 h 29"/>
                    <a:gd name="T64" fmla="*/ 22 w 51"/>
                    <a:gd name="T65" fmla="*/ 24 h 29"/>
                    <a:gd name="T66" fmla="*/ 24 w 51"/>
                    <a:gd name="T67" fmla="*/ 27 h 29"/>
                    <a:gd name="T68" fmla="*/ 26 w 51"/>
                    <a:gd name="T69" fmla="*/ 25 h 29"/>
                    <a:gd name="T70" fmla="*/ 29 w 51"/>
                    <a:gd name="T71" fmla="*/ 25 h 29"/>
                    <a:gd name="T72" fmla="*/ 31 w 51"/>
                    <a:gd name="T73" fmla="*/ 27 h 29"/>
                    <a:gd name="T74" fmla="*/ 31 w 51"/>
                    <a:gd name="T75" fmla="*/ 24 h 29"/>
                    <a:gd name="T76" fmla="*/ 31 w 51"/>
                    <a:gd name="T77" fmla="*/ 22 h 29"/>
                    <a:gd name="T78" fmla="*/ 34 w 51"/>
                    <a:gd name="T79" fmla="*/ 20 h 29"/>
                    <a:gd name="T80" fmla="*/ 36 w 51"/>
                    <a:gd name="T81" fmla="*/ 19 h 29"/>
                    <a:gd name="T82" fmla="*/ 36 w 51"/>
                    <a:gd name="T83" fmla="*/ 15 h 29"/>
                    <a:gd name="T84" fmla="*/ 34 w 51"/>
                    <a:gd name="T85" fmla="*/ 14 h 29"/>
                    <a:gd name="T86" fmla="*/ 41 w 51"/>
                    <a:gd name="T87" fmla="*/ 10 h 29"/>
                    <a:gd name="T88" fmla="*/ 44 w 51"/>
                    <a:gd name="T89" fmla="*/ 10 h 29"/>
                    <a:gd name="T90" fmla="*/ 44 w 51"/>
                    <a:gd name="T91" fmla="*/ 7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1" h="29">
                      <a:moveTo>
                        <a:pt x="46" y="7"/>
                      </a:moveTo>
                      <a:lnTo>
                        <a:pt x="48" y="7"/>
                      </a:lnTo>
                      <a:lnTo>
                        <a:pt x="49" y="7"/>
                      </a:lnTo>
                      <a:lnTo>
                        <a:pt x="51" y="7"/>
                      </a:lnTo>
                      <a:lnTo>
                        <a:pt x="48" y="3"/>
                      </a:lnTo>
                      <a:lnTo>
                        <a:pt x="46" y="0"/>
                      </a:lnTo>
                      <a:lnTo>
                        <a:pt x="44" y="0"/>
                      </a:lnTo>
                      <a:lnTo>
                        <a:pt x="43" y="0"/>
                      </a:lnTo>
                      <a:lnTo>
                        <a:pt x="39" y="0"/>
                      </a:lnTo>
                      <a:lnTo>
                        <a:pt x="39" y="2"/>
                      </a:lnTo>
                      <a:lnTo>
                        <a:pt x="37" y="2"/>
                      </a:lnTo>
                      <a:lnTo>
                        <a:pt x="36" y="2"/>
                      </a:lnTo>
                      <a:lnTo>
                        <a:pt x="34" y="2"/>
                      </a:lnTo>
                      <a:lnTo>
                        <a:pt x="32" y="3"/>
                      </a:lnTo>
                      <a:lnTo>
                        <a:pt x="31" y="3"/>
                      </a:lnTo>
                      <a:lnTo>
                        <a:pt x="29" y="3"/>
                      </a:lnTo>
                      <a:lnTo>
                        <a:pt x="26" y="3"/>
                      </a:lnTo>
                      <a:lnTo>
                        <a:pt x="22" y="3"/>
                      </a:lnTo>
                      <a:lnTo>
                        <a:pt x="21" y="5"/>
                      </a:lnTo>
                      <a:lnTo>
                        <a:pt x="21" y="7"/>
                      </a:lnTo>
                      <a:lnTo>
                        <a:pt x="19" y="7"/>
                      </a:lnTo>
                      <a:lnTo>
                        <a:pt x="17" y="7"/>
                      </a:lnTo>
                      <a:lnTo>
                        <a:pt x="16" y="7"/>
                      </a:lnTo>
                      <a:lnTo>
                        <a:pt x="14" y="7"/>
                      </a:lnTo>
                      <a:lnTo>
                        <a:pt x="12" y="7"/>
                      </a:lnTo>
                      <a:lnTo>
                        <a:pt x="9" y="7"/>
                      </a:lnTo>
                      <a:lnTo>
                        <a:pt x="7" y="7"/>
                      </a:ln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4" y="8"/>
                      </a:lnTo>
                      <a:lnTo>
                        <a:pt x="2" y="8"/>
                      </a:lnTo>
                      <a:lnTo>
                        <a:pt x="0" y="12"/>
                      </a:lnTo>
                      <a:lnTo>
                        <a:pt x="2" y="12"/>
                      </a:lnTo>
                      <a:lnTo>
                        <a:pt x="4" y="12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4" y="17"/>
                      </a:lnTo>
                      <a:lnTo>
                        <a:pt x="4" y="19"/>
                      </a:lnTo>
                      <a:lnTo>
                        <a:pt x="4" y="20"/>
                      </a:lnTo>
                      <a:lnTo>
                        <a:pt x="5" y="20"/>
                      </a:lnTo>
                      <a:lnTo>
                        <a:pt x="7" y="20"/>
                      </a:lnTo>
                      <a:lnTo>
                        <a:pt x="7" y="22"/>
                      </a:lnTo>
                      <a:lnTo>
                        <a:pt x="9" y="22"/>
                      </a:lnTo>
                      <a:lnTo>
                        <a:pt x="9" y="24"/>
                      </a:lnTo>
                      <a:lnTo>
                        <a:pt x="9" y="25"/>
                      </a:lnTo>
                      <a:lnTo>
                        <a:pt x="7" y="25"/>
                      </a:lnTo>
                      <a:lnTo>
                        <a:pt x="5" y="25"/>
                      </a:lnTo>
                      <a:lnTo>
                        <a:pt x="4" y="25"/>
                      </a:lnTo>
                      <a:lnTo>
                        <a:pt x="4" y="27"/>
                      </a:lnTo>
                      <a:lnTo>
                        <a:pt x="5" y="27"/>
                      </a:lnTo>
                      <a:lnTo>
                        <a:pt x="5" y="29"/>
                      </a:lnTo>
                      <a:lnTo>
                        <a:pt x="7" y="29"/>
                      </a:lnTo>
                      <a:lnTo>
                        <a:pt x="9" y="29"/>
                      </a:lnTo>
                      <a:lnTo>
                        <a:pt x="10" y="29"/>
                      </a:lnTo>
                      <a:lnTo>
                        <a:pt x="10" y="27"/>
                      </a:lnTo>
                      <a:lnTo>
                        <a:pt x="12" y="27"/>
                      </a:lnTo>
                      <a:lnTo>
                        <a:pt x="14" y="27"/>
                      </a:lnTo>
                      <a:lnTo>
                        <a:pt x="14" y="29"/>
                      </a:lnTo>
                      <a:lnTo>
                        <a:pt x="16" y="29"/>
                      </a:lnTo>
                      <a:lnTo>
                        <a:pt x="16" y="27"/>
                      </a:lnTo>
                      <a:lnTo>
                        <a:pt x="17" y="27"/>
                      </a:lnTo>
                      <a:lnTo>
                        <a:pt x="19" y="27"/>
                      </a:lnTo>
                      <a:lnTo>
                        <a:pt x="21" y="27"/>
                      </a:lnTo>
                      <a:lnTo>
                        <a:pt x="21" y="25"/>
                      </a:lnTo>
                      <a:lnTo>
                        <a:pt x="21" y="24"/>
                      </a:lnTo>
                      <a:lnTo>
                        <a:pt x="22" y="24"/>
                      </a:lnTo>
                      <a:lnTo>
                        <a:pt x="24" y="25"/>
                      </a:lnTo>
                      <a:lnTo>
                        <a:pt x="24" y="27"/>
                      </a:lnTo>
                      <a:lnTo>
                        <a:pt x="26" y="27"/>
                      </a:lnTo>
                      <a:lnTo>
                        <a:pt x="26" y="25"/>
                      </a:lnTo>
                      <a:lnTo>
                        <a:pt x="27" y="25"/>
                      </a:lnTo>
                      <a:lnTo>
                        <a:pt x="29" y="25"/>
                      </a:lnTo>
                      <a:lnTo>
                        <a:pt x="29" y="27"/>
                      </a:lnTo>
                      <a:lnTo>
                        <a:pt x="31" y="27"/>
                      </a:lnTo>
                      <a:lnTo>
                        <a:pt x="31" y="25"/>
                      </a:lnTo>
                      <a:lnTo>
                        <a:pt x="31" y="24"/>
                      </a:lnTo>
                      <a:lnTo>
                        <a:pt x="32" y="24"/>
                      </a:lnTo>
                      <a:lnTo>
                        <a:pt x="31" y="22"/>
                      </a:lnTo>
                      <a:lnTo>
                        <a:pt x="32" y="22"/>
                      </a:lnTo>
                      <a:lnTo>
                        <a:pt x="34" y="20"/>
                      </a:lnTo>
                      <a:lnTo>
                        <a:pt x="36" y="20"/>
                      </a:lnTo>
                      <a:lnTo>
                        <a:pt x="36" y="19"/>
                      </a:lnTo>
                      <a:lnTo>
                        <a:pt x="36" y="17"/>
                      </a:lnTo>
                      <a:lnTo>
                        <a:pt x="36" y="15"/>
                      </a:lnTo>
                      <a:lnTo>
                        <a:pt x="34" y="15"/>
                      </a:lnTo>
                      <a:lnTo>
                        <a:pt x="34" y="14"/>
                      </a:lnTo>
                      <a:lnTo>
                        <a:pt x="39" y="10"/>
                      </a:lnTo>
                      <a:lnTo>
                        <a:pt x="41" y="10"/>
                      </a:lnTo>
                      <a:lnTo>
                        <a:pt x="43" y="10"/>
                      </a:lnTo>
                      <a:lnTo>
                        <a:pt x="44" y="10"/>
                      </a:lnTo>
                      <a:lnTo>
                        <a:pt x="44" y="8"/>
                      </a:lnTo>
                      <a:lnTo>
                        <a:pt x="44" y="7"/>
                      </a:lnTo>
                      <a:lnTo>
                        <a:pt x="46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84" name="Freeform 158">
                  <a:extLst>
                    <a:ext uri="{FF2B5EF4-FFF2-40B4-BE49-F238E27FC236}">
                      <a16:creationId xmlns:a16="http://schemas.microsoft.com/office/drawing/2014/main" id="{50DE2FE6-4F8B-1D45-963A-740B30FEF1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" y="566"/>
                  <a:ext cx="51" cy="29"/>
                </a:xfrm>
                <a:custGeom>
                  <a:avLst/>
                  <a:gdLst>
                    <a:gd name="T0" fmla="*/ 48 w 51"/>
                    <a:gd name="T1" fmla="*/ 7 h 29"/>
                    <a:gd name="T2" fmla="*/ 51 w 51"/>
                    <a:gd name="T3" fmla="*/ 7 h 29"/>
                    <a:gd name="T4" fmla="*/ 46 w 51"/>
                    <a:gd name="T5" fmla="*/ 0 h 29"/>
                    <a:gd name="T6" fmla="*/ 43 w 51"/>
                    <a:gd name="T7" fmla="*/ 0 h 29"/>
                    <a:gd name="T8" fmla="*/ 39 w 51"/>
                    <a:gd name="T9" fmla="*/ 2 h 29"/>
                    <a:gd name="T10" fmla="*/ 36 w 51"/>
                    <a:gd name="T11" fmla="*/ 2 h 29"/>
                    <a:gd name="T12" fmla="*/ 32 w 51"/>
                    <a:gd name="T13" fmla="*/ 3 h 29"/>
                    <a:gd name="T14" fmla="*/ 29 w 51"/>
                    <a:gd name="T15" fmla="*/ 3 h 29"/>
                    <a:gd name="T16" fmla="*/ 22 w 51"/>
                    <a:gd name="T17" fmla="*/ 3 h 29"/>
                    <a:gd name="T18" fmla="*/ 21 w 51"/>
                    <a:gd name="T19" fmla="*/ 7 h 29"/>
                    <a:gd name="T20" fmla="*/ 17 w 51"/>
                    <a:gd name="T21" fmla="*/ 7 h 29"/>
                    <a:gd name="T22" fmla="*/ 14 w 51"/>
                    <a:gd name="T23" fmla="*/ 7 h 29"/>
                    <a:gd name="T24" fmla="*/ 9 w 51"/>
                    <a:gd name="T25" fmla="*/ 7 h 29"/>
                    <a:gd name="T26" fmla="*/ 5 w 51"/>
                    <a:gd name="T27" fmla="*/ 7 h 29"/>
                    <a:gd name="T28" fmla="*/ 4 w 51"/>
                    <a:gd name="T29" fmla="*/ 8 h 29"/>
                    <a:gd name="T30" fmla="*/ 0 w 51"/>
                    <a:gd name="T31" fmla="*/ 12 h 29"/>
                    <a:gd name="T32" fmla="*/ 4 w 51"/>
                    <a:gd name="T33" fmla="*/ 12 h 29"/>
                    <a:gd name="T34" fmla="*/ 2 w 51"/>
                    <a:gd name="T35" fmla="*/ 17 h 29"/>
                    <a:gd name="T36" fmla="*/ 4 w 51"/>
                    <a:gd name="T37" fmla="*/ 19 h 29"/>
                    <a:gd name="T38" fmla="*/ 5 w 51"/>
                    <a:gd name="T39" fmla="*/ 20 h 29"/>
                    <a:gd name="T40" fmla="*/ 7 w 51"/>
                    <a:gd name="T41" fmla="*/ 22 h 29"/>
                    <a:gd name="T42" fmla="*/ 9 w 51"/>
                    <a:gd name="T43" fmla="*/ 24 h 29"/>
                    <a:gd name="T44" fmla="*/ 7 w 51"/>
                    <a:gd name="T45" fmla="*/ 25 h 29"/>
                    <a:gd name="T46" fmla="*/ 4 w 51"/>
                    <a:gd name="T47" fmla="*/ 25 h 29"/>
                    <a:gd name="T48" fmla="*/ 5 w 51"/>
                    <a:gd name="T49" fmla="*/ 27 h 29"/>
                    <a:gd name="T50" fmla="*/ 7 w 51"/>
                    <a:gd name="T51" fmla="*/ 29 h 29"/>
                    <a:gd name="T52" fmla="*/ 10 w 51"/>
                    <a:gd name="T53" fmla="*/ 29 h 29"/>
                    <a:gd name="T54" fmla="*/ 12 w 51"/>
                    <a:gd name="T55" fmla="*/ 27 h 29"/>
                    <a:gd name="T56" fmla="*/ 14 w 51"/>
                    <a:gd name="T57" fmla="*/ 29 h 29"/>
                    <a:gd name="T58" fmla="*/ 16 w 51"/>
                    <a:gd name="T59" fmla="*/ 27 h 29"/>
                    <a:gd name="T60" fmla="*/ 19 w 51"/>
                    <a:gd name="T61" fmla="*/ 27 h 29"/>
                    <a:gd name="T62" fmla="*/ 21 w 51"/>
                    <a:gd name="T63" fmla="*/ 25 h 29"/>
                    <a:gd name="T64" fmla="*/ 22 w 51"/>
                    <a:gd name="T65" fmla="*/ 24 h 29"/>
                    <a:gd name="T66" fmla="*/ 24 w 51"/>
                    <a:gd name="T67" fmla="*/ 27 h 29"/>
                    <a:gd name="T68" fmla="*/ 26 w 51"/>
                    <a:gd name="T69" fmla="*/ 25 h 29"/>
                    <a:gd name="T70" fmla="*/ 29 w 51"/>
                    <a:gd name="T71" fmla="*/ 25 h 29"/>
                    <a:gd name="T72" fmla="*/ 31 w 51"/>
                    <a:gd name="T73" fmla="*/ 27 h 29"/>
                    <a:gd name="T74" fmla="*/ 31 w 51"/>
                    <a:gd name="T75" fmla="*/ 24 h 29"/>
                    <a:gd name="T76" fmla="*/ 31 w 51"/>
                    <a:gd name="T77" fmla="*/ 22 h 29"/>
                    <a:gd name="T78" fmla="*/ 34 w 51"/>
                    <a:gd name="T79" fmla="*/ 20 h 29"/>
                    <a:gd name="T80" fmla="*/ 36 w 51"/>
                    <a:gd name="T81" fmla="*/ 19 h 29"/>
                    <a:gd name="T82" fmla="*/ 36 w 51"/>
                    <a:gd name="T83" fmla="*/ 15 h 29"/>
                    <a:gd name="T84" fmla="*/ 34 w 51"/>
                    <a:gd name="T85" fmla="*/ 14 h 29"/>
                    <a:gd name="T86" fmla="*/ 41 w 51"/>
                    <a:gd name="T87" fmla="*/ 10 h 29"/>
                    <a:gd name="T88" fmla="*/ 44 w 51"/>
                    <a:gd name="T89" fmla="*/ 10 h 29"/>
                    <a:gd name="T90" fmla="*/ 44 w 51"/>
                    <a:gd name="T91" fmla="*/ 7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1" h="29">
                      <a:moveTo>
                        <a:pt x="46" y="7"/>
                      </a:moveTo>
                      <a:lnTo>
                        <a:pt x="48" y="7"/>
                      </a:lnTo>
                      <a:lnTo>
                        <a:pt x="49" y="7"/>
                      </a:lnTo>
                      <a:lnTo>
                        <a:pt x="51" y="7"/>
                      </a:lnTo>
                      <a:lnTo>
                        <a:pt x="48" y="3"/>
                      </a:lnTo>
                      <a:lnTo>
                        <a:pt x="46" y="0"/>
                      </a:lnTo>
                      <a:lnTo>
                        <a:pt x="44" y="0"/>
                      </a:lnTo>
                      <a:lnTo>
                        <a:pt x="43" y="0"/>
                      </a:lnTo>
                      <a:lnTo>
                        <a:pt x="39" y="0"/>
                      </a:lnTo>
                      <a:lnTo>
                        <a:pt x="39" y="2"/>
                      </a:lnTo>
                      <a:lnTo>
                        <a:pt x="37" y="2"/>
                      </a:lnTo>
                      <a:lnTo>
                        <a:pt x="36" y="2"/>
                      </a:lnTo>
                      <a:lnTo>
                        <a:pt x="34" y="2"/>
                      </a:lnTo>
                      <a:lnTo>
                        <a:pt x="32" y="3"/>
                      </a:lnTo>
                      <a:lnTo>
                        <a:pt x="31" y="3"/>
                      </a:lnTo>
                      <a:lnTo>
                        <a:pt x="29" y="3"/>
                      </a:lnTo>
                      <a:lnTo>
                        <a:pt x="26" y="3"/>
                      </a:lnTo>
                      <a:lnTo>
                        <a:pt x="22" y="3"/>
                      </a:lnTo>
                      <a:lnTo>
                        <a:pt x="21" y="5"/>
                      </a:lnTo>
                      <a:lnTo>
                        <a:pt x="21" y="7"/>
                      </a:lnTo>
                      <a:lnTo>
                        <a:pt x="19" y="7"/>
                      </a:lnTo>
                      <a:lnTo>
                        <a:pt x="17" y="7"/>
                      </a:lnTo>
                      <a:lnTo>
                        <a:pt x="16" y="7"/>
                      </a:lnTo>
                      <a:lnTo>
                        <a:pt x="14" y="7"/>
                      </a:lnTo>
                      <a:lnTo>
                        <a:pt x="12" y="7"/>
                      </a:lnTo>
                      <a:lnTo>
                        <a:pt x="9" y="7"/>
                      </a:lnTo>
                      <a:lnTo>
                        <a:pt x="7" y="7"/>
                      </a:ln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4" y="8"/>
                      </a:lnTo>
                      <a:lnTo>
                        <a:pt x="2" y="8"/>
                      </a:lnTo>
                      <a:lnTo>
                        <a:pt x="0" y="12"/>
                      </a:lnTo>
                      <a:lnTo>
                        <a:pt x="2" y="12"/>
                      </a:lnTo>
                      <a:lnTo>
                        <a:pt x="4" y="12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4" y="17"/>
                      </a:lnTo>
                      <a:lnTo>
                        <a:pt x="4" y="19"/>
                      </a:lnTo>
                      <a:lnTo>
                        <a:pt x="4" y="20"/>
                      </a:lnTo>
                      <a:lnTo>
                        <a:pt x="5" y="20"/>
                      </a:lnTo>
                      <a:lnTo>
                        <a:pt x="7" y="20"/>
                      </a:lnTo>
                      <a:lnTo>
                        <a:pt x="7" y="22"/>
                      </a:lnTo>
                      <a:lnTo>
                        <a:pt x="9" y="22"/>
                      </a:lnTo>
                      <a:lnTo>
                        <a:pt x="9" y="24"/>
                      </a:lnTo>
                      <a:lnTo>
                        <a:pt x="9" y="25"/>
                      </a:lnTo>
                      <a:lnTo>
                        <a:pt x="7" y="25"/>
                      </a:lnTo>
                      <a:lnTo>
                        <a:pt x="5" y="25"/>
                      </a:lnTo>
                      <a:lnTo>
                        <a:pt x="4" y="25"/>
                      </a:lnTo>
                      <a:lnTo>
                        <a:pt x="4" y="27"/>
                      </a:lnTo>
                      <a:lnTo>
                        <a:pt x="5" y="27"/>
                      </a:lnTo>
                      <a:lnTo>
                        <a:pt x="5" y="29"/>
                      </a:lnTo>
                      <a:lnTo>
                        <a:pt x="7" y="29"/>
                      </a:lnTo>
                      <a:lnTo>
                        <a:pt x="9" y="29"/>
                      </a:lnTo>
                      <a:lnTo>
                        <a:pt x="10" y="29"/>
                      </a:lnTo>
                      <a:lnTo>
                        <a:pt x="10" y="27"/>
                      </a:lnTo>
                      <a:lnTo>
                        <a:pt x="12" y="27"/>
                      </a:lnTo>
                      <a:lnTo>
                        <a:pt x="14" y="27"/>
                      </a:lnTo>
                      <a:lnTo>
                        <a:pt x="14" y="29"/>
                      </a:lnTo>
                      <a:lnTo>
                        <a:pt x="16" y="29"/>
                      </a:lnTo>
                      <a:lnTo>
                        <a:pt x="16" y="27"/>
                      </a:lnTo>
                      <a:lnTo>
                        <a:pt x="17" y="27"/>
                      </a:lnTo>
                      <a:lnTo>
                        <a:pt x="19" y="27"/>
                      </a:lnTo>
                      <a:lnTo>
                        <a:pt x="21" y="27"/>
                      </a:lnTo>
                      <a:lnTo>
                        <a:pt x="21" y="25"/>
                      </a:lnTo>
                      <a:lnTo>
                        <a:pt x="21" y="24"/>
                      </a:lnTo>
                      <a:lnTo>
                        <a:pt x="22" y="24"/>
                      </a:lnTo>
                      <a:lnTo>
                        <a:pt x="24" y="25"/>
                      </a:lnTo>
                      <a:lnTo>
                        <a:pt x="24" y="27"/>
                      </a:lnTo>
                      <a:lnTo>
                        <a:pt x="26" y="27"/>
                      </a:lnTo>
                      <a:lnTo>
                        <a:pt x="26" y="25"/>
                      </a:lnTo>
                      <a:lnTo>
                        <a:pt x="27" y="25"/>
                      </a:lnTo>
                      <a:lnTo>
                        <a:pt x="29" y="25"/>
                      </a:lnTo>
                      <a:lnTo>
                        <a:pt x="29" y="27"/>
                      </a:lnTo>
                      <a:lnTo>
                        <a:pt x="31" y="27"/>
                      </a:lnTo>
                      <a:lnTo>
                        <a:pt x="31" y="25"/>
                      </a:lnTo>
                      <a:lnTo>
                        <a:pt x="31" y="24"/>
                      </a:lnTo>
                      <a:lnTo>
                        <a:pt x="32" y="24"/>
                      </a:lnTo>
                      <a:lnTo>
                        <a:pt x="31" y="22"/>
                      </a:lnTo>
                      <a:lnTo>
                        <a:pt x="32" y="22"/>
                      </a:lnTo>
                      <a:lnTo>
                        <a:pt x="34" y="20"/>
                      </a:lnTo>
                      <a:lnTo>
                        <a:pt x="36" y="20"/>
                      </a:lnTo>
                      <a:lnTo>
                        <a:pt x="36" y="19"/>
                      </a:lnTo>
                      <a:lnTo>
                        <a:pt x="36" y="17"/>
                      </a:lnTo>
                      <a:lnTo>
                        <a:pt x="36" y="15"/>
                      </a:lnTo>
                      <a:lnTo>
                        <a:pt x="34" y="15"/>
                      </a:lnTo>
                      <a:lnTo>
                        <a:pt x="34" y="14"/>
                      </a:lnTo>
                      <a:lnTo>
                        <a:pt x="39" y="10"/>
                      </a:lnTo>
                      <a:lnTo>
                        <a:pt x="41" y="10"/>
                      </a:lnTo>
                      <a:lnTo>
                        <a:pt x="43" y="10"/>
                      </a:lnTo>
                      <a:lnTo>
                        <a:pt x="44" y="10"/>
                      </a:lnTo>
                      <a:lnTo>
                        <a:pt x="44" y="8"/>
                      </a:lnTo>
                      <a:lnTo>
                        <a:pt x="44" y="7"/>
                      </a:lnTo>
                      <a:lnTo>
                        <a:pt x="46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71" name="Group 1770">
                <a:extLst>
                  <a:ext uri="{FF2B5EF4-FFF2-40B4-BE49-F238E27FC236}">
                    <a16:creationId xmlns:a16="http://schemas.microsoft.com/office/drawing/2014/main" id="{9F23C84B-C771-644C-AF8D-6FBB73DD553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17" y="632"/>
                <a:ext cx="6" cy="3"/>
                <a:chOff x="417" y="632"/>
                <a:chExt cx="6" cy="3"/>
              </a:xfrm>
            </p:grpSpPr>
            <p:sp>
              <p:nvSpPr>
                <p:cNvPr id="1781" name="Freeform 155">
                  <a:extLst>
                    <a:ext uri="{FF2B5EF4-FFF2-40B4-BE49-F238E27FC236}">
                      <a16:creationId xmlns:a16="http://schemas.microsoft.com/office/drawing/2014/main" id="{D5D4E587-1115-0A41-9DEA-9EBB449182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7" y="632"/>
                  <a:ext cx="6" cy="3"/>
                </a:xfrm>
                <a:custGeom>
                  <a:avLst/>
                  <a:gdLst>
                    <a:gd name="T0" fmla="*/ 6 w 6"/>
                    <a:gd name="T1" fmla="*/ 1 h 3"/>
                    <a:gd name="T2" fmla="*/ 5 w 6"/>
                    <a:gd name="T3" fmla="*/ 1 h 3"/>
                    <a:gd name="T4" fmla="*/ 3 w 6"/>
                    <a:gd name="T5" fmla="*/ 1 h 3"/>
                    <a:gd name="T6" fmla="*/ 1 w 6"/>
                    <a:gd name="T7" fmla="*/ 1 h 3"/>
                    <a:gd name="T8" fmla="*/ 1 w 6"/>
                    <a:gd name="T9" fmla="*/ 0 h 3"/>
                    <a:gd name="T10" fmla="*/ 0 w 6"/>
                    <a:gd name="T11" fmla="*/ 0 h 3"/>
                    <a:gd name="T12" fmla="*/ 0 w 6"/>
                    <a:gd name="T13" fmla="*/ 1 h 3"/>
                    <a:gd name="T14" fmla="*/ 0 w 6"/>
                    <a:gd name="T15" fmla="*/ 3 h 3"/>
                    <a:gd name="T16" fmla="*/ 1 w 6"/>
                    <a:gd name="T17" fmla="*/ 3 h 3"/>
                    <a:gd name="T18" fmla="*/ 3 w 6"/>
                    <a:gd name="T19" fmla="*/ 3 h 3"/>
                    <a:gd name="T20" fmla="*/ 5 w 6"/>
                    <a:gd name="T21" fmla="*/ 3 h 3"/>
                    <a:gd name="T22" fmla="*/ 6 w 6"/>
                    <a:gd name="T23" fmla="*/ 3 h 3"/>
                    <a:gd name="T24" fmla="*/ 6 w 6"/>
                    <a:gd name="T25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" h="3">
                      <a:moveTo>
                        <a:pt x="6" y="1"/>
                      </a:moveTo>
                      <a:lnTo>
                        <a:pt x="5" y="1"/>
                      </a:lnTo>
                      <a:lnTo>
                        <a:pt x="3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5" y="3"/>
                      </a:lnTo>
                      <a:lnTo>
                        <a:pt x="6" y="3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82" name="Freeform 156">
                  <a:extLst>
                    <a:ext uri="{FF2B5EF4-FFF2-40B4-BE49-F238E27FC236}">
                      <a16:creationId xmlns:a16="http://schemas.microsoft.com/office/drawing/2014/main" id="{311011DF-3BD0-2244-872D-26426D8985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7" y="632"/>
                  <a:ext cx="6" cy="3"/>
                </a:xfrm>
                <a:custGeom>
                  <a:avLst/>
                  <a:gdLst>
                    <a:gd name="T0" fmla="*/ 6 w 6"/>
                    <a:gd name="T1" fmla="*/ 1 h 3"/>
                    <a:gd name="T2" fmla="*/ 5 w 6"/>
                    <a:gd name="T3" fmla="*/ 1 h 3"/>
                    <a:gd name="T4" fmla="*/ 3 w 6"/>
                    <a:gd name="T5" fmla="*/ 1 h 3"/>
                    <a:gd name="T6" fmla="*/ 1 w 6"/>
                    <a:gd name="T7" fmla="*/ 1 h 3"/>
                    <a:gd name="T8" fmla="*/ 1 w 6"/>
                    <a:gd name="T9" fmla="*/ 0 h 3"/>
                    <a:gd name="T10" fmla="*/ 0 w 6"/>
                    <a:gd name="T11" fmla="*/ 0 h 3"/>
                    <a:gd name="T12" fmla="*/ 0 w 6"/>
                    <a:gd name="T13" fmla="*/ 1 h 3"/>
                    <a:gd name="T14" fmla="*/ 0 w 6"/>
                    <a:gd name="T15" fmla="*/ 3 h 3"/>
                    <a:gd name="T16" fmla="*/ 1 w 6"/>
                    <a:gd name="T17" fmla="*/ 3 h 3"/>
                    <a:gd name="T18" fmla="*/ 3 w 6"/>
                    <a:gd name="T19" fmla="*/ 3 h 3"/>
                    <a:gd name="T20" fmla="*/ 5 w 6"/>
                    <a:gd name="T21" fmla="*/ 3 h 3"/>
                    <a:gd name="T22" fmla="*/ 6 w 6"/>
                    <a:gd name="T23" fmla="*/ 3 h 3"/>
                    <a:gd name="T24" fmla="*/ 6 w 6"/>
                    <a:gd name="T25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" h="3">
                      <a:moveTo>
                        <a:pt x="6" y="1"/>
                      </a:moveTo>
                      <a:lnTo>
                        <a:pt x="5" y="1"/>
                      </a:lnTo>
                      <a:lnTo>
                        <a:pt x="3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5" y="3"/>
                      </a:lnTo>
                      <a:lnTo>
                        <a:pt x="6" y="3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72" name="Group 1771">
                <a:extLst>
                  <a:ext uri="{FF2B5EF4-FFF2-40B4-BE49-F238E27FC236}">
                    <a16:creationId xmlns:a16="http://schemas.microsoft.com/office/drawing/2014/main" id="{46D3C748-ECEA-9A42-ABB2-7964A1CC775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20" y="640"/>
                <a:ext cx="8" cy="2"/>
                <a:chOff x="420" y="640"/>
                <a:chExt cx="8" cy="2"/>
              </a:xfrm>
            </p:grpSpPr>
            <p:sp>
              <p:nvSpPr>
                <p:cNvPr id="1779" name="Freeform 153">
                  <a:extLst>
                    <a:ext uri="{FF2B5EF4-FFF2-40B4-BE49-F238E27FC236}">
                      <a16:creationId xmlns:a16="http://schemas.microsoft.com/office/drawing/2014/main" id="{B1B66AE5-C0A3-9D4B-8C60-0C57AA8DD2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" y="640"/>
                  <a:ext cx="8" cy="2"/>
                </a:xfrm>
                <a:custGeom>
                  <a:avLst/>
                  <a:gdLst>
                    <a:gd name="T0" fmla="*/ 7 w 8"/>
                    <a:gd name="T1" fmla="*/ 0 h 2"/>
                    <a:gd name="T2" fmla="*/ 5 w 8"/>
                    <a:gd name="T3" fmla="*/ 0 h 2"/>
                    <a:gd name="T4" fmla="*/ 3 w 8"/>
                    <a:gd name="T5" fmla="*/ 0 h 2"/>
                    <a:gd name="T6" fmla="*/ 2 w 8"/>
                    <a:gd name="T7" fmla="*/ 0 h 2"/>
                    <a:gd name="T8" fmla="*/ 0 w 8"/>
                    <a:gd name="T9" fmla="*/ 0 h 2"/>
                    <a:gd name="T10" fmla="*/ 0 w 8"/>
                    <a:gd name="T11" fmla="*/ 2 h 2"/>
                    <a:gd name="T12" fmla="*/ 2 w 8"/>
                    <a:gd name="T13" fmla="*/ 2 h 2"/>
                    <a:gd name="T14" fmla="*/ 3 w 8"/>
                    <a:gd name="T15" fmla="*/ 2 h 2"/>
                    <a:gd name="T16" fmla="*/ 5 w 8"/>
                    <a:gd name="T17" fmla="*/ 2 h 2"/>
                    <a:gd name="T18" fmla="*/ 7 w 8"/>
                    <a:gd name="T19" fmla="*/ 2 h 2"/>
                    <a:gd name="T20" fmla="*/ 8 w 8"/>
                    <a:gd name="T21" fmla="*/ 2 h 2"/>
                    <a:gd name="T22" fmla="*/ 7 w 8"/>
                    <a:gd name="T2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2">
                      <a:moveTo>
                        <a:pt x="7" y="0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7" y="2"/>
                      </a:lnTo>
                      <a:lnTo>
                        <a:pt x="8" y="2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80" name="Freeform 154">
                  <a:extLst>
                    <a:ext uri="{FF2B5EF4-FFF2-40B4-BE49-F238E27FC236}">
                      <a16:creationId xmlns:a16="http://schemas.microsoft.com/office/drawing/2014/main" id="{0766CA02-A1A0-9941-BB19-7711440044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" y="640"/>
                  <a:ext cx="8" cy="2"/>
                </a:xfrm>
                <a:custGeom>
                  <a:avLst/>
                  <a:gdLst>
                    <a:gd name="T0" fmla="*/ 7 w 8"/>
                    <a:gd name="T1" fmla="*/ 0 h 2"/>
                    <a:gd name="T2" fmla="*/ 5 w 8"/>
                    <a:gd name="T3" fmla="*/ 0 h 2"/>
                    <a:gd name="T4" fmla="*/ 3 w 8"/>
                    <a:gd name="T5" fmla="*/ 0 h 2"/>
                    <a:gd name="T6" fmla="*/ 2 w 8"/>
                    <a:gd name="T7" fmla="*/ 0 h 2"/>
                    <a:gd name="T8" fmla="*/ 0 w 8"/>
                    <a:gd name="T9" fmla="*/ 0 h 2"/>
                    <a:gd name="T10" fmla="*/ 0 w 8"/>
                    <a:gd name="T11" fmla="*/ 2 h 2"/>
                    <a:gd name="T12" fmla="*/ 2 w 8"/>
                    <a:gd name="T13" fmla="*/ 2 h 2"/>
                    <a:gd name="T14" fmla="*/ 3 w 8"/>
                    <a:gd name="T15" fmla="*/ 2 h 2"/>
                    <a:gd name="T16" fmla="*/ 5 w 8"/>
                    <a:gd name="T17" fmla="*/ 2 h 2"/>
                    <a:gd name="T18" fmla="*/ 7 w 8"/>
                    <a:gd name="T19" fmla="*/ 2 h 2"/>
                    <a:gd name="T20" fmla="*/ 8 w 8"/>
                    <a:gd name="T21" fmla="*/ 2 h 2"/>
                    <a:gd name="T22" fmla="*/ 7 w 8"/>
                    <a:gd name="T2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2">
                      <a:moveTo>
                        <a:pt x="7" y="0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7" y="2"/>
                      </a:lnTo>
                      <a:lnTo>
                        <a:pt x="8" y="2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73" name="Group 1772">
                <a:extLst>
                  <a:ext uri="{FF2B5EF4-FFF2-40B4-BE49-F238E27FC236}">
                    <a16:creationId xmlns:a16="http://schemas.microsoft.com/office/drawing/2014/main" id="{B3933D70-7AA4-5B40-B73D-4DD8F20158A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86" y="598"/>
                <a:ext cx="5" cy="5"/>
                <a:chOff x="386" y="598"/>
                <a:chExt cx="5" cy="5"/>
              </a:xfrm>
            </p:grpSpPr>
            <p:sp>
              <p:nvSpPr>
                <p:cNvPr id="1777" name="Freeform 151">
                  <a:extLst>
                    <a:ext uri="{FF2B5EF4-FFF2-40B4-BE49-F238E27FC236}">
                      <a16:creationId xmlns:a16="http://schemas.microsoft.com/office/drawing/2014/main" id="{35FB54A0-CC2D-9845-961D-5A805060D3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" y="598"/>
                  <a:ext cx="5" cy="5"/>
                </a:xfrm>
                <a:custGeom>
                  <a:avLst/>
                  <a:gdLst>
                    <a:gd name="T0" fmla="*/ 4 w 5"/>
                    <a:gd name="T1" fmla="*/ 3 h 5"/>
                    <a:gd name="T2" fmla="*/ 2 w 5"/>
                    <a:gd name="T3" fmla="*/ 2 h 5"/>
                    <a:gd name="T4" fmla="*/ 2 w 5"/>
                    <a:gd name="T5" fmla="*/ 0 h 5"/>
                    <a:gd name="T6" fmla="*/ 0 w 5"/>
                    <a:gd name="T7" fmla="*/ 0 h 5"/>
                    <a:gd name="T8" fmla="*/ 0 w 5"/>
                    <a:gd name="T9" fmla="*/ 2 h 5"/>
                    <a:gd name="T10" fmla="*/ 0 w 5"/>
                    <a:gd name="T11" fmla="*/ 3 h 5"/>
                    <a:gd name="T12" fmla="*/ 2 w 5"/>
                    <a:gd name="T13" fmla="*/ 3 h 5"/>
                    <a:gd name="T14" fmla="*/ 4 w 5"/>
                    <a:gd name="T15" fmla="*/ 3 h 5"/>
                    <a:gd name="T16" fmla="*/ 5 w 5"/>
                    <a:gd name="T17" fmla="*/ 5 h 5"/>
                    <a:gd name="T18" fmla="*/ 5 w 5"/>
                    <a:gd name="T19" fmla="*/ 3 h 5"/>
                    <a:gd name="T20" fmla="*/ 4 w 5"/>
                    <a:gd name="T21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5">
                      <a:moveTo>
                        <a:pt x="4" y="3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5" y="5"/>
                      </a:lnTo>
                      <a:lnTo>
                        <a:pt x="5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78" name="Freeform 152">
                  <a:extLst>
                    <a:ext uri="{FF2B5EF4-FFF2-40B4-BE49-F238E27FC236}">
                      <a16:creationId xmlns:a16="http://schemas.microsoft.com/office/drawing/2014/main" id="{FED4F82C-415F-854A-AEAB-4B4B37DB00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" y="598"/>
                  <a:ext cx="5" cy="5"/>
                </a:xfrm>
                <a:custGeom>
                  <a:avLst/>
                  <a:gdLst>
                    <a:gd name="T0" fmla="*/ 4 w 5"/>
                    <a:gd name="T1" fmla="*/ 3 h 5"/>
                    <a:gd name="T2" fmla="*/ 2 w 5"/>
                    <a:gd name="T3" fmla="*/ 2 h 5"/>
                    <a:gd name="T4" fmla="*/ 2 w 5"/>
                    <a:gd name="T5" fmla="*/ 0 h 5"/>
                    <a:gd name="T6" fmla="*/ 0 w 5"/>
                    <a:gd name="T7" fmla="*/ 0 h 5"/>
                    <a:gd name="T8" fmla="*/ 0 w 5"/>
                    <a:gd name="T9" fmla="*/ 2 h 5"/>
                    <a:gd name="T10" fmla="*/ 0 w 5"/>
                    <a:gd name="T11" fmla="*/ 3 h 5"/>
                    <a:gd name="T12" fmla="*/ 2 w 5"/>
                    <a:gd name="T13" fmla="*/ 3 h 5"/>
                    <a:gd name="T14" fmla="*/ 4 w 5"/>
                    <a:gd name="T15" fmla="*/ 3 h 5"/>
                    <a:gd name="T16" fmla="*/ 5 w 5"/>
                    <a:gd name="T17" fmla="*/ 5 h 5"/>
                    <a:gd name="T18" fmla="*/ 5 w 5"/>
                    <a:gd name="T19" fmla="*/ 3 h 5"/>
                    <a:gd name="T20" fmla="*/ 4 w 5"/>
                    <a:gd name="T21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5">
                      <a:moveTo>
                        <a:pt x="4" y="3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5" y="5"/>
                      </a:lnTo>
                      <a:lnTo>
                        <a:pt x="5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74" name="Group 1773">
                <a:extLst>
                  <a:ext uri="{FF2B5EF4-FFF2-40B4-BE49-F238E27FC236}">
                    <a16:creationId xmlns:a16="http://schemas.microsoft.com/office/drawing/2014/main" id="{A2262301-1F44-8C4E-B13E-2BB3BD5AE9C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83" y="598"/>
                <a:ext cx="3" cy="10"/>
                <a:chOff x="383" y="598"/>
                <a:chExt cx="3" cy="10"/>
              </a:xfrm>
            </p:grpSpPr>
            <p:sp>
              <p:nvSpPr>
                <p:cNvPr id="1775" name="Freeform 149">
                  <a:extLst>
                    <a:ext uri="{FF2B5EF4-FFF2-40B4-BE49-F238E27FC236}">
                      <a16:creationId xmlns:a16="http://schemas.microsoft.com/office/drawing/2014/main" id="{CA80B2E4-A4B4-664B-A81D-134C286642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3" y="598"/>
                  <a:ext cx="3" cy="10"/>
                </a:xfrm>
                <a:custGeom>
                  <a:avLst/>
                  <a:gdLst>
                    <a:gd name="T0" fmla="*/ 3 w 3"/>
                    <a:gd name="T1" fmla="*/ 9 h 10"/>
                    <a:gd name="T2" fmla="*/ 2 w 3"/>
                    <a:gd name="T3" fmla="*/ 7 h 10"/>
                    <a:gd name="T4" fmla="*/ 2 w 3"/>
                    <a:gd name="T5" fmla="*/ 5 h 10"/>
                    <a:gd name="T6" fmla="*/ 2 w 3"/>
                    <a:gd name="T7" fmla="*/ 3 h 10"/>
                    <a:gd name="T8" fmla="*/ 2 w 3"/>
                    <a:gd name="T9" fmla="*/ 2 h 10"/>
                    <a:gd name="T10" fmla="*/ 2 w 3"/>
                    <a:gd name="T11" fmla="*/ 0 h 10"/>
                    <a:gd name="T12" fmla="*/ 0 w 3"/>
                    <a:gd name="T13" fmla="*/ 0 h 10"/>
                    <a:gd name="T14" fmla="*/ 2 w 3"/>
                    <a:gd name="T15" fmla="*/ 2 h 10"/>
                    <a:gd name="T16" fmla="*/ 2 w 3"/>
                    <a:gd name="T17" fmla="*/ 3 h 10"/>
                    <a:gd name="T18" fmla="*/ 2 w 3"/>
                    <a:gd name="T19" fmla="*/ 5 h 10"/>
                    <a:gd name="T20" fmla="*/ 0 w 3"/>
                    <a:gd name="T21" fmla="*/ 7 h 10"/>
                    <a:gd name="T22" fmla="*/ 2 w 3"/>
                    <a:gd name="T23" fmla="*/ 9 h 10"/>
                    <a:gd name="T24" fmla="*/ 3 w 3"/>
                    <a:gd name="T25" fmla="*/ 10 h 10"/>
                    <a:gd name="T26" fmla="*/ 3 w 3"/>
                    <a:gd name="T27" fmla="*/ 9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10">
                      <a:moveTo>
                        <a:pt x="3" y="9"/>
                      </a:moveTo>
                      <a:lnTo>
                        <a:pt x="2" y="7"/>
                      </a:lnTo>
                      <a:lnTo>
                        <a:pt x="2" y="5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0" y="7"/>
                      </a:lnTo>
                      <a:lnTo>
                        <a:pt x="2" y="9"/>
                      </a:lnTo>
                      <a:lnTo>
                        <a:pt x="3" y="10"/>
                      </a:lnTo>
                      <a:lnTo>
                        <a:pt x="3" y="9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76" name="Freeform 150">
                  <a:extLst>
                    <a:ext uri="{FF2B5EF4-FFF2-40B4-BE49-F238E27FC236}">
                      <a16:creationId xmlns:a16="http://schemas.microsoft.com/office/drawing/2014/main" id="{866FB318-C2DD-7747-9DE2-11117A0275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3" y="598"/>
                  <a:ext cx="3" cy="10"/>
                </a:xfrm>
                <a:custGeom>
                  <a:avLst/>
                  <a:gdLst>
                    <a:gd name="T0" fmla="*/ 3 w 3"/>
                    <a:gd name="T1" fmla="*/ 9 h 10"/>
                    <a:gd name="T2" fmla="*/ 2 w 3"/>
                    <a:gd name="T3" fmla="*/ 7 h 10"/>
                    <a:gd name="T4" fmla="*/ 2 w 3"/>
                    <a:gd name="T5" fmla="*/ 5 h 10"/>
                    <a:gd name="T6" fmla="*/ 2 w 3"/>
                    <a:gd name="T7" fmla="*/ 3 h 10"/>
                    <a:gd name="T8" fmla="*/ 2 w 3"/>
                    <a:gd name="T9" fmla="*/ 2 h 10"/>
                    <a:gd name="T10" fmla="*/ 2 w 3"/>
                    <a:gd name="T11" fmla="*/ 0 h 10"/>
                    <a:gd name="T12" fmla="*/ 0 w 3"/>
                    <a:gd name="T13" fmla="*/ 0 h 10"/>
                    <a:gd name="T14" fmla="*/ 2 w 3"/>
                    <a:gd name="T15" fmla="*/ 2 h 10"/>
                    <a:gd name="T16" fmla="*/ 2 w 3"/>
                    <a:gd name="T17" fmla="*/ 3 h 10"/>
                    <a:gd name="T18" fmla="*/ 2 w 3"/>
                    <a:gd name="T19" fmla="*/ 5 h 10"/>
                    <a:gd name="T20" fmla="*/ 0 w 3"/>
                    <a:gd name="T21" fmla="*/ 7 h 10"/>
                    <a:gd name="T22" fmla="*/ 2 w 3"/>
                    <a:gd name="T23" fmla="*/ 9 h 10"/>
                    <a:gd name="T24" fmla="*/ 3 w 3"/>
                    <a:gd name="T25" fmla="*/ 10 h 10"/>
                    <a:gd name="T26" fmla="*/ 3 w 3"/>
                    <a:gd name="T27" fmla="*/ 9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10">
                      <a:moveTo>
                        <a:pt x="3" y="9"/>
                      </a:moveTo>
                      <a:lnTo>
                        <a:pt x="2" y="7"/>
                      </a:lnTo>
                      <a:lnTo>
                        <a:pt x="2" y="5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0" y="7"/>
                      </a:lnTo>
                      <a:lnTo>
                        <a:pt x="2" y="9"/>
                      </a:lnTo>
                      <a:lnTo>
                        <a:pt x="3" y="10"/>
                      </a:lnTo>
                      <a:lnTo>
                        <a:pt x="3" y="9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666" name="Group 1665">
              <a:extLst>
                <a:ext uri="{FF2B5EF4-FFF2-40B4-BE49-F238E27FC236}">
                  <a16:creationId xmlns:a16="http://schemas.microsoft.com/office/drawing/2014/main" id="{0337EAB0-4DD3-6D4A-8CB5-0D4F63D6A84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" y="627"/>
              <a:ext cx="210" cy="140"/>
              <a:chOff x="19" y="627"/>
              <a:chExt cx="210" cy="140"/>
            </a:xfrm>
          </p:grpSpPr>
          <p:grpSp>
            <p:nvGrpSpPr>
              <p:cNvPr id="1758" name="Group 1757">
                <a:extLst>
                  <a:ext uri="{FF2B5EF4-FFF2-40B4-BE49-F238E27FC236}">
                    <a16:creationId xmlns:a16="http://schemas.microsoft.com/office/drawing/2014/main" id="{68797F8B-919D-C946-824B-12849F2343B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9" y="627"/>
                <a:ext cx="195" cy="140"/>
                <a:chOff x="19" y="627"/>
                <a:chExt cx="195" cy="140"/>
              </a:xfrm>
            </p:grpSpPr>
            <p:sp>
              <p:nvSpPr>
                <p:cNvPr id="1768" name="Freeform 142">
                  <a:extLst>
                    <a:ext uri="{FF2B5EF4-FFF2-40B4-BE49-F238E27FC236}">
                      <a16:creationId xmlns:a16="http://schemas.microsoft.com/office/drawing/2014/main" id="{C1B6A553-671C-2C47-A8D9-C475AA1F48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" y="627"/>
                  <a:ext cx="195" cy="140"/>
                </a:xfrm>
                <a:custGeom>
                  <a:avLst/>
                  <a:gdLst>
                    <a:gd name="T0" fmla="*/ 18 w 195"/>
                    <a:gd name="T1" fmla="*/ 32 h 140"/>
                    <a:gd name="T2" fmla="*/ 27 w 195"/>
                    <a:gd name="T3" fmla="*/ 35 h 140"/>
                    <a:gd name="T4" fmla="*/ 44 w 195"/>
                    <a:gd name="T5" fmla="*/ 35 h 140"/>
                    <a:gd name="T6" fmla="*/ 45 w 195"/>
                    <a:gd name="T7" fmla="*/ 45 h 140"/>
                    <a:gd name="T8" fmla="*/ 38 w 195"/>
                    <a:gd name="T9" fmla="*/ 57 h 140"/>
                    <a:gd name="T10" fmla="*/ 38 w 195"/>
                    <a:gd name="T11" fmla="*/ 69 h 140"/>
                    <a:gd name="T12" fmla="*/ 30 w 195"/>
                    <a:gd name="T13" fmla="*/ 77 h 140"/>
                    <a:gd name="T14" fmla="*/ 35 w 195"/>
                    <a:gd name="T15" fmla="*/ 87 h 140"/>
                    <a:gd name="T16" fmla="*/ 32 w 195"/>
                    <a:gd name="T17" fmla="*/ 99 h 140"/>
                    <a:gd name="T18" fmla="*/ 30 w 195"/>
                    <a:gd name="T19" fmla="*/ 109 h 140"/>
                    <a:gd name="T20" fmla="*/ 28 w 195"/>
                    <a:gd name="T21" fmla="*/ 119 h 140"/>
                    <a:gd name="T22" fmla="*/ 38 w 195"/>
                    <a:gd name="T23" fmla="*/ 121 h 140"/>
                    <a:gd name="T24" fmla="*/ 45 w 195"/>
                    <a:gd name="T25" fmla="*/ 130 h 140"/>
                    <a:gd name="T26" fmla="*/ 50 w 195"/>
                    <a:gd name="T27" fmla="*/ 138 h 140"/>
                    <a:gd name="T28" fmla="*/ 60 w 195"/>
                    <a:gd name="T29" fmla="*/ 140 h 140"/>
                    <a:gd name="T30" fmla="*/ 65 w 195"/>
                    <a:gd name="T31" fmla="*/ 135 h 140"/>
                    <a:gd name="T32" fmla="*/ 79 w 195"/>
                    <a:gd name="T33" fmla="*/ 130 h 140"/>
                    <a:gd name="T34" fmla="*/ 94 w 195"/>
                    <a:gd name="T35" fmla="*/ 128 h 140"/>
                    <a:gd name="T36" fmla="*/ 111 w 195"/>
                    <a:gd name="T37" fmla="*/ 128 h 140"/>
                    <a:gd name="T38" fmla="*/ 116 w 195"/>
                    <a:gd name="T39" fmla="*/ 121 h 140"/>
                    <a:gd name="T40" fmla="*/ 126 w 195"/>
                    <a:gd name="T41" fmla="*/ 114 h 140"/>
                    <a:gd name="T42" fmla="*/ 133 w 195"/>
                    <a:gd name="T43" fmla="*/ 109 h 140"/>
                    <a:gd name="T44" fmla="*/ 138 w 195"/>
                    <a:gd name="T45" fmla="*/ 101 h 140"/>
                    <a:gd name="T46" fmla="*/ 146 w 195"/>
                    <a:gd name="T47" fmla="*/ 92 h 140"/>
                    <a:gd name="T48" fmla="*/ 141 w 195"/>
                    <a:gd name="T49" fmla="*/ 87 h 140"/>
                    <a:gd name="T50" fmla="*/ 138 w 195"/>
                    <a:gd name="T51" fmla="*/ 81 h 140"/>
                    <a:gd name="T52" fmla="*/ 146 w 195"/>
                    <a:gd name="T53" fmla="*/ 71 h 140"/>
                    <a:gd name="T54" fmla="*/ 156 w 195"/>
                    <a:gd name="T55" fmla="*/ 57 h 140"/>
                    <a:gd name="T56" fmla="*/ 172 w 195"/>
                    <a:gd name="T57" fmla="*/ 47 h 140"/>
                    <a:gd name="T58" fmla="*/ 192 w 195"/>
                    <a:gd name="T59" fmla="*/ 37 h 140"/>
                    <a:gd name="T60" fmla="*/ 195 w 195"/>
                    <a:gd name="T61" fmla="*/ 27 h 140"/>
                    <a:gd name="T62" fmla="*/ 190 w 195"/>
                    <a:gd name="T63" fmla="*/ 25 h 140"/>
                    <a:gd name="T64" fmla="*/ 175 w 195"/>
                    <a:gd name="T65" fmla="*/ 25 h 140"/>
                    <a:gd name="T66" fmla="*/ 167 w 195"/>
                    <a:gd name="T67" fmla="*/ 25 h 140"/>
                    <a:gd name="T68" fmla="*/ 160 w 195"/>
                    <a:gd name="T69" fmla="*/ 18 h 140"/>
                    <a:gd name="T70" fmla="*/ 150 w 195"/>
                    <a:gd name="T71" fmla="*/ 20 h 140"/>
                    <a:gd name="T72" fmla="*/ 133 w 195"/>
                    <a:gd name="T73" fmla="*/ 17 h 140"/>
                    <a:gd name="T74" fmla="*/ 123 w 195"/>
                    <a:gd name="T75" fmla="*/ 12 h 140"/>
                    <a:gd name="T76" fmla="*/ 116 w 195"/>
                    <a:gd name="T77" fmla="*/ 6 h 140"/>
                    <a:gd name="T78" fmla="*/ 97 w 195"/>
                    <a:gd name="T79" fmla="*/ 6 h 140"/>
                    <a:gd name="T80" fmla="*/ 82 w 195"/>
                    <a:gd name="T81" fmla="*/ 5 h 140"/>
                    <a:gd name="T82" fmla="*/ 62 w 195"/>
                    <a:gd name="T83" fmla="*/ 3 h 140"/>
                    <a:gd name="T84" fmla="*/ 47 w 195"/>
                    <a:gd name="T85" fmla="*/ 3 h 140"/>
                    <a:gd name="T86" fmla="*/ 27 w 195"/>
                    <a:gd name="T87" fmla="*/ 0 h 140"/>
                    <a:gd name="T88" fmla="*/ 15 w 195"/>
                    <a:gd name="T89" fmla="*/ 3 h 140"/>
                    <a:gd name="T90" fmla="*/ 5 w 195"/>
                    <a:gd name="T91" fmla="*/ 8 h 140"/>
                    <a:gd name="T92" fmla="*/ 5 w 195"/>
                    <a:gd name="T93" fmla="*/ 17 h 140"/>
                    <a:gd name="T94" fmla="*/ 5 w 195"/>
                    <a:gd name="T95" fmla="*/ 23 h 140"/>
                    <a:gd name="T96" fmla="*/ 6 w 195"/>
                    <a:gd name="T97" fmla="*/ 28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95" h="140">
                      <a:moveTo>
                        <a:pt x="10" y="33"/>
                      </a:moveTo>
                      <a:lnTo>
                        <a:pt x="13" y="32"/>
                      </a:lnTo>
                      <a:lnTo>
                        <a:pt x="18" y="30"/>
                      </a:lnTo>
                      <a:lnTo>
                        <a:pt x="18" y="32"/>
                      </a:lnTo>
                      <a:lnTo>
                        <a:pt x="18" y="33"/>
                      </a:lnTo>
                      <a:lnTo>
                        <a:pt x="20" y="35"/>
                      </a:lnTo>
                      <a:lnTo>
                        <a:pt x="23" y="35"/>
                      </a:lnTo>
                      <a:lnTo>
                        <a:pt x="27" y="35"/>
                      </a:lnTo>
                      <a:lnTo>
                        <a:pt x="30" y="35"/>
                      </a:lnTo>
                      <a:lnTo>
                        <a:pt x="33" y="33"/>
                      </a:lnTo>
                      <a:lnTo>
                        <a:pt x="38" y="33"/>
                      </a:lnTo>
                      <a:lnTo>
                        <a:pt x="44" y="35"/>
                      </a:lnTo>
                      <a:lnTo>
                        <a:pt x="45" y="37"/>
                      </a:lnTo>
                      <a:lnTo>
                        <a:pt x="47" y="40"/>
                      </a:lnTo>
                      <a:lnTo>
                        <a:pt x="47" y="42"/>
                      </a:lnTo>
                      <a:lnTo>
                        <a:pt x="45" y="45"/>
                      </a:lnTo>
                      <a:lnTo>
                        <a:pt x="42" y="49"/>
                      </a:lnTo>
                      <a:lnTo>
                        <a:pt x="38" y="50"/>
                      </a:lnTo>
                      <a:lnTo>
                        <a:pt x="38" y="54"/>
                      </a:lnTo>
                      <a:lnTo>
                        <a:pt x="38" y="57"/>
                      </a:lnTo>
                      <a:lnTo>
                        <a:pt x="38" y="60"/>
                      </a:lnTo>
                      <a:lnTo>
                        <a:pt x="37" y="64"/>
                      </a:lnTo>
                      <a:lnTo>
                        <a:pt x="37" y="66"/>
                      </a:lnTo>
                      <a:lnTo>
                        <a:pt x="38" y="69"/>
                      </a:lnTo>
                      <a:lnTo>
                        <a:pt x="38" y="71"/>
                      </a:lnTo>
                      <a:lnTo>
                        <a:pt x="35" y="74"/>
                      </a:lnTo>
                      <a:lnTo>
                        <a:pt x="32" y="76"/>
                      </a:lnTo>
                      <a:lnTo>
                        <a:pt x="30" y="77"/>
                      </a:lnTo>
                      <a:lnTo>
                        <a:pt x="30" y="81"/>
                      </a:lnTo>
                      <a:lnTo>
                        <a:pt x="32" y="84"/>
                      </a:lnTo>
                      <a:lnTo>
                        <a:pt x="33" y="86"/>
                      </a:lnTo>
                      <a:lnTo>
                        <a:pt x="35" y="87"/>
                      </a:lnTo>
                      <a:lnTo>
                        <a:pt x="33" y="89"/>
                      </a:lnTo>
                      <a:lnTo>
                        <a:pt x="32" y="92"/>
                      </a:lnTo>
                      <a:lnTo>
                        <a:pt x="32" y="96"/>
                      </a:lnTo>
                      <a:lnTo>
                        <a:pt x="32" y="99"/>
                      </a:lnTo>
                      <a:lnTo>
                        <a:pt x="35" y="103"/>
                      </a:lnTo>
                      <a:lnTo>
                        <a:pt x="35" y="104"/>
                      </a:lnTo>
                      <a:lnTo>
                        <a:pt x="33" y="108"/>
                      </a:lnTo>
                      <a:lnTo>
                        <a:pt x="30" y="109"/>
                      </a:lnTo>
                      <a:lnTo>
                        <a:pt x="28" y="113"/>
                      </a:lnTo>
                      <a:lnTo>
                        <a:pt x="28" y="116"/>
                      </a:lnTo>
                      <a:lnTo>
                        <a:pt x="28" y="118"/>
                      </a:lnTo>
                      <a:lnTo>
                        <a:pt x="28" y="119"/>
                      </a:lnTo>
                      <a:lnTo>
                        <a:pt x="33" y="119"/>
                      </a:lnTo>
                      <a:lnTo>
                        <a:pt x="35" y="119"/>
                      </a:lnTo>
                      <a:lnTo>
                        <a:pt x="37" y="119"/>
                      </a:lnTo>
                      <a:lnTo>
                        <a:pt x="38" y="121"/>
                      </a:lnTo>
                      <a:lnTo>
                        <a:pt x="42" y="123"/>
                      </a:lnTo>
                      <a:lnTo>
                        <a:pt x="44" y="125"/>
                      </a:lnTo>
                      <a:lnTo>
                        <a:pt x="45" y="126"/>
                      </a:lnTo>
                      <a:lnTo>
                        <a:pt x="45" y="130"/>
                      </a:lnTo>
                      <a:lnTo>
                        <a:pt x="47" y="131"/>
                      </a:lnTo>
                      <a:lnTo>
                        <a:pt x="47" y="133"/>
                      </a:lnTo>
                      <a:lnTo>
                        <a:pt x="49" y="135"/>
                      </a:lnTo>
                      <a:lnTo>
                        <a:pt x="50" y="138"/>
                      </a:lnTo>
                      <a:lnTo>
                        <a:pt x="54" y="140"/>
                      </a:lnTo>
                      <a:lnTo>
                        <a:pt x="57" y="140"/>
                      </a:lnTo>
                      <a:lnTo>
                        <a:pt x="59" y="140"/>
                      </a:lnTo>
                      <a:lnTo>
                        <a:pt x="60" y="140"/>
                      </a:lnTo>
                      <a:lnTo>
                        <a:pt x="62" y="140"/>
                      </a:lnTo>
                      <a:lnTo>
                        <a:pt x="62" y="138"/>
                      </a:lnTo>
                      <a:lnTo>
                        <a:pt x="64" y="136"/>
                      </a:lnTo>
                      <a:lnTo>
                        <a:pt x="65" y="135"/>
                      </a:lnTo>
                      <a:lnTo>
                        <a:pt x="69" y="133"/>
                      </a:lnTo>
                      <a:lnTo>
                        <a:pt x="72" y="133"/>
                      </a:lnTo>
                      <a:lnTo>
                        <a:pt x="76" y="130"/>
                      </a:lnTo>
                      <a:lnTo>
                        <a:pt x="79" y="130"/>
                      </a:lnTo>
                      <a:lnTo>
                        <a:pt x="81" y="128"/>
                      </a:lnTo>
                      <a:lnTo>
                        <a:pt x="86" y="128"/>
                      </a:lnTo>
                      <a:lnTo>
                        <a:pt x="91" y="128"/>
                      </a:lnTo>
                      <a:lnTo>
                        <a:pt x="94" y="128"/>
                      </a:lnTo>
                      <a:lnTo>
                        <a:pt x="99" y="130"/>
                      </a:lnTo>
                      <a:lnTo>
                        <a:pt x="103" y="130"/>
                      </a:lnTo>
                      <a:lnTo>
                        <a:pt x="108" y="128"/>
                      </a:lnTo>
                      <a:lnTo>
                        <a:pt x="111" y="128"/>
                      </a:lnTo>
                      <a:lnTo>
                        <a:pt x="113" y="128"/>
                      </a:lnTo>
                      <a:lnTo>
                        <a:pt x="114" y="126"/>
                      </a:lnTo>
                      <a:lnTo>
                        <a:pt x="116" y="125"/>
                      </a:lnTo>
                      <a:lnTo>
                        <a:pt x="116" y="121"/>
                      </a:lnTo>
                      <a:lnTo>
                        <a:pt x="118" y="119"/>
                      </a:lnTo>
                      <a:lnTo>
                        <a:pt x="121" y="116"/>
                      </a:lnTo>
                      <a:lnTo>
                        <a:pt x="123" y="114"/>
                      </a:lnTo>
                      <a:lnTo>
                        <a:pt x="126" y="114"/>
                      </a:lnTo>
                      <a:lnTo>
                        <a:pt x="129" y="113"/>
                      </a:lnTo>
                      <a:lnTo>
                        <a:pt x="133" y="113"/>
                      </a:lnTo>
                      <a:lnTo>
                        <a:pt x="131" y="111"/>
                      </a:lnTo>
                      <a:lnTo>
                        <a:pt x="133" y="109"/>
                      </a:lnTo>
                      <a:lnTo>
                        <a:pt x="133" y="108"/>
                      </a:lnTo>
                      <a:lnTo>
                        <a:pt x="135" y="104"/>
                      </a:lnTo>
                      <a:lnTo>
                        <a:pt x="136" y="103"/>
                      </a:lnTo>
                      <a:lnTo>
                        <a:pt x="138" y="101"/>
                      </a:lnTo>
                      <a:lnTo>
                        <a:pt x="140" y="99"/>
                      </a:lnTo>
                      <a:lnTo>
                        <a:pt x="141" y="98"/>
                      </a:lnTo>
                      <a:lnTo>
                        <a:pt x="145" y="94"/>
                      </a:lnTo>
                      <a:lnTo>
                        <a:pt x="146" y="92"/>
                      </a:lnTo>
                      <a:lnTo>
                        <a:pt x="146" y="91"/>
                      </a:lnTo>
                      <a:lnTo>
                        <a:pt x="143" y="89"/>
                      </a:lnTo>
                      <a:lnTo>
                        <a:pt x="141" y="89"/>
                      </a:lnTo>
                      <a:lnTo>
                        <a:pt x="141" y="87"/>
                      </a:lnTo>
                      <a:lnTo>
                        <a:pt x="140" y="86"/>
                      </a:lnTo>
                      <a:lnTo>
                        <a:pt x="140" y="84"/>
                      </a:lnTo>
                      <a:lnTo>
                        <a:pt x="138" y="82"/>
                      </a:lnTo>
                      <a:lnTo>
                        <a:pt x="138" y="81"/>
                      </a:lnTo>
                      <a:lnTo>
                        <a:pt x="140" y="79"/>
                      </a:lnTo>
                      <a:lnTo>
                        <a:pt x="140" y="76"/>
                      </a:lnTo>
                      <a:lnTo>
                        <a:pt x="143" y="72"/>
                      </a:lnTo>
                      <a:lnTo>
                        <a:pt x="146" y="71"/>
                      </a:lnTo>
                      <a:lnTo>
                        <a:pt x="148" y="66"/>
                      </a:lnTo>
                      <a:lnTo>
                        <a:pt x="150" y="62"/>
                      </a:lnTo>
                      <a:lnTo>
                        <a:pt x="153" y="59"/>
                      </a:lnTo>
                      <a:lnTo>
                        <a:pt x="156" y="57"/>
                      </a:lnTo>
                      <a:lnTo>
                        <a:pt x="156" y="55"/>
                      </a:lnTo>
                      <a:lnTo>
                        <a:pt x="160" y="50"/>
                      </a:lnTo>
                      <a:lnTo>
                        <a:pt x="165" y="49"/>
                      </a:lnTo>
                      <a:lnTo>
                        <a:pt x="172" y="47"/>
                      </a:lnTo>
                      <a:lnTo>
                        <a:pt x="177" y="45"/>
                      </a:lnTo>
                      <a:lnTo>
                        <a:pt x="180" y="42"/>
                      </a:lnTo>
                      <a:lnTo>
                        <a:pt x="187" y="40"/>
                      </a:lnTo>
                      <a:lnTo>
                        <a:pt x="192" y="37"/>
                      </a:lnTo>
                      <a:lnTo>
                        <a:pt x="194" y="33"/>
                      </a:lnTo>
                      <a:lnTo>
                        <a:pt x="194" y="32"/>
                      </a:lnTo>
                      <a:lnTo>
                        <a:pt x="192" y="28"/>
                      </a:lnTo>
                      <a:lnTo>
                        <a:pt x="195" y="27"/>
                      </a:lnTo>
                      <a:lnTo>
                        <a:pt x="194" y="27"/>
                      </a:lnTo>
                      <a:lnTo>
                        <a:pt x="194" y="25"/>
                      </a:lnTo>
                      <a:lnTo>
                        <a:pt x="192" y="25"/>
                      </a:lnTo>
                      <a:lnTo>
                        <a:pt x="190" y="25"/>
                      </a:lnTo>
                      <a:lnTo>
                        <a:pt x="187" y="25"/>
                      </a:lnTo>
                      <a:lnTo>
                        <a:pt x="183" y="25"/>
                      </a:lnTo>
                      <a:lnTo>
                        <a:pt x="178" y="25"/>
                      </a:lnTo>
                      <a:lnTo>
                        <a:pt x="175" y="25"/>
                      </a:lnTo>
                      <a:lnTo>
                        <a:pt x="172" y="25"/>
                      </a:lnTo>
                      <a:lnTo>
                        <a:pt x="170" y="23"/>
                      </a:lnTo>
                      <a:lnTo>
                        <a:pt x="168" y="25"/>
                      </a:lnTo>
                      <a:lnTo>
                        <a:pt x="167" y="25"/>
                      </a:lnTo>
                      <a:lnTo>
                        <a:pt x="167" y="23"/>
                      </a:lnTo>
                      <a:lnTo>
                        <a:pt x="163" y="22"/>
                      </a:lnTo>
                      <a:lnTo>
                        <a:pt x="162" y="20"/>
                      </a:lnTo>
                      <a:lnTo>
                        <a:pt x="160" y="18"/>
                      </a:lnTo>
                      <a:lnTo>
                        <a:pt x="158" y="18"/>
                      </a:lnTo>
                      <a:lnTo>
                        <a:pt x="155" y="18"/>
                      </a:lnTo>
                      <a:lnTo>
                        <a:pt x="151" y="20"/>
                      </a:lnTo>
                      <a:lnTo>
                        <a:pt x="150" y="20"/>
                      </a:lnTo>
                      <a:lnTo>
                        <a:pt x="146" y="20"/>
                      </a:lnTo>
                      <a:lnTo>
                        <a:pt x="141" y="18"/>
                      </a:lnTo>
                      <a:lnTo>
                        <a:pt x="136" y="18"/>
                      </a:lnTo>
                      <a:lnTo>
                        <a:pt x="133" y="17"/>
                      </a:lnTo>
                      <a:lnTo>
                        <a:pt x="131" y="15"/>
                      </a:lnTo>
                      <a:lnTo>
                        <a:pt x="128" y="13"/>
                      </a:lnTo>
                      <a:lnTo>
                        <a:pt x="124" y="13"/>
                      </a:lnTo>
                      <a:lnTo>
                        <a:pt x="123" y="12"/>
                      </a:lnTo>
                      <a:lnTo>
                        <a:pt x="119" y="10"/>
                      </a:lnTo>
                      <a:lnTo>
                        <a:pt x="118" y="8"/>
                      </a:lnTo>
                      <a:lnTo>
                        <a:pt x="116" y="8"/>
                      </a:lnTo>
                      <a:lnTo>
                        <a:pt x="116" y="6"/>
                      </a:lnTo>
                      <a:lnTo>
                        <a:pt x="113" y="6"/>
                      </a:lnTo>
                      <a:lnTo>
                        <a:pt x="108" y="6"/>
                      </a:lnTo>
                      <a:lnTo>
                        <a:pt x="104" y="6"/>
                      </a:lnTo>
                      <a:lnTo>
                        <a:pt x="97" y="6"/>
                      </a:lnTo>
                      <a:lnTo>
                        <a:pt x="96" y="6"/>
                      </a:lnTo>
                      <a:lnTo>
                        <a:pt x="89" y="5"/>
                      </a:lnTo>
                      <a:lnTo>
                        <a:pt x="86" y="5"/>
                      </a:lnTo>
                      <a:lnTo>
                        <a:pt x="82" y="5"/>
                      </a:lnTo>
                      <a:lnTo>
                        <a:pt x="77" y="6"/>
                      </a:lnTo>
                      <a:lnTo>
                        <a:pt x="72" y="5"/>
                      </a:lnTo>
                      <a:lnTo>
                        <a:pt x="65" y="5"/>
                      </a:lnTo>
                      <a:lnTo>
                        <a:pt x="62" y="3"/>
                      </a:lnTo>
                      <a:lnTo>
                        <a:pt x="59" y="3"/>
                      </a:lnTo>
                      <a:lnTo>
                        <a:pt x="54" y="1"/>
                      </a:lnTo>
                      <a:lnTo>
                        <a:pt x="50" y="1"/>
                      </a:lnTo>
                      <a:lnTo>
                        <a:pt x="47" y="3"/>
                      </a:lnTo>
                      <a:lnTo>
                        <a:pt x="42" y="3"/>
                      </a:lnTo>
                      <a:lnTo>
                        <a:pt x="35" y="3"/>
                      </a:lnTo>
                      <a:lnTo>
                        <a:pt x="30" y="1"/>
                      </a:lnTo>
                      <a:lnTo>
                        <a:pt x="27" y="0"/>
                      </a:lnTo>
                      <a:lnTo>
                        <a:pt x="23" y="0"/>
                      </a:lnTo>
                      <a:lnTo>
                        <a:pt x="20" y="0"/>
                      </a:lnTo>
                      <a:lnTo>
                        <a:pt x="17" y="1"/>
                      </a:lnTo>
                      <a:lnTo>
                        <a:pt x="15" y="3"/>
                      </a:lnTo>
                      <a:lnTo>
                        <a:pt x="15" y="5"/>
                      </a:lnTo>
                      <a:lnTo>
                        <a:pt x="13" y="8"/>
                      </a:lnTo>
                      <a:lnTo>
                        <a:pt x="8" y="8"/>
                      </a:lnTo>
                      <a:lnTo>
                        <a:pt x="5" y="8"/>
                      </a:lnTo>
                      <a:lnTo>
                        <a:pt x="1" y="10"/>
                      </a:lnTo>
                      <a:lnTo>
                        <a:pt x="0" y="13"/>
                      </a:lnTo>
                      <a:lnTo>
                        <a:pt x="1" y="17"/>
                      </a:lnTo>
                      <a:lnTo>
                        <a:pt x="5" y="17"/>
                      </a:lnTo>
                      <a:lnTo>
                        <a:pt x="3" y="20"/>
                      </a:lnTo>
                      <a:lnTo>
                        <a:pt x="5" y="20"/>
                      </a:lnTo>
                      <a:lnTo>
                        <a:pt x="6" y="20"/>
                      </a:lnTo>
                      <a:lnTo>
                        <a:pt x="5" y="23"/>
                      </a:lnTo>
                      <a:lnTo>
                        <a:pt x="8" y="25"/>
                      </a:lnTo>
                      <a:lnTo>
                        <a:pt x="6" y="27"/>
                      </a:lnTo>
                      <a:lnTo>
                        <a:pt x="10" y="27"/>
                      </a:lnTo>
                      <a:lnTo>
                        <a:pt x="6" y="28"/>
                      </a:lnTo>
                      <a:lnTo>
                        <a:pt x="6" y="32"/>
                      </a:lnTo>
                      <a:lnTo>
                        <a:pt x="6" y="35"/>
                      </a:lnTo>
                      <a:lnTo>
                        <a:pt x="10" y="3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69" name="Freeform 143">
                  <a:extLst>
                    <a:ext uri="{FF2B5EF4-FFF2-40B4-BE49-F238E27FC236}">
                      <a16:creationId xmlns:a16="http://schemas.microsoft.com/office/drawing/2014/main" id="{FF597C3E-0F54-1C4A-963B-11C1F531F7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" y="627"/>
                  <a:ext cx="195" cy="140"/>
                </a:xfrm>
                <a:custGeom>
                  <a:avLst/>
                  <a:gdLst>
                    <a:gd name="T0" fmla="*/ 18 w 195"/>
                    <a:gd name="T1" fmla="*/ 32 h 140"/>
                    <a:gd name="T2" fmla="*/ 27 w 195"/>
                    <a:gd name="T3" fmla="*/ 35 h 140"/>
                    <a:gd name="T4" fmla="*/ 44 w 195"/>
                    <a:gd name="T5" fmla="*/ 35 h 140"/>
                    <a:gd name="T6" fmla="*/ 45 w 195"/>
                    <a:gd name="T7" fmla="*/ 45 h 140"/>
                    <a:gd name="T8" fmla="*/ 38 w 195"/>
                    <a:gd name="T9" fmla="*/ 57 h 140"/>
                    <a:gd name="T10" fmla="*/ 38 w 195"/>
                    <a:gd name="T11" fmla="*/ 69 h 140"/>
                    <a:gd name="T12" fmla="*/ 30 w 195"/>
                    <a:gd name="T13" fmla="*/ 77 h 140"/>
                    <a:gd name="T14" fmla="*/ 35 w 195"/>
                    <a:gd name="T15" fmla="*/ 87 h 140"/>
                    <a:gd name="T16" fmla="*/ 32 w 195"/>
                    <a:gd name="T17" fmla="*/ 99 h 140"/>
                    <a:gd name="T18" fmla="*/ 30 w 195"/>
                    <a:gd name="T19" fmla="*/ 109 h 140"/>
                    <a:gd name="T20" fmla="*/ 28 w 195"/>
                    <a:gd name="T21" fmla="*/ 119 h 140"/>
                    <a:gd name="T22" fmla="*/ 38 w 195"/>
                    <a:gd name="T23" fmla="*/ 121 h 140"/>
                    <a:gd name="T24" fmla="*/ 45 w 195"/>
                    <a:gd name="T25" fmla="*/ 130 h 140"/>
                    <a:gd name="T26" fmla="*/ 50 w 195"/>
                    <a:gd name="T27" fmla="*/ 138 h 140"/>
                    <a:gd name="T28" fmla="*/ 60 w 195"/>
                    <a:gd name="T29" fmla="*/ 140 h 140"/>
                    <a:gd name="T30" fmla="*/ 65 w 195"/>
                    <a:gd name="T31" fmla="*/ 135 h 140"/>
                    <a:gd name="T32" fmla="*/ 79 w 195"/>
                    <a:gd name="T33" fmla="*/ 130 h 140"/>
                    <a:gd name="T34" fmla="*/ 94 w 195"/>
                    <a:gd name="T35" fmla="*/ 128 h 140"/>
                    <a:gd name="T36" fmla="*/ 111 w 195"/>
                    <a:gd name="T37" fmla="*/ 128 h 140"/>
                    <a:gd name="T38" fmla="*/ 116 w 195"/>
                    <a:gd name="T39" fmla="*/ 121 h 140"/>
                    <a:gd name="T40" fmla="*/ 126 w 195"/>
                    <a:gd name="T41" fmla="*/ 114 h 140"/>
                    <a:gd name="T42" fmla="*/ 133 w 195"/>
                    <a:gd name="T43" fmla="*/ 109 h 140"/>
                    <a:gd name="T44" fmla="*/ 138 w 195"/>
                    <a:gd name="T45" fmla="*/ 101 h 140"/>
                    <a:gd name="T46" fmla="*/ 146 w 195"/>
                    <a:gd name="T47" fmla="*/ 92 h 140"/>
                    <a:gd name="T48" fmla="*/ 141 w 195"/>
                    <a:gd name="T49" fmla="*/ 87 h 140"/>
                    <a:gd name="T50" fmla="*/ 138 w 195"/>
                    <a:gd name="T51" fmla="*/ 81 h 140"/>
                    <a:gd name="T52" fmla="*/ 146 w 195"/>
                    <a:gd name="T53" fmla="*/ 71 h 140"/>
                    <a:gd name="T54" fmla="*/ 156 w 195"/>
                    <a:gd name="T55" fmla="*/ 57 h 140"/>
                    <a:gd name="T56" fmla="*/ 172 w 195"/>
                    <a:gd name="T57" fmla="*/ 47 h 140"/>
                    <a:gd name="T58" fmla="*/ 192 w 195"/>
                    <a:gd name="T59" fmla="*/ 37 h 140"/>
                    <a:gd name="T60" fmla="*/ 195 w 195"/>
                    <a:gd name="T61" fmla="*/ 27 h 140"/>
                    <a:gd name="T62" fmla="*/ 190 w 195"/>
                    <a:gd name="T63" fmla="*/ 25 h 140"/>
                    <a:gd name="T64" fmla="*/ 175 w 195"/>
                    <a:gd name="T65" fmla="*/ 25 h 140"/>
                    <a:gd name="T66" fmla="*/ 167 w 195"/>
                    <a:gd name="T67" fmla="*/ 25 h 140"/>
                    <a:gd name="T68" fmla="*/ 160 w 195"/>
                    <a:gd name="T69" fmla="*/ 18 h 140"/>
                    <a:gd name="T70" fmla="*/ 150 w 195"/>
                    <a:gd name="T71" fmla="*/ 20 h 140"/>
                    <a:gd name="T72" fmla="*/ 133 w 195"/>
                    <a:gd name="T73" fmla="*/ 17 h 140"/>
                    <a:gd name="T74" fmla="*/ 123 w 195"/>
                    <a:gd name="T75" fmla="*/ 12 h 140"/>
                    <a:gd name="T76" fmla="*/ 116 w 195"/>
                    <a:gd name="T77" fmla="*/ 6 h 140"/>
                    <a:gd name="T78" fmla="*/ 97 w 195"/>
                    <a:gd name="T79" fmla="*/ 6 h 140"/>
                    <a:gd name="T80" fmla="*/ 82 w 195"/>
                    <a:gd name="T81" fmla="*/ 5 h 140"/>
                    <a:gd name="T82" fmla="*/ 62 w 195"/>
                    <a:gd name="T83" fmla="*/ 3 h 140"/>
                    <a:gd name="T84" fmla="*/ 47 w 195"/>
                    <a:gd name="T85" fmla="*/ 3 h 140"/>
                    <a:gd name="T86" fmla="*/ 27 w 195"/>
                    <a:gd name="T87" fmla="*/ 0 h 140"/>
                    <a:gd name="T88" fmla="*/ 15 w 195"/>
                    <a:gd name="T89" fmla="*/ 3 h 140"/>
                    <a:gd name="T90" fmla="*/ 5 w 195"/>
                    <a:gd name="T91" fmla="*/ 8 h 140"/>
                    <a:gd name="T92" fmla="*/ 5 w 195"/>
                    <a:gd name="T93" fmla="*/ 17 h 140"/>
                    <a:gd name="T94" fmla="*/ 5 w 195"/>
                    <a:gd name="T95" fmla="*/ 23 h 140"/>
                    <a:gd name="T96" fmla="*/ 6 w 195"/>
                    <a:gd name="T97" fmla="*/ 28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95" h="140">
                      <a:moveTo>
                        <a:pt x="10" y="33"/>
                      </a:moveTo>
                      <a:lnTo>
                        <a:pt x="13" y="32"/>
                      </a:lnTo>
                      <a:lnTo>
                        <a:pt x="18" y="30"/>
                      </a:lnTo>
                      <a:lnTo>
                        <a:pt x="18" y="32"/>
                      </a:lnTo>
                      <a:lnTo>
                        <a:pt x="18" y="33"/>
                      </a:lnTo>
                      <a:lnTo>
                        <a:pt x="20" y="35"/>
                      </a:lnTo>
                      <a:lnTo>
                        <a:pt x="23" y="35"/>
                      </a:lnTo>
                      <a:lnTo>
                        <a:pt x="27" y="35"/>
                      </a:lnTo>
                      <a:lnTo>
                        <a:pt x="30" y="35"/>
                      </a:lnTo>
                      <a:lnTo>
                        <a:pt x="33" y="33"/>
                      </a:lnTo>
                      <a:lnTo>
                        <a:pt x="38" y="33"/>
                      </a:lnTo>
                      <a:lnTo>
                        <a:pt x="44" y="35"/>
                      </a:lnTo>
                      <a:lnTo>
                        <a:pt x="45" y="37"/>
                      </a:lnTo>
                      <a:lnTo>
                        <a:pt x="47" y="40"/>
                      </a:lnTo>
                      <a:lnTo>
                        <a:pt x="47" y="42"/>
                      </a:lnTo>
                      <a:lnTo>
                        <a:pt x="45" y="45"/>
                      </a:lnTo>
                      <a:lnTo>
                        <a:pt x="42" y="49"/>
                      </a:lnTo>
                      <a:lnTo>
                        <a:pt x="38" y="50"/>
                      </a:lnTo>
                      <a:lnTo>
                        <a:pt x="38" y="54"/>
                      </a:lnTo>
                      <a:lnTo>
                        <a:pt x="38" y="57"/>
                      </a:lnTo>
                      <a:lnTo>
                        <a:pt x="38" y="60"/>
                      </a:lnTo>
                      <a:lnTo>
                        <a:pt x="37" y="64"/>
                      </a:lnTo>
                      <a:lnTo>
                        <a:pt x="37" y="66"/>
                      </a:lnTo>
                      <a:lnTo>
                        <a:pt x="38" y="69"/>
                      </a:lnTo>
                      <a:lnTo>
                        <a:pt x="38" y="71"/>
                      </a:lnTo>
                      <a:lnTo>
                        <a:pt x="35" y="74"/>
                      </a:lnTo>
                      <a:lnTo>
                        <a:pt x="32" y="76"/>
                      </a:lnTo>
                      <a:lnTo>
                        <a:pt x="30" y="77"/>
                      </a:lnTo>
                      <a:lnTo>
                        <a:pt x="30" y="81"/>
                      </a:lnTo>
                      <a:lnTo>
                        <a:pt x="32" y="84"/>
                      </a:lnTo>
                      <a:lnTo>
                        <a:pt x="33" y="86"/>
                      </a:lnTo>
                      <a:lnTo>
                        <a:pt x="35" y="87"/>
                      </a:lnTo>
                      <a:lnTo>
                        <a:pt x="33" y="89"/>
                      </a:lnTo>
                      <a:lnTo>
                        <a:pt x="32" y="92"/>
                      </a:lnTo>
                      <a:lnTo>
                        <a:pt x="32" y="96"/>
                      </a:lnTo>
                      <a:lnTo>
                        <a:pt x="32" y="99"/>
                      </a:lnTo>
                      <a:lnTo>
                        <a:pt x="35" y="103"/>
                      </a:lnTo>
                      <a:lnTo>
                        <a:pt x="35" y="104"/>
                      </a:lnTo>
                      <a:lnTo>
                        <a:pt x="33" y="108"/>
                      </a:lnTo>
                      <a:lnTo>
                        <a:pt x="30" y="109"/>
                      </a:lnTo>
                      <a:lnTo>
                        <a:pt x="28" y="113"/>
                      </a:lnTo>
                      <a:lnTo>
                        <a:pt x="28" y="116"/>
                      </a:lnTo>
                      <a:lnTo>
                        <a:pt x="28" y="118"/>
                      </a:lnTo>
                      <a:lnTo>
                        <a:pt x="28" y="119"/>
                      </a:lnTo>
                      <a:lnTo>
                        <a:pt x="33" y="119"/>
                      </a:lnTo>
                      <a:lnTo>
                        <a:pt x="35" y="119"/>
                      </a:lnTo>
                      <a:lnTo>
                        <a:pt x="37" y="119"/>
                      </a:lnTo>
                      <a:lnTo>
                        <a:pt x="38" y="121"/>
                      </a:lnTo>
                      <a:lnTo>
                        <a:pt x="42" y="123"/>
                      </a:lnTo>
                      <a:lnTo>
                        <a:pt x="44" y="125"/>
                      </a:lnTo>
                      <a:lnTo>
                        <a:pt x="45" y="126"/>
                      </a:lnTo>
                      <a:lnTo>
                        <a:pt x="45" y="130"/>
                      </a:lnTo>
                      <a:lnTo>
                        <a:pt x="47" y="131"/>
                      </a:lnTo>
                      <a:lnTo>
                        <a:pt x="47" y="133"/>
                      </a:lnTo>
                      <a:lnTo>
                        <a:pt x="49" y="135"/>
                      </a:lnTo>
                      <a:lnTo>
                        <a:pt x="50" y="138"/>
                      </a:lnTo>
                      <a:lnTo>
                        <a:pt x="54" y="140"/>
                      </a:lnTo>
                      <a:lnTo>
                        <a:pt x="57" y="140"/>
                      </a:lnTo>
                      <a:lnTo>
                        <a:pt x="59" y="140"/>
                      </a:lnTo>
                      <a:lnTo>
                        <a:pt x="60" y="140"/>
                      </a:lnTo>
                      <a:lnTo>
                        <a:pt x="62" y="140"/>
                      </a:lnTo>
                      <a:lnTo>
                        <a:pt x="62" y="138"/>
                      </a:lnTo>
                      <a:lnTo>
                        <a:pt x="64" y="136"/>
                      </a:lnTo>
                      <a:lnTo>
                        <a:pt x="65" y="135"/>
                      </a:lnTo>
                      <a:lnTo>
                        <a:pt x="69" y="133"/>
                      </a:lnTo>
                      <a:lnTo>
                        <a:pt x="72" y="133"/>
                      </a:lnTo>
                      <a:lnTo>
                        <a:pt x="76" y="130"/>
                      </a:lnTo>
                      <a:lnTo>
                        <a:pt x="79" y="130"/>
                      </a:lnTo>
                      <a:lnTo>
                        <a:pt x="81" y="128"/>
                      </a:lnTo>
                      <a:lnTo>
                        <a:pt x="86" y="128"/>
                      </a:lnTo>
                      <a:lnTo>
                        <a:pt x="91" y="128"/>
                      </a:lnTo>
                      <a:lnTo>
                        <a:pt x="94" y="128"/>
                      </a:lnTo>
                      <a:lnTo>
                        <a:pt x="99" y="130"/>
                      </a:lnTo>
                      <a:lnTo>
                        <a:pt x="103" y="130"/>
                      </a:lnTo>
                      <a:lnTo>
                        <a:pt x="108" y="128"/>
                      </a:lnTo>
                      <a:lnTo>
                        <a:pt x="111" y="128"/>
                      </a:lnTo>
                      <a:lnTo>
                        <a:pt x="113" y="128"/>
                      </a:lnTo>
                      <a:lnTo>
                        <a:pt x="114" y="126"/>
                      </a:lnTo>
                      <a:lnTo>
                        <a:pt x="116" y="125"/>
                      </a:lnTo>
                      <a:lnTo>
                        <a:pt x="116" y="121"/>
                      </a:lnTo>
                      <a:lnTo>
                        <a:pt x="118" y="119"/>
                      </a:lnTo>
                      <a:lnTo>
                        <a:pt x="121" y="116"/>
                      </a:lnTo>
                      <a:lnTo>
                        <a:pt x="123" y="114"/>
                      </a:lnTo>
                      <a:lnTo>
                        <a:pt x="126" y="114"/>
                      </a:lnTo>
                      <a:lnTo>
                        <a:pt x="129" y="113"/>
                      </a:lnTo>
                      <a:lnTo>
                        <a:pt x="133" y="113"/>
                      </a:lnTo>
                      <a:lnTo>
                        <a:pt x="131" y="111"/>
                      </a:lnTo>
                      <a:lnTo>
                        <a:pt x="133" y="109"/>
                      </a:lnTo>
                      <a:lnTo>
                        <a:pt x="133" y="108"/>
                      </a:lnTo>
                      <a:lnTo>
                        <a:pt x="135" y="104"/>
                      </a:lnTo>
                      <a:lnTo>
                        <a:pt x="136" y="103"/>
                      </a:lnTo>
                      <a:lnTo>
                        <a:pt x="138" y="101"/>
                      </a:lnTo>
                      <a:lnTo>
                        <a:pt x="140" y="99"/>
                      </a:lnTo>
                      <a:lnTo>
                        <a:pt x="141" y="98"/>
                      </a:lnTo>
                      <a:lnTo>
                        <a:pt x="145" y="94"/>
                      </a:lnTo>
                      <a:lnTo>
                        <a:pt x="146" y="92"/>
                      </a:lnTo>
                      <a:lnTo>
                        <a:pt x="146" y="91"/>
                      </a:lnTo>
                      <a:lnTo>
                        <a:pt x="143" y="89"/>
                      </a:lnTo>
                      <a:lnTo>
                        <a:pt x="141" y="89"/>
                      </a:lnTo>
                      <a:lnTo>
                        <a:pt x="141" y="87"/>
                      </a:lnTo>
                      <a:lnTo>
                        <a:pt x="140" y="86"/>
                      </a:lnTo>
                      <a:lnTo>
                        <a:pt x="140" y="84"/>
                      </a:lnTo>
                      <a:lnTo>
                        <a:pt x="138" y="82"/>
                      </a:lnTo>
                      <a:lnTo>
                        <a:pt x="138" y="81"/>
                      </a:lnTo>
                      <a:lnTo>
                        <a:pt x="140" y="79"/>
                      </a:lnTo>
                      <a:lnTo>
                        <a:pt x="140" y="76"/>
                      </a:lnTo>
                      <a:lnTo>
                        <a:pt x="143" y="72"/>
                      </a:lnTo>
                      <a:lnTo>
                        <a:pt x="146" y="71"/>
                      </a:lnTo>
                      <a:lnTo>
                        <a:pt x="148" y="66"/>
                      </a:lnTo>
                      <a:lnTo>
                        <a:pt x="150" y="62"/>
                      </a:lnTo>
                      <a:lnTo>
                        <a:pt x="153" y="59"/>
                      </a:lnTo>
                      <a:lnTo>
                        <a:pt x="156" y="57"/>
                      </a:lnTo>
                      <a:lnTo>
                        <a:pt x="156" y="55"/>
                      </a:lnTo>
                      <a:lnTo>
                        <a:pt x="160" y="50"/>
                      </a:lnTo>
                      <a:lnTo>
                        <a:pt x="165" y="49"/>
                      </a:lnTo>
                      <a:lnTo>
                        <a:pt x="172" y="47"/>
                      </a:lnTo>
                      <a:lnTo>
                        <a:pt x="177" y="45"/>
                      </a:lnTo>
                      <a:lnTo>
                        <a:pt x="180" y="42"/>
                      </a:lnTo>
                      <a:lnTo>
                        <a:pt x="187" y="40"/>
                      </a:lnTo>
                      <a:lnTo>
                        <a:pt x="192" y="37"/>
                      </a:lnTo>
                      <a:lnTo>
                        <a:pt x="194" y="33"/>
                      </a:lnTo>
                      <a:lnTo>
                        <a:pt x="194" y="32"/>
                      </a:lnTo>
                      <a:lnTo>
                        <a:pt x="192" y="28"/>
                      </a:lnTo>
                      <a:lnTo>
                        <a:pt x="195" y="27"/>
                      </a:lnTo>
                      <a:lnTo>
                        <a:pt x="194" y="27"/>
                      </a:lnTo>
                      <a:lnTo>
                        <a:pt x="194" y="25"/>
                      </a:lnTo>
                      <a:lnTo>
                        <a:pt x="192" y="25"/>
                      </a:lnTo>
                      <a:lnTo>
                        <a:pt x="190" y="25"/>
                      </a:lnTo>
                      <a:lnTo>
                        <a:pt x="187" y="25"/>
                      </a:lnTo>
                      <a:lnTo>
                        <a:pt x="183" y="25"/>
                      </a:lnTo>
                      <a:lnTo>
                        <a:pt x="178" y="25"/>
                      </a:lnTo>
                      <a:lnTo>
                        <a:pt x="175" y="25"/>
                      </a:lnTo>
                      <a:lnTo>
                        <a:pt x="172" y="25"/>
                      </a:lnTo>
                      <a:lnTo>
                        <a:pt x="170" y="23"/>
                      </a:lnTo>
                      <a:lnTo>
                        <a:pt x="168" y="25"/>
                      </a:lnTo>
                      <a:lnTo>
                        <a:pt x="167" y="25"/>
                      </a:lnTo>
                      <a:lnTo>
                        <a:pt x="167" y="23"/>
                      </a:lnTo>
                      <a:lnTo>
                        <a:pt x="163" y="22"/>
                      </a:lnTo>
                      <a:lnTo>
                        <a:pt x="162" y="20"/>
                      </a:lnTo>
                      <a:lnTo>
                        <a:pt x="160" y="18"/>
                      </a:lnTo>
                      <a:lnTo>
                        <a:pt x="158" y="18"/>
                      </a:lnTo>
                      <a:lnTo>
                        <a:pt x="155" y="18"/>
                      </a:lnTo>
                      <a:lnTo>
                        <a:pt x="151" y="20"/>
                      </a:lnTo>
                      <a:lnTo>
                        <a:pt x="150" y="20"/>
                      </a:lnTo>
                      <a:lnTo>
                        <a:pt x="146" y="20"/>
                      </a:lnTo>
                      <a:lnTo>
                        <a:pt x="141" y="18"/>
                      </a:lnTo>
                      <a:lnTo>
                        <a:pt x="136" y="18"/>
                      </a:lnTo>
                      <a:lnTo>
                        <a:pt x="133" y="17"/>
                      </a:lnTo>
                      <a:lnTo>
                        <a:pt x="131" y="15"/>
                      </a:lnTo>
                      <a:lnTo>
                        <a:pt x="128" y="13"/>
                      </a:lnTo>
                      <a:lnTo>
                        <a:pt x="124" y="13"/>
                      </a:lnTo>
                      <a:lnTo>
                        <a:pt x="123" y="12"/>
                      </a:lnTo>
                      <a:lnTo>
                        <a:pt x="119" y="10"/>
                      </a:lnTo>
                      <a:lnTo>
                        <a:pt x="118" y="8"/>
                      </a:lnTo>
                      <a:lnTo>
                        <a:pt x="116" y="8"/>
                      </a:lnTo>
                      <a:lnTo>
                        <a:pt x="116" y="6"/>
                      </a:lnTo>
                      <a:lnTo>
                        <a:pt x="113" y="6"/>
                      </a:lnTo>
                      <a:lnTo>
                        <a:pt x="108" y="6"/>
                      </a:lnTo>
                      <a:lnTo>
                        <a:pt x="104" y="6"/>
                      </a:lnTo>
                      <a:lnTo>
                        <a:pt x="97" y="6"/>
                      </a:lnTo>
                      <a:lnTo>
                        <a:pt x="96" y="6"/>
                      </a:lnTo>
                      <a:lnTo>
                        <a:pt x="89" y="5"/>
                      </a:lnTo>
                      <a:lnTo>
                        <a:pt x="86" y="5"/>
                      </a:lnTo>
                      <a:lnTo>
                        <a:pt x="82" y="5"/>
                      </a:lnTo>
                      <a:lnTo>
                        <a:pt x="77" y="6"/>
                      </a:lnTo>
                      <a:lnTo>
                        <a:pt x="72" y="5"/>
                      </a:lnTo>
                      <a:lnTo>
                        <a:pt x="65" y="5"/>
                      </a:lnTo>
                      <a:lnTo>
                        <a:pt x="62" y="3"/>
                      </a:lnTo>
                      <a:lnTo>
                        <a:pt x="59" y="3"/>
                      </a:lnTo>
                      <a:lnTo>
                        <a:pt x="54" y="1"/>
                      </a:lnTo>
                      <a:lnTo>
                        <a:pt x="50" y="1"/>
                      </a:lnTo>
                      <a:lnTo>
                        <a:pt x="47" y="3"/>
                      </a:lnTo>
                      <a:lnTo>
                        <a:pt x="42" y="3"/>
                      </a:lnTo>
                      <a:lnTo>
                        <a:pt x="35" y="3"/>
                      </a:lnTo>
                      <a:lnTo>
                        <a:pt x="30" y="1"/>
                      </a:lnTo>
                      <a:lnTo>
                        <a:pt x="27" y="0"/>
                      </a:lnTo>
                      <a:lnTo>
                        <a:pt x="23" y="0"/>
                      </a:lnTo>
                      <a:lnTo>
                        <a:pt x="20" y="0"/>
                      </a:lnTo>
                      <a:lnTo>
                        <a:pt x="17" y="1"/>
                      </a:lnTo>
                      <a:lnTo>
                        <a:pt x="15" y="3"/>
                      </a:lnTo>
                      <a:lnTo>
                        <a:pt x="15" y="5"/>
                      </a:lnTo>
                      <a:lnTo>
                        <a:pt x="13" y="8"/>
                      </a:lnTo>
                      <a:lnTo>
                        <a:pt x="8" y="8"/>
                      </a:lnTo>
                      <a:lnTo>
                        <a:pt x="5" y="8"/>
                      </a:lnTo>
                      <a:lnTo>
                        <a:pt x="1" y="10"/>
                      </a:lnTo>
                      <a:lnTo>
                        <a:pt x="0" y="13"/>
                      </a:lnTo>
                      <a:lnTo>
                        <a:pt x="1" y="17"/>
                      </a:lnTo>
                      <a:lnTo>
                        <a:pt x="5" y="17"/>
                      </a:lnTo>
                      <a:lnTo>
                        <a:pt x="3" y="20"/>
                      </a:lnTo>
                      <a:lnTo>
                        <a:pt x="5" y="20"/>
                      </a:lnTo>
                      <a:lnTo>
                        <a:pt x="6" y="20"/>
                      </a:lnTo>
                      <a:lnTo>
                        <a:pt x="5" y="23"/>
                      </a:lnTo>
                      <a:lnTo>
                        <a:pt x="8" y="25"/>
                      </a:lnTo>
                      <a:lnTo>
                        <a:pt x="6" y="27"/>
                      </a:lnTo>
                      <a:lnTo>
                        <a:pt x="10" y="27"/>
                      </a:lnTo>
                      <a:lnTo>
                        <a:pt x="6" y="28"/>
                      </a:lnTo>
                      <a:lnTo>
                        <a:pt x="6" y="32"/>
                      </a:lnTo>
                      <a:lnTo>
                        <a:pt x="6" y="35"/>
                      </a:lnTo>
                      <a:lnTo>
                        <a:pt x="10" y="3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59" name="Group 1758">
                <a:extLst>
                  <a:ext uri="{FF2B5EF4-FFF2-40B4-BE49-F238E27FC236}">
                    <a16:creationId xmlns:a16="http://schemas.microsoft.com/office/drawing/2014/main" id="{913E8BB1-4249-C746-9229-947B69F1649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82" y="713"/>
                <a:ext cx="5" cy="5"/>
                <a:chOff x="182" y="713"/>
                <a:chExt cx="5" cy="5"/>
              </a:xfrm>
            </p:grpSpPr>
            <p:sp>
              <p:nvSpPr>
                <p:cNvPr id="1766" name="Freeform 140">
                  <a:extLst>
                    <a:ext uri="{FF2B5EF4-FFF2-40B4-BE49-F238E27FC236}">
                      <a16:creationId xmlns:a16="http://schemas.microsoft.com/office/drawing/2014/main" id="{64ADE24F-CAEE-6B4E-B313-5EC35E372C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" y="713"/>
                  <a:ext cx="5" cy="5"/>
                </a:xfrm>
                <a:custGeom>
                  <a:avLst/>
                  <a:gdLst>
                    <a:gd name="T0" fmla="*/ 2 w 5"/>
                    <a:gd name="T1" fmla="*/ 1 h 5"/>
                    <a:gd name="T2" fmla="*/ 0 w 5"/>
                    <a:gd name="T3" fmla="*/ 3 h 5"/>
                    <a:gd name="T4" fmla="*/ 2 w 5"/>
                    <a:gd name="T5" fmla="*/ 5 h 5"/>
                    <a:gd name="T6" fmla="*/ 4 w 5"/>
                    <a:gd name="T7" fmla="*/ 3 h 5"/>
                    <a:gd name="T8" fmla="*/ 5 w 5"/>
                    <a:gd name="T9" fmla="*/ 1 h 5"/>
                    <a:gd name="T10" fmla="*/ 4 w 5"/>
                    <a:gd name="T11" fmla="*/ 0 h 5"/>
                    <a:gd name="T12" fmla="*/ 2 w 5"/>
                    <a:gd name="T13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5">
                      <a:moveTo>
                        <a:pt x="2" y="1"/>
                      </a:move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4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67" name="Freeform 141">
                  <a:extLst>
                    <a:ext uri="{FF2B5EF4-FFF2-40B4-BE49-F238E27FC236}">
                      <a16:creationId xmlns:a16="http://schemas.microsoft.com/office/drawing/2014/main" id="{2032C58C-D8CA-364E-BAFD-243955904A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" y="713"/>
                  <a:ext cx="5" cy="5"/>
                </a:xfrm>
                <a:custGeom>
                  <a:avLst/>
                  <a:gdLst>
                    <a:gd name="T0" fmla="*/ 2 w 5"/>
                    <a:gd name="T1" fmla="*/ 1 h 5"/>
                    <a:gd name="T2" fmla="*/ 0 w 5"/>
                    <a:gd name="T3" fmla="*/ 3 h 5"/>
                    <a:gd name="T4" fmla="*/ 2 w 5"/>
                    <a:gd name="T5" fmla="*/ 5 h 5"/>
                    <a:gd name="T6" fmla="*/ 4 w 5"/>
                    <a:gd name="T7" fmla="*/ 3 h 5"/>
                    <a:gd name="T8" fmla="*/ 5 w 5"/>
                    <a:gd name="T9" fmla="*/ 1 h 5"/>
                    <a:gd name="T10" fmla="*/ 4 w 5"/>
                    <a:gd name="T11" fmla="*/ 0 h 5"/>
                    <a:gd name="T12" fmla="*/ 2 w 5"/>
                    <a:gd name="T13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5">
                      <a:moveTo>
                        <a:pt x="2" y="1"/>
                      </a:move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4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60" name="Group 1759">
                <a:extLst>
                  <a:ext uri="{FF2B5EF4-FFF2-40B4-BE49-F238E27FC236}">
                    <a16:creationId xmlns:a16="http://schemas.microsoft.com/office/drawing/2014/main" id="{36BF3216-5FDB-5E49-AFCC-D20035E9140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01" y="698"/>
                <a:ext cx="15" cy="11"/>
                <a:chOff x="201" y="698"/>
                <a:chExt cx="15" cy="11"/>
              </a:xfrm>
            </p:grpSpPr>
            <p:sp>
              <p:nvSpPr>
                <p:cNvPr id="1764" name="Freeform 138">
                  <a:extLst>
                    <a:ext uri="{FF2B5EF4-FFF2-40B4-BE49-F238E27FC236}">
                      <a16:creationId xmlns:a16="http://schemas.microsoft.com/office/drawing/2014/main" id="{C7C73996-BB6C-BA42-93DF-6D8AD2C553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1" y="698"/>
                  <a:ext cx="15" cy="11"/>
                </a:xfrm>
                <a:custGeom>
                  <a:avLst/>
                  <a:gdLst>
                    <a:gd name="T0" fmla="*/ 12 w 15"/>
                    <a:gd name="T1" fmla="*/ 0 h 11"/>
                    <a:gd name="T2" fmla="*/ 10 w 15"/>
                    <a:gd name="T3" fmla="*/ 0 h 11"/>
                    <a:gd name="T4" fmla="*/ 7 w 15"/>
                    <a:gd name="T5" fmla="*/ 1 h 11"/>
                    <a:gd name="T6" fmla="*/ 1 w 15"/>
                    <a:gd name="T7" fmla="*/ 3 h 11"/>
                    <a:gd name="T8" fmla="*/ 0 w 15"/>
                    <a:gd name="T9" fmla="*/ 6 h 11"/>
                    <a:gd name="T10" fmla="*/ 1 w 15"/>
                    <a:gd name="T11" fmla="*/ 8 h 11"/>
                    <a:gd name="T12" fmla="*/ 1 w 15"/>
                    <a:gd name="T13" fmla="*/ 6 h 11"/>
                    <a:gd name="T14" fmla="*/ 5 w 15"/>
                    <a:gd name="T15" fmla="*/ 6 h 11"/>
                    <a:gd name="T16" fmla="*/ 5 w 15"/>
                    <a:gd name="T17" fmla="*/ 10 h 11"/>
                    <a:gd name="T18" fmla="*/ 8 w 15"/>
                    <a:gd name="T19" fmla="*/ 10 h 11"/>
                    <a:gd name="T20" fmla="*/ 10 w 15"/>
                    <a:gd name="T21" fmla="*/ 11 h 11"/>
                    <a:gd name="T22" fmla="*/ 13 w 15"/>
                    <a:gd name="T23" fmla="*/ 8 h 11"/>
                    <a:gd name="T24" fmla="*/ 15 w 15"/>
                    <a:gd name="T25" fmla="*/ 5 h 11"/>
                    <a:gd name="T26" fmla="*/ 13 w 15"/>
                    <a:gd name="T27" fmla="*/ 3 h 11"/>
                    <a:gd name="T28" fmla="*/ 12 w 15"/>
                    <a:gd name="T29" fmla="*/ 3 h 11"/>
                    <a:gd name="T30" fmla="*/ 10 w 15"/>
                    <a:gd name="T31" fmla="*/ 1 h 11"/>
                    <a:gd name="T32" fmla="*/ 12 w 15"/>
                    <a:gd name="T33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5" h="11">
                      <a:moveTo>
                        <a:pt x="12" y="0"/>
                      </a:moveTo>
                      <a:lnTo>
                        <a:pt x="10" y="0"/>
                      </a:lnTo>
                      <a:lnTo>
                        <a:pt x="7" y="1"/>
                      </a:lnTo>
                      <a:lnTo>
                        <a:pt x="1" y="3"/>
                      </a:lnTo>
                      <a:lnTo>
                        <a:pt x="0" y="6"/>
                      </a:lnTo>
                      <a:lnTo>
                        <a:pt x="1" y="8"/>
                      </a:lnTo>
                      <a:lnTo>
                        <a:pt x="1" y="6"/>
                      </a:lnTo>
                      <a:lnTo>
                        <a:pt x="5" y="6"/>
                      </a:lnTo>
                      <a:lnTo>
                        <a:pt x="5" y="10"/>
                      </a:lnTo>
                      <a:lnTo>
                        <a:pt x="8" y="10"/>
                      </a:lnTo>
                      <a:lnTo>
                        <a:pt x="10" y="11"/>
                      </a:lnTo>
                      <a:lnTo>
                        <a:pt x="13" y="8"/>
                      </a:lnTo>
                      <a:lnTo>
                        <a:pt x="15" y="5"/>
                      </a:lnTo>
                      <a:lnTo>
                        <a:pt x="13" y="3"/>
                      </a:lnTo>
                      <a:lnTo>
                        <a:pt x="12" y="3"/>
                      </a:lnTo>
                      <a:lnTo>
                        <a:pt x="10" y="1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65" name="Freeform 139">
                  <a:extLst>
                    <a:ext uri="{FF2B5EF4-FFF2-40B4-BE49-F238E27FC236}">
                      <a16:creationId xmlns:a16="http://schemas.microsoft.com/office/drawing/2014/main" id="{8ED78107-17EF-9E4E-BCB7-5D7981C64C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1" y="698"/>
                  <a:ext cx="15" cy="11"/>
                </a:xfrm>
                <a:custGeom>
                  <a:avLst/>
                  <a:gdLst>
                    <a:gd name="T0" fmla="*/ 12 w 15"/>
                    <a:gd name="T1" fmla="*/ 0 h 11"/>
                    <a:gd name="T2" fmla="*/ 10 w 15"/>
                    <a:gd name="T3" fmla="*/ 0 h 11"/>
                    <a:gd name="T4" fmla="*/ 7 w 15"/>
                    <a:gd name="T5" fmla="*/ 1 h 11"/>
                    <a:gd name="T6" fmla="*/ 1 w 15"/>
                    <a:gd name="T7" fmla="*/ 3 h 11"/>
                    <a:gd name="T8" fmla="*/ 0 w 15"/>
                    <a:gd name="T9" fmla="*/ 6 h 11"/>
                    <a:gd name="T10" fmla="*/ 1 w 15"/>
                    <a:gd name="T11" fmla="*/ 8 h 11"/>
                    <a:gd name="T12" fmla="*/ 1 w 15"/>
                    <a:gd name="T13" fmla="*/ 6 h 11"/>
                    <a:gd name="T14" fmla="*/ 5 w 15"/>
                    <a:gd name="T15" fmla="*/ 6 h 11"/>
                    <a:gd name="T16" fmla="*/ 5 w 15"/>
                    <a:gd name="T17" fmla="*/ 10 h 11"/>
                    <a:gd name="T18" fmla="*/ 8 w 15"/>
                    <a:gd name="T19" fmla="*/ 10 h 11"/>
                    <a:gd name="T20" fmla="*/ 10 w 15"/>
                    <a:gd name="T21" fmla="*/ 11 h 11"/>
                    <a:gd name="T22" fmla="*/ 13 w 15"/>
                    <a:gd name="T23" fmla="*/ 8 h 11"/>
                    <a:gd name="T24" fmla="*/ 15 w 15"/>
                    <a:gd name="T25" fmla="*/ 5 h 11"/>
                    <a:gd name="T26" fmla="*/ 13 w 15"/>
                    <a:gd name="T27" fmla="*/ 3 h 11"/>
                    <a:gd name="T28" fmla="*/ 12 w 15"/>
                    <a:gd name="T29" fmla="*/ 3 h 11"/>
                    <a:gd name="T30" fmla="*/ 10 w 15"/>
                    <a:gd name="T31" fmla="*/ 1 h 11"/>
                    <a:gd name="T32" fmla="*/ 12 w 15"/>
                    <a:gd name="T33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5" h="11">
                      <a:moveTo>
                        <a:pt x="12" y="0"/>
                      </a:moveTo>
                      <a:lnTo>
                        <a:pt x="10" y="0"/>
                      </a:lnTo>
                      <a:lnTo>
                        <a:pt x="7" y="1"/>
                      </a:lnTo>
                      <a:lnTo>
                        <a:pt x="1" y="3"/>
                      </a:lnTo>
                      <a:lnTo>
                        <a:pt x="0" y="6"/>
                      </a:lnTo>
                      <a:lnTo>
                        <a:pt x="1" y="8"/>
                      </a:lnTo>
                      <a:lnTo>
                        <a:pt x="1" y="6"/>
                      </a:lnTo>
                      <a:lnTo>
                        <a:pt x="5" y="6"/>
                      </a:lnTo>
                      <a:lnTo>
                        <a:pt x="5" y="10"/>
                      </a:lnTo>
                      <a:lnTo>
                        <a:pt x="8" y="10"/>
                      </a:lnTo>
                      <a:lnTo>
                        <a:pt x="10" y="11"/>
                      </a:lnTo>
                      <a:lnTo>
                        <a:pt x="13" y="8"/>
                      </a:lnTo>
                      <a:lnTo>
                        <a:pt x="15" y="5"/>
                      </a:lnTo>
                      <a:lnTo>
                        <a:pt x="13" y="3"/>
                      </a:lnTo>
                      <a:lnTo>
                        <a:pt x="12" y="3"/>
                      </a:lnTo>
                      <a:lnTo>
                        <a:pt x="10" y="1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61" name="Group 1760">
                <a:extLst>
                  <a:ext uri="{FF2B5EF4-FFF2-40B4-BE49-F238E27FC236}">
                    <a16:creationId xmlns:a16="http://schemas.microsoft.com/office/drawing/2014/main" id="{8E19238D-FE2F-304F-8C4C-EECAE2FDC0F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23" y="696"/>
                <a:ext cx="6" cy="3"/>
                <a:chOff x="223" y="696"/>
                <a:chExt cx="6" cy="3"/>
              </a:xfrm>
            </p:grpSpPr>
            <p:sp>
              <p:nvSpPr>
                <p:cNvPr id="1762" name="Freeform 136">
                  <a:extLst>
                    <a:ext uri="{FF2B5EF4-FFF2-40B4-BE49-F238E27FC236}">
                      <a16:creationId xmlns:a16="http://schemas.microsoft.com/office/drawing/2014/main" id="{12AE70F6-8DA1-8544-9442-2A771D17EA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" y="696"/>
                  <a:ext cx="6" cy="3"/>
                </a:xfrm>
                <a:custGeom>
                  <a:avLst/>
                  <a:gdLst>
                    <a:gd name="T0" fmla="*/ 5 w 6"/>
                    <a:gd name="T1" fmla="*/ 0 h 3"/>
                    <a:gd name="T2" fmla="*/ 3 w 6"/>
                    <a:gd name="T3" fmla="*/ 0 h 3"/>
                    <a:gd name="T4" fmla="*/ 1 w 6"/>
                    <a:gd name="T5" fmla="*/ 0 h 3"/>
                    <a:gd name="T6" fmla="*/ 0 w 6"/>
                    <a:gd name="T7" fmla="*/ 0 h 3"/>
                    <a:gd name="T8" fmla="*/ 1 w 6"/>
                    <a:gd name="T9" fmla="*/ 2 h 3"/>
                    <a:gd name="T10" fmla="*/ 5 w 6"/>
                    <a:gd name="T11" fmla="*/ 3 h 3"/>
                    <a:gd name="T12" fmla="*/ 6 w 6"/>
                    <a:gd name="T13" fmla="*/ 3 h 3"/>
                    <a:gd name="T14" fmla="*/ 6 w 6"/>
                    <a:gd name="T15" fmla="*/ 2 h 3"/>
                    <a:gd name="T16" fmla="*/ 5 w 6"/>
                    <a:gd name="T1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3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5" y="3"/>
                      </a:lnTo>
                      <a:lnTo>
                        <a:pt x="6" y="3"/>
                      </a:lnTo>
                      <a:lnTo>
                        <a:pt x="6" y="2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63" name="Freeform 137">
                  <a:extLst>
                    <a:ext uri="{FF2B5EF4-FFF2-40B4-BE49-F238E27FC236}">
                      <a16:creationId xmlns:a16="http://schemas.microsoft.com/office/drawing/2014/main" id="{83A261D7-B3BE-4349-A10B-A6D5A8B90C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" y="696"/>
                  <a:ext cx="6" cy="3"/>
                </a:xfrm>
                <a:custGeom>
                  <a:avLst/>
                  <a:gdLst>
                    <a:gd name="T0" fmla="*/ 5 w 6"/>
                    <a:gd name="T1" fmla="*/ 0 h 3"/>
                    <a:gd name="T2" fmla="*/ 3 w 6"/>
                    <a:gd name="T3" fmla="*/ 0 h 3"/>
                    <a:gd name="T4" fmla="*/ 1 w 6"/>
                    <a:gd name="T5" fmla="*/ 0 h 3"/>
                    <a:gd name="T6" fmla="*/ 0 w 6"/>
                    <a:gd name="T7" fmla="*/ 0 h 3"/>
                    <a:gd name="T8" fmla="*/ 1 w 6"/>
                    <a:gd name="T9" fmla="*/ 2 h 3"/>
                    <a:gd name="T10" fmla="*/ 5 w 6"/>
                    <a:gd name="T11" fmla="*/ 3 h 3"/>
                    <a:gd name="T12" fmla="*/ 6 w 6"/>
                    <a:gd name="T13" fmla="*/ 3 h 3"/>
                    <a:gd name="T14" fmla="*/ 6 w 6"/>
                    <a:gd name="T15" fmla="*/ 2 h 3"/>
                    <a:gd name="T16" fmla="*/ 5 w 6"/>
                    <a:gd name="T1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3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5" y="3"/>
                      </a:lnTo>
                      <a:lnTo>
                        <a:pt x="6" y="3"/>
                      </a:lnTo>
                      <a:lnTo>
                        <a:pt x="6" y="2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667" name="Group 1666">
              <a:extLst>
                <a:ext uri="{FF2B5EF4-FFF2-40B4-BE49-F238E27FC236}">
                  <a16:creationId xmlns:a16="http://schemas.microsoft.com/office/drawing/2014/main" id="{D7018B0D-8737-2644-93C9-7C705B1DEF6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2" y="57"/>
              <a:ext cx="204" cy="332"/>
              <a:chOff x="332" y="57"/>
              <a:chExt cx="204" cy="332"/>
            </a:xfrm>
          </p:grpSpPr>
          <p:grpSp>
            <p:nvGrpSpPr>
              <p:cNvPr id="1749" name="Group 1748">
                <a:extLst>
                  <a:ext uri="{FF2B5EF4-FFF2-40B4-BE49-F238E27FC236}">
                    <a16:creationId xmlns:a16="http://schemas.microsoft.com/office/drawing/2014/main" id="{A7F9325A-C188-4441-AADA-0BC1E21C390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32" y="57"/>
                <a:ext cx="204" cy="332"/>
                <a:chOff x="332" y="57"/>
                <a:chExt cx="204" cy="332"/>
              </a:xfrm>
            </p:grpSpPr>
            <p:sp>
              <p:nvSpPr>
                <p:cNvPr id="1756" name="Freeform 130">
                  <a:extLst>
                    <a:ext uri="{FF2B5EF4-FFF2-40B4-BE49-F238E27FC236}">
                      <a16:creationId xmlns:a16="http://schemas.microsoft.com/office/drawing/2014/main" id="{BDA49304-E5A7-D34C-95CA-1417183131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2" y="57"/>
                  <a:ext cx="204" cy="332"/>
                </a:xfrm>
                <a:custGeom>
                  <a:avLst/>
                  <a:gdLst>
                    <a:gd name="T0" fmla="*/ 191 w 204"/>
                    <a:gd name="T1" fmla="*/ 86 h 332"/>
                    <a:gd name="T2" fmla="*/ 181 w 204"/>
                    <a:gd name="T3" fmla="*/ 86 h 332"/>
                    <a:gd name="T4" fmla="*/ 174 w 204"/>
                    <a:gd name="T5" fmla="*/ 89 h 332"/>
                    <a:gd name="T6" fmla="*/ 171 w 204"/>
                    <a:gd name="T7" fmla="*/ 96 h 332"/>
                    <a:gd name="T8" fmla="*/ 164 w 204"/>
                    <a:gd name="T9" fmla="*/ 101 h 332"/>
                    <a:gd name="T10" fmla="*/ 160 w 204"/>
                    <a:gd name="T11" fmla="*/ 115 h 332"/>
                    <a:gd name="T12" fmla="*/ 162 w 204"/>
                    <a:gd name="T13" fmla="*/ 123 h 332"/>
                    <a:gd name="T14" fmla="*/ 154 w 204"/>
                    <a:gd name="T15" fmla="*/ 130 h 332"/>
                    <a:gd name="T16" fmla="*/ 144 w 204"/>
                    <a:gd name="T17" fmla="*/ 140 h 332"/>
                    <a:gd name="T18" fmla="*/ 128 w 204"/>
                    <a:gd name="T19" fmla="*/ 145 h 332"/>
                    <a:gd name="T20" fmla="*/ 118 w 204"/>
                    <a:gd name="T21" fmla="*/ 153 h 332"/>
                    <a:gd name="T22" fmla="*/ 113 w 204"/>
                    <a:gd name="T23" fmla="*/ 158 h 332"/>
                    <a:gd name="T24" fmla="*/ 105 w 204"/>
                    <a:gd name="T25" fmla="*/ 160 h 332"/>
                    <a:gd name="T26" fmla="*/ 98 w 204"/>
                    <a:gd name="T27" fmla="*/ 169 h 332"/>
                    <a:gd name="T28" fmla="*/ 98 w 204"/>
                    <a:gd name="T29" fmla="*/ 185 h 332"/>
                    <a:gd name="T30" fmla="*/ 95 w 204"/>
                    <a:gd name="T31" fmla="*/ 194 h 332"/>
                    <a:gd name="T32" fmla="*/ 96 w 204"/>
                    <a:gd name="T33" fmla="*/ 211 h 332"/>
                    <a:gd name="T34" fmla="*/ 86 w 204"/>
                    <a:gd name="T35" fmla="*/ 222 h 332"/>
                    <a:gd name="T36" fmla="*/ 96 w 204"/>
                    <a:gd name="T37" fmla="*/ 221 h 332"/>
                    <a:gd name="T38" fmla="*/ 108 w 204"/>
                    <a:gd name="T39" fmla="*/ 217 h 332"/>
                    <a:gd name="T40" fmla="*/ 120 w 204"/>
                    <a:gd name="T41" fmla="*/ 228 h 332"/>
                    <a:gd name="T42" fmla="*/ 113 w 204"/>
                    <a:gd name="T43" fmla="*/ 241 h 332"/>
                    <a:gd name="T44" fmla="*/ 95 w 204"/>
                    <a:gd name="T45" fmla="*/ 241 h 332"/>
                    <a:gd name="T46" fmla="*/ 83 w 204"/>
                    <a:gd name="T47" fmla="*/ 241 h 332"/>
                    <a:gd name="T48" fmla="*/ 107 w 204"/>
                    <a:gd name="T49" fmla="*/ 244 h 332"/>
                    <a:gd name="T50" fmla="*/ 112 w 204"/>
                    <a:gd name="T51" fmla="*/ 244 h 332"/>
                    <a:gd name="T52" fmla="*/ 101 w 204"/>
                    <a:gd name="T53" fmla="*/ 249 h 332"/>
                    <a:gd name="T54" fmla="*/ 90 w 204"/>
                    <a:gd name="T55" fmla="*/ 260 h 332"/>
                    <a:gd name="T56" fmla="*/ 90 w 204"/>
                    <a:gd name="T57" fmla="*/ 265 h 332"/>
                    <a:gd name="T58" fmla="*/ 88 w 204"/>
                    <a:gd name="T59" fmla="*/ 271 h 332"/>
                    <a:gd name="T60" fmla="*/ 86 w 204"/>
                    <a:gd name="T61" fmla="*/ 278 h 332"/>
                    <a:gd name="T62" fmla="*/ 83 w 204"/>
                    <a:gd name="T63" fmla="*/ 298 h 332"/>
                    <a:gd name="T64" fmla="*/ 63 w 204"/>
                    <a:gd name="T65" fmla="*/ 315 h 332"/>
                    <a:gd name="T66" fmla="*/ 49 w 204"/>
                    <a:gd name="T67" fmla="*/ 332 h 332"/>
                    <a:gd name="T68" fmla="*/ 29 w 204"/>
                    <a:gd name="T69" fmla="*/ 330 h 332"/>
                    <a:gd name="T70" fmla="*/ 22 w 204"/>
                    <a:gd name="T71" fmla="*/ 314 h 332"/>
                    <a:gd name="T72" fmla="*/ 29 w 204"/>
                    <a:gd name="T73" fmla="*/ 308 h 332"/>
                    <a:gd name="T74" fmla="*/ 15 w 204"/>
                    <a:gd name="T75" fmla="*/ 288 h 332"/>
                    <a:gd name="T76" fmla="*/ 10 w 204"/>
                    <a:gd name="T77" fmla="*/ 278 h 332"/>
                    <a:gd name="T78" fmla="*/ 7 w 204"/>
                    <a:gd name="T79" fmla="*/ 268 h 332"/>
                    <a:gd name="T80" fmla="*/ 2 w 204"/>
                    <a:gd name="T81" fmla="*/ 263 h 332"/>
                    <a:gd name="T82" fmla="*/ 4 w 204"/>
                    <a:gd name="T83" fmla="*/ 251 h 332"/>
                    <a:gd name="T84" fmla="*/ 10 w 204"/>
                    <a:gd name="T85" fmla="*/ 238 h 332"/>
                    <a:gd name="T86" fmla="*/ 22 w 204"/>
                    <a:gd name="T87" fmla="*/ 217 h 332"/>
                    <a:gd name="T88" fmla="*/ 27 w 204"/>
                    <a:gd name="T89" fmla="*/ 197 h 332"/>
                    <a:gd name="T90" fmla="*/ 15 w 204"/>
                    <a:gd name="T91" fmla="*/ 170 h 332"/>
                    <a:gd name="T92" fmla="*/ 19 w 204"/>
                    <a:gd name="T93" fmla="*/ 153 h 332"/>
                    <a:gd name="T94" fmla="*/ 37 w 204"/>
                    <a:gd name="T95" fmla="*/ 131 h 332"/>
                    <a:gd name="T96" fmla="*/ 42 w 204"/>
                    <a:gd name="T97" fmla="*/ 116 h 332"/>
                    <a:gd name="T98" fmla="*/ 56 w 204"/>
                    <a:gd name="T99" fmla="*/ 79 h 332"/>
                    <a:gd name="T100" fmla="*/ 73 w 204"/>
                    <a:gd name="T101" fmla="*/ 64 h 332"/>
                    <a:gd name="T102" fmla="*/ 81 w 204"/>
                    <a:gd name="T103" fmla="*/ 45 h 332"/>
                    <a:gd name="T104" fmla="*/ 96 w 204"/>
                    <a:gd name="T105" fmla="*/ 27 h 332"/>
                    <a:gd name="T106" fmla="*/ 112 w 204"/>
                    <a:gd name="T107" fmla="*/ 20 h 332"/>
                    <a:gd name="T108" fmla="*/ 128 w 204"/>
                    <a:gd name="T109" fmla="*/ 15 h 332"/>
                    <a:gd name="T110" fmla="*/ 140 w 204"/>
                    <a:gd name="T111" fmla="*/ 15 h 332"/>
                    <a:gd name="T112" fmla="*/ 142 w 204"/>
                    <a:gd name="T113" fmla="*/ 0 h 332"/>
                    <a:gd name="T114" fmla="*/ 155 w 204"/>
                    <a:gd name="T115" fmla="*/ 3 h 332"/>
                    <a:gd name="T116" fmla="*/ 191 w 204"/>
                    <a:gd name="T117" fmla="*/ 24 h 332"/>
                    <a:gd name="T118" fmla="*/ 198 w 204"/>
                    <a:gd name="T119" fmla="*/ 44 h 332"/>
                    <a:gd name="T120" fmla="*/ 203 w 204"/>
                    <a:gd name="T121" fmla="*/ 66 h 3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04" h="332">
                      <a:moveTo>
                        <a:pt x="204" y="86"/>
                      </a:moveTo>
                      <a:lnTo>
                        <a:pt x="203" y="86"/>
                      </a:lnTo>
                      <a:lnTo>
                        <a:pt x="203" y="88"/>
                      </a:lnTo>
                      <a:lnTo>
                        <a:pt x="201" y="86"/>
                      </a:lnTo>
                      <a:lnTo>
                        <a:pt x="198" y="86"/>
                      </a:lnTo>
                      <a:lnTo>
                        <a:pt x="196" y="86"/>
                      </a:lnTo>
                      <a:lnTo>
                        <a:pt x="192" y="86"/>
                      </a:lnTo>
                      <a:lnTo>
                        <a:pt x="191" y="86"/>
                      </a:lnTo>
                      <a:lnTo>
                        <a:pt x="189" y="88"/>
                      </a:lnTo>
                      <a:lnTo>
                        <a:pt x="187" y="88"/>
                      </a:lnTo>
                      <a:lnTo>
                        <a:pt x="186" y="88"/>
                      </a:lnTo>
                      <a:lnTo>
                        <a:pt x="186" y="86"/>
                      </a:lnTo>
                      <a:lnTo>
                        <a:pt x="184" y="84"/>
                      </a:lnTo>
                      <a:lnTo>
                        <a:pt x="182" y="84"/>
                      </a:lnTo>
                      <a:lnTo>
                        <a:pt x="182" y="86"/>
                      </a:lnTo>
                      <a:lnTo>
                        <a:pt x="181" y="86"/>
                      </a:lnTo>
                      <a:lnTo>
                        <a:pt x="179" y="86"/>
                      </a:lnTo>
                      <a:lnTo>
                        <a:pt x="179" y="84"/>
                      </a:lnTo>
                      <a:lnTo>
                        <a:pt x="177" y="84"/>
                      </a:lnTo>
                      <a:lnTo>
                        <a:pt x="177" y="86"/>
                      </a:lnTo>
                      <a:lnTo>
                        <a:pt x="177" y="89"/>
                      </a:lnTo>
                      <a:lnTo>
                        <a:pt x="176" y="89"/>
                      </a:lnTo>
                      <a:lnTo>
                        <a:pt x="176" y="91"/>
                      </a:lnTo>
                      <a:lnTo>
                        <a:pt x="174" y="89"/>
                      </a:lnTo>
                      <a:lnTo>
                        <a:pt x="172" y="89"/>
                      </a:lnTo>
                      <a:lnTo>
                        <a:pt x="171" y="89"/>
                      </a:lnTo>
                      <a:lnTo>
                        <a:pt x="172" y="91"/>
                      </a:lnTo>
                      <a:lnTo>
                        <a:pt x="174" y="93"/>
                      </a:lnTo>
                      <a:lnTo>
                        <a:pt x="172" y="93"/>
                      </a:lnTo>
                      <a:lnTo>
                        <a:pt x="171" y="93"/>
                      </a:lnTo>
                      <a:lnTo>
                        <a:pt x="171" y="94"/>
                      </a:lnTo>
                      <a:lnTo>
                        <a:pt x="171" y="96"/>
                      </a:lnTo>
                      <a:lnTo>
                        <a:pt x="169" y="96"/>
                      </a:lnTo>
                      <a:lnTo>
                        <a:pt x="167" y="96"/>
                      </a:lnTo>
                      <a:lnTo>
                        <a:pt x="166" y="96"/>
                      </a:lnTo>
                      <a:lnTo>
                        <a:pt x="166" y="98"/>
                      </a:lnTo>
                      <a:lnTo>
                        <a:pt x="162" y="98"/>
                      </a:lnTo>
                      <a:lnTo>
                        <a:pt x="162" y="99"/>
                      </a:lnTo>
                      <a:lnTo>
                        <a:pt x="164" y="99"/>
                      </a:lnTo>
                      <a:lnTo>
                        <a:pt x="164" y="101"/>
                      </a:lnTo>
                      <a:lnTo>
                        <a:pt x="166" y="103"/>
                      </a:lnTo>
                      <a:lnTo>
                        <a:pt x="164" y="104"/>
                      </a:lnTo>
                      <a:lnTo>
                        <a:pt x="164" y="106"/>
                      </a:lnTo>
                      <a:lnTo>
                        <a:pt x="162" y="108"/>
                      </a:lnTo>
                      <a:lnTo>
                        <a:pt x="160" y="110"/>
                      </a:lnTo>
                      <a:lnTo>
                        <a:pt x="159" y="111"/>
                      </a:lnTo>
                      <a:lnTo>
                        <a:pt x="159" y="113"/>
                      </a:lnTo>
                      <a:lnTo>
                        <a:pt x="160" y="115"/>
                      </a:lnTo>
                      <a:lnTo>
                        <a:pt x="159" y="115"/>
                      </a:lnTo>
                      <a:lnTo>
                        <a:pt x="160" y="116"/>
                      </a:lnTo>
                      <a:lnTo>
                        <a:pt x="162" y="118"/>
                      </a:lnTo>
                      <a:lnTo>
                        <a:pt x="164" y="120"/>
                      </a:lnTo>
                      <a:lnTo>
                        <a:pt x="166" y="121"/>
                      </a:lnTo>
                      <a:lnTo>
                        <a:pt x="164" y="123"/>
                      </a:lnTo>
                      <a:lnTo>
                        <a:pt x="162" y="125"/>
                      </a:lnTo>
                      <a:lnTo>
                        <a:pt x="162" y="123"/>
                      </a:lnTo>
                      <a:lnTo>
                        <a:pt x="162" y="121"/>
                      </a:lnTo>
                      <a:lnTo>
                        <a:pt x="160" y="123"/>
                      </a:lnTo>
                      <a:lnTo>
                        <a:pt x="160" y="125"/>
                      </a:lnTo>
                      <a:lnTo>
                        <a:pt x="159" y="125"/>
                      </a:lnTo>
                      <a:lnTo>
                        <a:pt x="159" y="126"/>
                      </a:lnTo>
                      <a:lnTo>
                        <a:pt x="157" y="128"/>
                      </a:lnTo>
                      <a:lnTo>
                        <a:pt x="155" y="130"/>
                      </a:lnTo>
                      <a:lnTo>
                        <a:pt x="154" y="130"/>
                      </a:lnTo>
                      <a:lnTo>
                        <a:pt x="154" y="131"/>
                      </a:lnTo>
                      <a:lnTo>
                        <a:pt x="152" y="135"/>
                      </a:lnTo>
                      <a:lnTo>
                        <a:pt x="150" y="136"/>
                      </a:lnTo>
                      <a:lnTo>
                        <a:pt x="149" y="136"/>
                      </a:lnTo>
                      <a:lnTo>
                        <a:pt x="149" y="138"/>
                      </a:lnTo>
                      <a:lnTo>
                        <a:pt x="147" y="138"/>
                      </a:lnTo>
                      <a:lnTo>
                        <a:pt x="145" y="140"/>
                      </a:lnTo>
                      <a:lnTo>
                        <a:pt x="144" y="140"/>
                      </a:lnTo>
                      <a:lnTo>
                        <a:pt x="142" y="140"/>
                      </a:lnTo>
                      <a:lnTo>
                        <a:pt x="139" y="142"/>
                      </a:lnTo>
                      <a:lnTo>
                        <a:pt x="139" y="143"/>
                      </a:lnTo>
                      <a:lnTo>
                        <a:pt x="137" y="143"/>
                      </a:lnTo>
                      <a:lnTo>
                        <a:pt x="135" y="145"/>
                      </a:lnTo>
                      <a:lnTo>
                        <a:pt x="133" y="143"/>
                      </a:lnTo>
                      <a:lnTo>
                        <a:pt x="132" y="145"/>
                      </a:lnTo>
                      <a:lnTo>
                        <a:pt x="128" y="145"/>
                      </a:lnTo>
                      <a:lnTo>
                        <a:pt x="128" y="148"/>
                      </a:lnTo>
                      <a:lnTo>
                        <a:pt x="127" y="148"/>
                      </a:lnTo>
                      <a:lnTo>
                        <a:pt x="125" y="150"/>
                      </a:lnTo>
                      <a:lnTo>
                        <a:pt x="122" y="148"/>
                      </a:lnTo>
                      <a:lnTo>
                        <a:pt x="120" y="150"/>
                      </a:lnTo>
                      <a:lnTo>
                        <a:pt x="120" y="152"/>
                      </a:lnTo>
                      <a:lnTo>
                        <a:pt x="118" y="152"/>
                      </a:lnTo>
                      <a:lnTo>
                        <a:pt x="118" y="153"/>
                      </a:lnTo>
                      <a:lnTo>
                        <a:pt x="115" y="155"/>
                      </a:lnTo>
                      <a:lnTo>
                        <a:pt x="117" y="155"/>
                      </a:lnTo>
                      <a:lnTo>
                        <a:pt x="115" y="157"/>
                      </a:lnTo>
                      <a:lnTo>
                        <a:pt x="113" y="157"/>
                      </a:lnTo>
                      <a:lnTo>
                        <a:pt x="112" y="157"/>
                      </a:lnTo>
                      <a:lnTo>
                        <a:pt x="113" y="157"/>
                      </a:lnTo>
                      <a:lnTo>
                        <a:pt x="115" y="158"/>
                      </a:lnTo>
                      <a:lnTo>
                        <a:pt x="113" y="158"/>
                      </a:lnTo>
                      <a:lnTo>
                        <a:pt x="113" y="160"/>
                      </a:lnTo>
                      <a:lnTo>
                        <a:pt x="112" y="160"/>
                      </a:lnTo>
                      <a:lnTo>
                        <a:pt x="110" y="162"/>
                      </a:lnTo>
                      <a:lnTo>
                        <a:pt x="108" y="162"/>
                      </a:lnTo>
                      <a:lnTo>
                        <a:pt x="107" y="160"/>
                      </a:lnTo>
                      <a:lnTo>
                        <a:pt x="105" y="160"/>
                      </a:lnTo>
                      <a:lnTo>
                        <a:pt x="105" y="158"/>
                      </a:lnTo>
                      <a:lnTo>
                        <a:pt x="105" y="160"/>
                      </a:lnTo>
                      <a:lnTo>
                        <a:pt x="107" y="163"/>
                      </a:lnTo>
                      <a:lnTo>
                        <a:pt x="107" y="165"/>
                      </a:lnTo>
                      <a:lnTo>
                        <a:pt x="105" y="165"/>
                      </a:lnTo>
                      <a:lnTo>
                        <a:pt x="107" y="167"/>
                      </a:lnTo>
                      <a:lnTo>
                        <a:pt x="105" y="169"/>
                      </a:lnTo>
                      <a:lnTo>
                        <a:pt x="103" y="170"/>
                      </a:lnTo>
                      <a:lnTo>
                        <a:pt x="100" y="169"/>
                      </a:lnTo>
                      <a:lnTo>
                        <a:pt x="98" y="169"/>
                      </a:lnTo>
                      <a:lnTo>
                        <a:pt x="98" y="172"/>
                      </a:lnTo>
                      <a:lnTo>
                        <a:pt x="98" y="174"/>
                      </a:lnTo>
                      <a:lnTo>
                        <a:pt x="101" y="175"/>
                      </a:lnTo>
                      <a:lnTo>
                        <a:pt x="100" y="177"/>
                      </a:lnTo>
                      <a:lnTo>
                        <a:pt x="100" y="179"/>
                      </a:lnTo>
                      <a:lnTo>
                        <a:pt x="98" y="182"/>
                      </a:lnTo>
                      <a:lnTo>
                        <a:pt x="98" y="184"/>
                      </a:lnTo>
                      <a:lnTo>
                        <a:pt x="98" y="185"/>
                      </a:lnTo>
                      <a:lnTo>
                        <a:pt x="100" y="187"/>
                      </a:lnTo>
                      <a:lnTo>
                        <a:pt x="100" y="189"/>
                      </a:lnTo>
                      <a:lnTo>
                        <a:pt x="98" y="189"/>
                      </a:lnTo>
                      <a:lnTo>
                        <a:pt x="95" y="187"/>
                      </a:lnTo>
                      <a:lnTo>
                        <a:pt x="95" y="189"/>
                      </a:lnTo>
                      <a:lnTo>
                        <a:pt x="95" y="190"/>
                      </a:lnTo>
                      <a:lnTo>
                        <a:pt x="93" y="192"/>
                      </a:lnTo>
                      <a:lnTo>
                        <a:pt x="95" y="194"/>
                      </a:lnTo>
                      <a:lnTo>
                        <a:pt x="95" y="195"/>
                      </a:lnTo>
                      <a:lnTo>
                        <a:pt x="95" y="197"/>
                      </a:lnTo>
                      <a:lnTo>
                        <a:pt x="95" y="199"/>
                      </a:lnTo>
                      <a:lnTo>
                        <a:pt x="95" y="201"/>
                      </a:lnTo>
                      <a:lnTo>
                        <a:pt x="95" y="204"/>
                      </a:lnTo>
                      <a:lnTo>
                        <a:pt x="95" y="206"/>
                      </a:lnTo>
                      <a:lnTo>
                        <a:pt x="96" y="207"/>
                      </a:lnTo>
                      <a:lnTo>
                        <a:pt x="96" y="211"/>
                      </a:lnTo>
                      <a:lnTo>
                        <a:pt x="95" y="212"/>
                      </a:lnTo>
                      <a:lnTo>
                        <a:pt x="98" y="212"/>
                      </a:lnTo>
                      <a:lnTo>
                        <a:pt x="98" y="216"/>
                      </a:lnTo>
                      <a:lnTo>
                        <a:pt x="96" y="217"/>
                      </a:lnTo>
                      <a:lnTo>
                        <a:pt x="95" y="219"/>
                      </a:lnTo>
                      <a:lnTo>
                        <a:pt x="91" y="221"/>
                      </a:lnTo>
                      <a:lnTo>
                        <a:pt x="90" y="221"/>
                      </a:lnTo>
                      <a:lnTo>
                        <a:pt x="86" y="222"/>
                      </a:lnTo>
                      <a:lnTo>
                        <a:pt x="83" y="224"/>
                      </a:lnTo>
                      <a:lnTo>
                        <a:pt x="81" y="224"/>
                      </a:lnTo>
                      <a:lnTo>
                        <a:pt x="83" y="226"/>
                      </a:lnTo>
                      <a:lnTo>
                        <a:pt x="86" y="224"/>
                      </a:lnTo>
                      <a:lnTo>
                        <a:pt x="90" y="224"/>
                      </a:lnTo>
                      <a:lnTo>
                        <a:pt x="91" y="224"/>
                      </a:lnTo>
                      <a:lnTo>
                        <a:pt x="93" y="222"/>
                      </a:lnTo>
                      <a:lnTo>
                        <a:pt x="96" y="221"/>
                      </a:lnTo>
                      <a:lnTo>
                        <a:pt x="98" y="217"/>
                      </a:lnTo>
                      <a:lnTo>
                        <a:pt x="100" y="216"/>
                      </a:lnTo>
                      <a:lnTo>
                        <a:pt x="100" y="214"/>
                      </a:lnTo>
                      <a:lnTo>
                        <a:pt x="101" y="214"/>
                      </a:lnTo>
                      <a:lnTo>
                        <a:pt x="103" y="216"/>
                      </a:lnTo>
                      <a:lnTo>
                        <a:pt x="105" y="216"/>
                      </a:lnTo>
                      <a:lnTo>
                        <a:pt x="108" y="216"/>
                      </a:lnTo>
                      <a:lnTo>
                        <a:pt x="108" y="217"/>
                      </a:lnTo>
                      <a:lnTo>
                        <a:pt x="110" y="219"/>
                      </a:lnTo>
                      <a:lnTo>
                        <a:pt x="112" y="221"/>
                      </a:lnTo>
                      <a:lnTo>
                        <a:pt x="115" y="221"/>
                      </a:lnTo>
                      <a:lnTo>
                        <a:pt x="115" y="222"/>
                      </a:lnTo>
                      <a:lnTo>
                        <a:pt x="113" y="222"/>
                      </a:lnTo>
                      <a:lnTo>
                        <a:pt x="115" y="224"/>
                      </a:lnTo>
                      <a:lnTo>
                        <a:pt x="117" y="226"/>
                      </a:lnTo>
                      <a:lnTo>
                        <a:pt x="120" y="228"/>
                      </a:lnTo>
                      <a:lnTo>
                        <a:pt x="122" y="229"/>
                      </a:lnTo>
                      <a:lnTo>
                        <a:pt x="122" y="231"/>
                      </a:lnTo>
                      <a:lnTo>
                        <a:pt x="120" y="233"/>
                      </a:lnTo>
                      <a:lnTo>
                        <a:pt x="120" y="234"/>
                      </a:lnTo>
                      <a:lnTo>
                        <a:pt x="118" y="236"/>
                      </a:lnTo>
                      <a:lnTo>
                        <a:pt x="117" y="238"/>
                      </a:lnTo>
                      <a:lnTo>
                        <a:pt x="117" y="239"/>
                      </a:lnTo>
                      <a:lnTo>
                        <a:pt x="113" y="241"/>
                      </a:lnTo>
                      <a:lnTo>
                        <a:pt x="108" y="243"/>
                      </a:lnTo>
                      <a:lnTo>
                        <a:pt x="107" y="243"/>
                      </a:lnTo>
                      <a:lnTo>
                        <a:pt x="105" y="243"/>
                      </a:lnTo>
                      <a:lnTo>
                        <a:pt x="103" y="239"/>
                      </a:lnTo>
                      <a:lnTo>
                        <a:pt x="101" y="241"/>
                      </a:lnTo>
                      <a:lnTo>
                        <a:pt x="100" y="239"/>
                      </a:lnTo>
                      <a:lnTo>
                        <a:pt x="98" y="239"/>
                      </a:lnTo>
                      <a:lnTo>
                        <a:pt x="95" y="241"/>
                      </a:lnTo>
                      <a:lnTo>
                        <a:pt x="93" y="238"/>
                      </a:lnTo>
                      <a:lnTo>
                        <a:pt x="93" y="239"/>
                      </a:lnTo>
                      <a:lnTo>
                        <a:pt x="90" y="238"/>
                      </a:lnTo>
                      <a:lnTo>
                        <a:pt x="86" y="239"/>
                      </a:lnTo>
                      <a:lnTo>
                        <a:pt x="85" y="238"/>
                      </a:lnTo>
                      <a:lnTo>
                        <a:pt x="83" y="239"/>
                      </a:lnTo>
                      <a:lnTo>
                        <a:pt x="81" y="241"/>
                      </a:lnTo>
                      <a:lnTo>
                        <a:pt x="83" y="241"/>
                      </a:lnTo>
                      <a:lnTo>
                        <a:pt x="88" y="241"/>
                      </a:lnTo>
                      <a:lnTo>
                        <a:pt x="91" y="241"/>
                      </a:lnTo>
                      <a:lnTo>
                        <a:pt x="95" y="243"/>
                      </a:lnTo>
                      <a:lnTo>
                        <a:pt x="96" y="244"/>
                      </a:lnTo>
                      <a:lnTo>
                        <a:pt x="96" y="246"/>
                      </a:lnTo>
                      <a:lnTo>
                        <a:pt x="98" y="244"/>
                      </a:lnTo>
                      <a:lnTo>
                        <a:pt x="101" y="244"/>
                      </a:lnTo>
                      <a:lnTo>
                        <a:pt x="107" y="244"/>
                      </a:lnTo>
                      <a:lnTo>
                        <a:pt x="112" y="244"/>
                      </a:lnTo>
                      <a:lnTo>
                        <a:pt x="115" y="243"/>
                      </a:lnTo>
                      <a:lnTo>
                        <a:pt x="117" y="243"/>
                      </a:lnTo>
                      <a:lnTo>
                        <a:pt x="117" y="244"/>
                      </a:lnTo>
                      <a:lnTo>
                        <a:pt x="115" y="244"/>
                      </a:lnTo>
                      <a:lnTo>
                        <a:pt x="115" y="246"/>
                      </a:lnTo>
                      <a:lnTo>
                        <a:pt x="113" y="246"/>
                      </a:lnTo>
                      <a:lnTo>
                        <a:pt x="112" y="244"/>
                      </a:lnTo>
                      <a:lnTo>
                        <a:pt x="112" y="246"/>
                      </a:lnTo>
                      <a:lnTo>
                        <a:pt x="113" y="248"/>
                      </a:lnTo>
                      <a:lnTo>
                        <a:pt x="108" y="251"/>
                      </a:lnTo>
                      <a:lnTo>
                        <a:pt x="107" y="253"/>
                      </a:lnTo>
                      <a:lnTo>
                        <a:pt x="105" y="253"/>
                      </a:lnTo>
                      <a:lnTo>
                        <a:pt x="103" y="253"/>
                      </a:lnTo>
                      <a:lnTo>
                        <a:pt x="103" y="251"/>
                      </a:lnTo>
                      <a:lnTo>
                        <a:pt x="101" y="249"/>
                      </a:lnTo>
                      <a:lnTo>
                        <a:pt x="101" y="253"/>
                      </a:lnTo>
                      <a:lnTo>
                        <a:pt x="100" y="254"/>
                      </a:lnTo>
                      <a:lnTo>
                        <a:pt x="98" y="256"/>
                      </a:lnTo>
                      <a:lnTo>
                        <a:pt x="96" y="256"/>
                      </a:lnTo>
                      <a:lnTo>
                        <a:pt x="95" y="256"/>
                      </a:lnTo>
                      <a:lnTo>
                        <a:pt x="93" y="256"/>
                      </a:lnTo>
                      <a:lnTo>
                        <a:pt x="91" y="260"/>
                      </a:lnTo>
                      <a:lnTo>
                        <a:pt x="90" y="260"/>
                      </a:lnTo>
                      <a:lnTo>
                        <a:pt x="86" y="260"/>
                      </a:lnTo>
                      <a:lnTo>
                        <a:pt x="80" y="260"/>
                      </a:lnTo>
                      <a:lnTo>
                        <a:pt x="81" y="260"/>
                      </a:lnTo>
                      <a:lnTo>
                        <a:pt x="83" y="260"/>
                      </a:lnTo>
                      <a:lnTo>
                        <a:pt x="85" y="261"/>
                      </a:lnTo>
                      <a:lnTo>
                        <a:pt x="88" y="261"/>
                      </a:lnTo>
                      <a:lnTo>
                        <a:pt x="90" y="263"/>
                      </a:lnTo>
                      <a:lnTo>
                        <a:pt x="90" y="265"/>
                      </a:lnTo>
                      <a:lnTo>
                        <a:pt x="86" y="265"/>
                      </a:lnTo>
                      <a:lnTo>
                        <a:pt x="85" y="263"/>
                      </a:lnTo>
                      <a:lnTo>
                        <a:pt x="83" y="263"/>
                      </a:lnTo>
                      <a:lnTo>
                        <a:pt x="86" y="265"/>
                      </a:lnTo>
                      <a:lnTo>
                        <a:pt x="88" y="266"/>
                      </a:lnTo>
                      <a:lnTo>
                        <a:pt x="88" y="268"/>
                      </a:lnTo>
                      <a:lnTo>
                        <a:pt x="88" y="270"/>
                      </a:lnTo>
                      <a:lnTo>
                        <a:pt x="88" y="271"/>
                      </a:lnTo>
                      <a:lnTo>
                        <a:pt x="88" y="273"/>
                      </a:lnTo>
                      <a:lnTo>
                        <a:pt x="86" y="275"/>
                      </a:lnTo>
                      <a:lnTo>
                        <a:pt x="88" y="276"/>
                      </a:lnTo>
                      <a:lnTo>
                        <a:pt x="86" y="276"/>
                      </a:lnTo>
                      <a:lnTo>
                        <a:pt x="85" y="275"/>
                      </a:lnTo>
                      <a:lnTo>
                        <a:pt x="85" y="276"/>
                      </a:lnTo>
                      <a:lnTo>
                        <a:pt x="85" y="278"/>
                      </a:lnTo>
                      <a:lnTo>
                        <a:pt x="86" y="278"/>
                      </a:lnTo>
                      <a:lnTo>
                        <a:pt x="86" y="281"/>
                      </a:lnTo>
                      <a:lnTo>
                        <a:pt x="85" y="283"/>
                      </a:lnTo>
                      <a:lnTo>
                        <a:pt x="86" y="285"/>
                      </a:lnTo>
                      <a:lnTo>
                        <a:pt x="86" y="287"/>
                      </a:lnTo>
                      <a:lnTo>
                        <a:pt x="85" y="290"/>
                      </a:lnTo>
                      <a:lnTo>
                        <a:pt x="83" y="292"/>
                      </a:lnTo>
                      <a:lnTo>
                        <a:pt x="85" y="295"/>
                      </a:lnTo>
                      <a:lnTo>
                        <a:pt x="83" y="298"/>
                      </a:lnTo>
                      <a:lnTo>
                        <a:pt x="83" y="302"/>
                      </a:lnTo>
                      <a:lnTo>
                        <a:pt x="80" y="307"/>
                      </a:lnTo>
                      <a:lnTo>
                        <a:pt x="78" y="312"/>
                      </a:lnTo>
                      <a:lnTo>
                        <a:pt x="76" y="315"/>
                      </a:lnTo>
                      <a:lnTo>
                        <a:pt x="73" y="315"/>
                      </a:lnTo>
                      <a:lnTo>
                        <a:pt x="69" y="315"/>
                      </a:lnTo>
                      <a:lnTo>
                        <a:pt x="66" y="315"/>
                      </a:lnTo>
                      <a:lnTo>
                        <a:pt x="63" y="315"/>
                      </a:lnTo>
                      <a:lnTo>
                        <a:pt x="59" y="315"/>
                      </a:lnTo>
                      <a:lnTo>
                        <a:pt x="56" y="315"/>
                      </a:lnTo>
                      <a:lnTo>
                        <a:pt x="56" y="319"/>
                      </a:lnTo>
                      <a:lnTo>
                        <a:pt x="53" y="317"/>
                      </a:lnTo>
                      <a:lnTo>
                        <a:pt x="51" y="320"/>
                      </a:lnTo>
                      <a:lnTo>
                        <a:pt x="49" y="324"/>
                      </a:lnTo>
                      <a:lnTo>
                        <a:pt x="51" y="329"/>
                      </a:lnTo>
                      <a:lnTo>
                        <a:pt x="49" y="332"/>
                      </a:lnTo>
                      <a:lnTo>
                        <a:pt x="47" y="332"/>
                      </a:lnTo>
                      <a:lnTo>
                        <a:pt x="44" y="330"/>
                      </a:lnTo>
                      <a:lnTo>
                        <a:pt x="39" y="332"/>
                      </a:lnTo>
                      <a:lnTo>
                        <a:pt x="34" y="332"/>
                      </a:lnTo>
                      <a:lnTo>
                        <a:pt x="31" y="332"/>
                      </a:lnTo>
                      <a:lnTo>
                        <a:pt x="27" y="332"/>
                      </a:lnTo>
                      <a:lnTo>
                        <a:pt x="27" y="330"/>
                      </a:lnTo>
                      <a:lnTo>
                        <a:pt x="29" y="330"/>
                      </a:lnTo>
                      <a:lnTo>
                        <a:pt x="29" y="329"/>
                      </a:lnTo>
                      <a:lnTo>
                        <a:pt x="31" y="327"/>
                      </a:lnTo>
                      <a:lnTo>
                        <a:pt x="29" y="325"/>
                      </a:lnTo>
                      <a:lnTo>
                        <a:pt x="27" y="322"/>
                      </a:lnTo>
                      <a:lnTo>
                        <a:pt x="26" y="319"/>
                      </a:lnTo>
                      <a:lnTo>
                        <a:pt x="24" y="317"/>
                      </a:lnTo>
                      <a:lnTo>
                        <a:pt x="22" y="315"/>
                      </a:lnTo>
                      <a:lnTo>
                        <a:pt x="22" y="314"/>
                      </a:lnTo>
                      <a:lnTo>
                        <a:pt x="24" y="314"/>
                      </a:lnTo>
                      <a:lnTo>
                        <a:pt x="27" y="314"/>
                      </a:lnTo>
                      <a:lnTo>
                        <a:pt x="26" y="314"/>
                      </a:lnTo>
                      <a:lnTo>
                        <a:pt x="26" y="312"/>
                      </a:lnTo>
                      <a:lnTo>
                        <a:pt x="24" y="310"/>
                      </a:lnTo>
                      <a:lnTo>
                        <a:pt x="26" y="310"/>
                      </a:lnTo>
                      <a:lnTo>
                        <a:pt x="27" y="310"/>
                      </a:lnTo>
                      <a:lnTo>
                        <a:pt x="29" y="308"/>
                      </a:lnTo>
                      <a:lnTo>
                        <a:pt x="29" y="307"/>
                      </a:lnTo>
                      <a:lnTo>
                        <a:pt x="27" y="305"/>
                      </a:lnTo>
                      <a:lnTo>
                        <a:pt x="24" y="303"/>
                      </a:lnTo>
                      <a:lnTo>
                        <a:pt x="22" y="300"/>
                      </a:lnTo>
                      <a:lnTo>
                        <a:pt x="19" y="298"/>
                      </a:lnTo>
                      <a:lnTo>
                        <a:pt x="17" y="295"/>
                      </a:lnTo>
                      <a:lnTo>
                        <a:pt x="17" y="292"/>
                      </a:lnTo>
                      <a:lnTo>
                        <a:pt x="15" y="288"/>
                      </a:lnTo>
                      <a:lnTo>
                        <a:pt x="14" y="288"/>
                      </a:lnTo>
                      <a:lnTo>
                        <a:pt x="12" y="288"/>
                      </a:lnTo>
                      <a:lnTo>
                        <a:pt x="14" y="287"/>
                      </a:lnTo>
                      <a:lnTo>
                        <a:pt x="12" y="285"/>
                      </a:lnTo>
                      <a:lnTo>
                        <a:pt x="12" y="283"/>
                      </a:lnTo>
                      <a:lnTo>
                        <a:pt x="14" y="281"/>
                      </a:lnTo>
                      <a:lnTo>
                        <a:pt x="14" y="278"/>
                      </a:lnTo>
                      <a:lnTo>
                        <a:pt x="10" y="278"/>
                      </a:lnTo>
                      <a:lnTo>
                        <a:pt x="10" y="276"/>
                      </a:lnTo>
                      <a:lnTo>
                        <a:pt x="10" y="275"/>
                      </a:lnTo>
                      <a:lnTo>
                        <a:pt x="10" y="273"/>
                      </a:lnTo>
                      <a:lnTo>
                        <a:pt x="9" y="273"/>
                      </a:lnTo>
                      <a:lnTo>
                        <a:pt x="5" y="271"/>
                      </a:lnTo>
                      <a:lnTo>
                        <a:pt x="9" y="270"/>
                      </a:lnTo>
                      <a:lnTo>
                        <a:pt x="9" y="268"/>
                      </a:lnTo>
                      <a:lnTo>
                        <a:pt x="7" y="268"/>
                      </a:lnTo>
                      <a:lnTo>
                        <a:pt x="9" y="266"/>
                      </a:lnTo>
                      <a:lnTo>
                        <a:pt x="7" y="265"/>
                      </a:lnTo>
                      <a:lnTo>
                        <a:pt x="7" y="266"/>
                      </a:lnTo>
                      <a:lnTo>
                        <a:pt x="5" y="268"/>
                      </a:lnTo>
                      <a:lnTo>
                        <a:pt x="5" y="266"/>
                      </a:lnTo>
                      <a:lnTo>
                        <a:pt x="5" y="265"/>
                      </a:lnTo>
                      <a:lnTo>
                        <a:pt x="4" y="265"/>
                      </a:lnTo>
                      <a:lnTo>
                        <a:pt x="2" y="263"/>
                      </a:lnTo>
                      <a:lnTo>
                        <a:pt x="2" y="261"/>
                      </a:lnTo>
                      <a:lnTo>
                        <a:pt x="2" y="258"/>
                      </a:lnTo>
                      <a:lnTo>
                        <a:pt x="2" y="256"/>
                      </a:lnTo>
                      <a:lnTo>
                        <a:pt x="0" y="254"/>
                      </a:lnTo>
                      <a:lnTo>
                        <a:pt x="0" y="253"/>
                      </a:lnTo>
                      <a:lnTo>
                        <a:pt x="2" y="249"/>
                      </a:lnTo>
                      <a:lnTo>
                        <a:pt x="4" y="249"/>
                      </a:lnTo>
                      <a:lnTo>
                        <a:pt x="4" y="251"/>
                      </a:lnTo>
                      <a:lnTo>
                        <a:pt x="4" y="254"/>
                      </a:lnTo>
                      <a:lnTo>
                        <a:pt x="5" y="253"/>
                      </a:lnTo>
                      <a:lnTo>
                        <a:pt x="5" y="254"/>
                      </a:lnTo>
                      <a:lnTo>
                        <a:pt x="9" y="253"/>
                      </a:lnTo>
                      <a:lnTo>
                        <a:pt x="10" y="244"/>
                      </a:lnTo>
                      <a:lnTo>
                        <a:pt x="9" y="243"/>
                      </a:lnTo>
                      <a:lnTo>
                        <a:pt x="9" y="239"/>
                      </a:lnTo>
                      <a:lnTo>
                        <a:pt x="10" y="238"/>
                      </a:lnTo>
                      <a:lnTo>
                        <a:pt x="12" y="234"/>
                      </a:lnTo>
                      <a:lnTo>
                        <a:pt x="12" y="231"/>
                      </a:lnTo>
                      <a:lnTo>
                        <a:pt x="15" y="231"/>
                      </a:lnTo>
                      <a:lnTo>
                        <a:pt x="21" y="229"/>
                      </a:lnTo>
                      <a:lnTo>
                        <a:pt x="22" y="226"/>
                      </a:lnTo>
                      <a:lnTo>
                        <a:pt x="22" y="224"/>
                      </a:lnTo>
                      <a:lnTo>
                        <a:pt x="21" y="222"/>
                      </a:lnTo>
                      <a:lnTo>
                        <a:pt x="22" y="217"/>
                      </a:lnTo>
                      <a:lnTo>
                        <a:pt x="24" y="216"/>
                      </a:lnTo>
                      <a:lnTo>
                        <a:pt x="22" y="214"/>
                      </a:lnTo>
                      <a:lnTo>
                        <a:pt x="21" y="209"/>
                      </a:lnTo>
                      <a:lnTo>
                        <a:pt x="17" y="206"/>
                      </a:lnTo>
                      <a:lnTo>
                        <a:pt x="19" y="204"/>
                      </a:lnTo>
                      <a:lnTo>
                        <a:pt x="22" y="202"/>
                      </a:lnTo>
                      <a:lnTo>
                        <a:pt x="26" y="201"/>
                      </a:lnTo>
                      <a:lnTo>
                        <a:pt x="27" y="197"/>
                      </a:lnTo>
                      <a:lnTo>
                        <a:pt x="27" y="192"/>
                      </a:lnTo>
                      <a:lnTo>
                        <a:pt x="21" y="189"/>
                      </a:lnTo>
                      <a:lnTo>
                        <a:pt x="19" y="185"/>
                      </a:lnTo>
                      <a:lnTo>
                        <a:pt x="17" y="182"/>
                      </a:lnTo>
                      <a:lnTo>
                        <a:pt x="17" y="177"/>
                      </a:lnTo>
                      <a:lnTo>
                        <a:pt x="19" y="174"/>
                      </a:lnTo>
                      <a:lnTo>
                        <a:pt x="17" y="170"/>
                      </a:lnTo>
                      <a:lnTo>
                        <a:pt x="15" y="170"/>
                      </a:lnTo>
                      <a:lnTo>
                        <a:pt x="15" y="167"/>
                      </a:lnTo>
                      <a:lnTo>
                        <a:pt x="17" y="165"/>
                      </a:lnTo>
                      <a:lnTo>
                        <a:pt x="17" y="163"/>
                      </a:lnTo>
                      <a:lnTo>
                        <a:pt x="17" y="162"/>
                      </a:lnTo>
                      <a:lnTo>
                        <a:pt x="17" y="158"/>
                      </a:lnTo>
                      <a:lnTo>
                        <a:pt x="19" y="157"/>
                      </a:lnTo>
                      <a:lnTo>
                        <a:pt x="21" y="155"/>
                      </a:lnTo>
                      <a:lnTo>
                        <a:pt x="19" y="153"/>
                      </a:lnTo>
                      <a:lnTo>
                        <a:pt x="17" y="152"/>
                      </a:lnTo>
                      <a:lnTo>
                        <a:pt x="15" y="147"/>
                      </a:lnTo>
                      <a:lnTo>
                        <a:pt x="17" y="143"/>
                      </a:lnTo>
                      <a:lnTo>
                        <a:pt x="19" y="140"/>
                      </a:lnTo>
                      <a:lnTo>
                        <a:pt x="22" y="136"/>
                      </a:lnTo>
                      <a:lnTo>
                        <a:pt x="26" y="135"/>
                      </a:lnTo>
                      <a:lnTo>
                        <a:pt x="31" y="131"/>
                      </a:lnTo>
                      <a:lnTo>
                        <a:pt x="37" y="131"/>
                      </a:lnTo>
                      <a:lnTo>
                        <a:pt x="42" y="131"/>
                      </a:lnTo>
                      <a:lnTo>
                        <a:pt x="46" y="131"/>
                      </a:lnTo>
                      <a:lnTo>
                        <a:pt x="49" y="130"/>
                      </a:lnTo>
                      <a:lnTo>
                        <a:pt x="49" y="126"/>
                      </a:lnTo>
                      <a:lnTo>
                        <a:pt x="49" y="123"/>
                      </a:lnTo>
                      <a:lnTo>
                        <a:pt x="47" y="121"/>
                      </a:lnTo>
                      <a:lnTo>
                        <a:pt x="44" y="118"/>
                      </a:lnTo>
                      <a:lnTo>
                        <a:pt x="42" y="116"/>
                      </a:lnTo>
                      <a:lnTo>
                        <a:pt x="46" y="113"/>
                      </a:lnTo>
                      <a:lnTo>
                        <a:pt x="49" y="110"/>
                      </a:lnTo>
                      <a:lnTo>
                        <a:pt x="53" y="104"/>
                      </a:lnTo>
                      <a:lnTo>
                        <a:pt x="54" y="103"/>
                      </a:lnTo>
                      <a:lnTo>
                        <a:pt x="56" y="93"/>
                      </a:lnTo>
                      <a:lnTo>
                        <a:pt x="56" y="86"/>
                      </a:lnTo>
                      <a:lnTo>
                        <a:pt x="56" y="83"/>
                      </a:lnTo>
                      <a:lnTo>
                        <a:pt x="56" y="79"/>
                      </a:lnTo>
                      <a:lnTo>
                        <a:pt x="58" y="79"/>
                      </a:lnTo>
                      <a:lnTo>
                        <a:pt x="61" y="79"/>
                      </a:lnTo>
                      <a:lnTo>
                        <a:pt x="64" y="77"/>
                      </a:lnTo>
                      <a:lnTo>
                        <a:pt x="66" y="76"/>
                      </a:lnTo>
                      <a:lnTo>
                        <a:pt x="68" y="74"/>
                      </a:lnTo>
                      <a:lnTo>
                        <a:pt x="68" y="71"/>
                      </a:lnTo>
                      <a:lnTo>
                        <a:pt x="69" y="67"/>
                      </a:lnTo>
                      <a:lnTo>
                        <a:pt x="73" y="64"/>
                      </a:lnTo>
                      <a:lnTo>
                        <a:pt x="76" y="61"/>
                      </a:lnTo>
                      <a:lnTo>
                        <a:pt x="78" y="59"/>
                      </a:lnTo>
                      <a:lnTo>
                        <a:pt x="83" y="56"/>
                      </a:lnTo>
                      <a:lnTo>
                        <a:pt x="85" y="54"/>
                      </a:lnTo>
                      <a:lnTo>
                        <a:pt x="85" y="52"/>
                      </a:lnTo>
                      <a:lnTo>
                        <a:pt x="85" y="51"/>
                      </a:lnTo>
                      <a:lnTo>
                        <a:pt x="83" y="47"/>
                      </a:lnTo>
                      <a:lnTo>
                        <a:pt x="81" y="45"/>
                      </a:lnTo>
                      <a:lnTo>
                        <a:pt x="81" y="44"/>
                      </a:lnTo>
                      <a:lnTo>
                        <a:pt x="86" y="40"/>
                      </a:lnTo>
                      <a:lnTo>
                        <a:pt x="88" y="39"/>
                      </a:lnTo>
                      <a:lnTo>
                        <a:pt x="88" y="35"/>
                      </a:lnTo>
                      <a:lnTo>
                        <a:pt x="90" y="32"/>
                      </a:lnTo>
                      <a:lnTo>
                        <a:pt x="91" y="30"/>
                      </a:lnTo>
                      <a:lnTo>
                        <a:pt x="95" y="29"/>
                      </a:lnTo>
                      <a:lnTo>
                        <a:pt x="96" y="27"/>
                      </a:lnTo>
                      <a:lnTo>
                        <a:pt x="100" y="27"/>
                      </a:lnTo>
                      <a:lnTo>
                        <a:pt x="103" y="27"/>
                      </a:lnTo>
                      <a:lnTo>
                        <a:pt x="107" y="30"/>
                      </a:lnTo>
                      <a:lnTo>
                        <a:pt x="108" y="30"/>
                      </a:lnTo>
                      <a:lnTo>
                        <a:pt x="110" y="27"/>
                      </a:lnTo>
                      <a:lnTo>
                        <a:pt x="112" y="24"/>
                      </a:lnTo>
                      <a:lnTo>
                        <a:pt x="112" y="22"/>
                      </a:lnTo>
                      <a:lnTo>
                        <a:pt x="112" y="20"/>
                      </a:lnTo>
                      <a:lnTo>
                        <a:pt x="112" y="17"/>
                      </a:lnTo>
                      <a:lnTo>
                        <a:pt x="113" y="15"/>
                      </a:lnTo>
                      <a:lnTo>
                        <a:pt x="115" y="15"/>
                      </a:lnTo>
                      <a:lnTo>
                        <a:pt x="117" y="15"/>
                      </a:lnTo>
                      <a:lnTo>
                        <a:pt x="120" y="15"/>
                      </a:lnTo>
                      <a:lnTo>
                        <a:pt x="123" y="15"/>
                      </a:lnTo>
                      <a:lnTo>
                        <a:pt x="127" y="15"/>
                      </a:lnTo>
                      <a:lnTo>
                        <a:pt x="128" y="15"/>
                      </a:lnTo>
                      <a:lnTo>
                        <a:pt x="132" y="17"/>
                      </a:lnTo>
                      <a:lnTo>
                        <a:pt x="133" y="17"/>
                      </a:lnTo>
                      <a:lnTo>
                        <a:pt x="137" y="17"/>
                      </a:lnTo>
                      <a:lnTo>
                        <a:pt x="139" y="18"/>
                      </a:lnTo>
                      <a:lnTo>
                        <a:pt x="140" y="17"/>
                      </a:lnTo>
                      <a:lnTo>
                        <a:pt x="142" y="17"/>
                      </a:lnTo>
                      <a:lnTo>
                        <a:pt x="142" y="15"/>
                      </a:lnTo>
                      <a:lnTo>
                        <a:pt x="140" y="15"/>
                      </a:lnTo>
                      <a:lnTo>
                        <a:pt x="140" y="12"/>
                      </a:lnTo>
                      <a:lnTo>
                        <a:pt x="142" y="10"/>
                      </a:lnTo>
                      <a:lnTo>
                        <a:pt x="142" y="8"/>
                      </a:lnTo>
                      <a:lnTo>
                        <a:pt x="144" y="7"/>
                      </a:lnTo>
                      <a:lnTo>
                        <a:pt x="144" y="5"/>
                      </a:lnTo>
                      <a:lnTo>
                        <a:pt x="144" y="3"/>
                      </a:lnTo>
                      <a:lnTo>
                        <a:pt x="142" y="2"/>
                      </a:lnTo>
                      <a:lnTo>
                        <a:pt x="142" y="0"/>
                      </a:lnTo>
                      <a:lnTo>
                        <a:pt x="144" y="0"/>
                      </a:lnTo>
                      <a:lnTo>
                        <a:pt x="145" y="0"/>
                      </a:lnTo>
                      <a:lnTo>
                        <a:pt x="147" y="0"/>
                      </a:lnTo>
                      <a:lnTo>
                        <a:pt x="149" y="0"/>
                      </a:lnTo>
                      <a:lnTo>
                        <a:pt x="150" y="0"/>
                      </a:lnTo>
                      <a:lnTo>
                        <a:pt x="152" y="2"/>
                      </a:lnTo>
                      <a:lnTo>
                        <a:pt x="154" y="3"/>
                      </a:lnTo>
                      <a:lnTo>
                        <a:pt x="155" y="3"/>
                      </a:lnTo>
                      <a:lnTo>
                        <a:pt x="159" y="7"/>
                      </a:lnTo>
                      <a:lnTo>
                        <a:pt x="164" y="10"/>
                      </a:lnTo>
                      <a:lnTo>
                        <a:pt x="167" y="12"/>
                      </a:lnTo>
                      <a:lnTo>
                        <a:pt x="172" y="15"/>
                      </a:lnTo>
                      <a:lnTo>
                        <a:pt x="177" y="15"/>
                      </a:lnTo>
                      <a:lnTo>
                        <a:pt x="182" y="17"/>
                      </a:lnTo>
                      <a:lnTo>
                        <a:pt x="187" y="20"/>
                      </a:lnTo>
                      <a:lnTo>
                        <a:pt x="191" y="24"/>
                      </a:lnTo>
                      <a:lnTo>
                        <a:pt x="194" y="27"/>
                      </a:lnTo>
                      <a:lnTo>
                        <a:pt x="196" y="30"/>
                      </a:lnTo>
                      <a:lnTo>
                        <a:pt x="198" y="32"/>
                      </a:lnTo>
                      <a:lnTo>
                        <a:pt x="196" y="34"/>
                      </a:lnTo>
                      <a:lnTo>
                        <a:pt x="196" y="37"/>
                      </a:lnTo>
                      <a:lnTo>
                        <a:pt x="196" y="40"/>
                      </a:lnTo>
                      <a:lnTo>
                        <a:pt x="196" y="44"/>
                      </a:lnTo>
                      <a:lnTo>
                        <a:pt x="198" y="44"/>
                      </a:lnTo>
                      <a:lnTo>
                        <a:pt x="198" y="47"/>
                      </a:lnTo>
                      <a:lnTo>
                        <a:pt x="198" y="49"/>
                      </a:lnTo>
                      <a:lnTo>
                        <a:pt x="196" y="51"/>
                      </a:lnTo>
                      <a:lnTo>
                        <a:pt x="196" y="54"/>
                      </a:lnTo>
                      <a:lnTo>
                        <a:pt x="199" y="57"/>
                      </a:lnTo>
                      <a:lnTo>
                        <a:pt x="201" y="61"/>
                      </a:lnTo>
                      <a:lnTo>
                        <a:pt x="203" y="62"/>
                      </a:lnTo>
                      <a:lnTo>
                        <a:pt x="203" y="66"/>
                      </a:lnTo>
                      <a:lnTo>
                        <a:pt x="203" y="67"/>
                      </a:lnTo>
                      <a:lnTo>
                        <a:pt x="199" y="69"/>
                      </a:lnTo>
                      <a:lnTo>
                        <a:pt x="199" y="72"/>
                      </a:lnTo>
                      <a:lnTo>
                        <a:pt x="199" y="77"/>
                      </a:lnTo>
                      <a:lnTo>
                        <a:pt x="203" y="81"/>
                      </a:lnTo>
                      <a:lnTo>
                        <a:pt x="204" y="83"/>
                      </a:lnTo>
                      <a:lnTo>
                        <a:pt x="204" y="86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57" name="Freeform 131">
                  <a:extLst>
                    <a:ext uri="{FF2B5EF4-FFF2-40B4-BE49-F238E27FC236}">
                      <a16:creationId xmlns:a16="http://schemas.microsoft.com/office/drawing/2014/main" id="{6B83CB1B-8673-F744-8CF0-1FEDD991FB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2" y="57"/>
                  <a:ext cx="204" cy="332"/>
                </a:xfrm>
                <a:custGeom>
                  <a:avLst/>
                  <a:gdLst>
                    <a:gd name="T0" fmla="*/ 191 w 204"/>
                    <a:gd name="T1" fmla="*/ 86 h 332"/>
                    <a:gd name="T2" fmla="*/ 181 w 204"/>
                    <a:gd name="T3" fmla="*/ 86 h 332"/>
                    <a:gd name="T4" fmla="*/ 174 w 204"/>
                    <a:gd name="T5" fmla="*/ 89 h 332"/>
                    <a:gd name="T6" fmla="*/ 171 w 204"/>
                    <a:gd name="T7" fmla="*/ 96 h 332"/>
                    <a:gd name="T8" fmla="*/ 164 w 204"/>
                    <a:gd name="T9" fmla="*/ 101 h 332"/>
                    <a:gd name="T10" fmla="*/ 160 w 204"/>
                    <a:gd name="T11" fmla="*/ 115 h 332"/>
                    <a:gd name="T12" fmla="*/ 162 w 204"/>
                    <a:gd name="T13" fmla="*/ 123 h 332"/>
                    <a:gd name="T14" fmla="*/ 154 w 204"/>
                    <a:gd name="T15" fmla="*/ 130 h 332"/>
                    <a:gd name="T16" fmla="*/ 144 w 204"/>
                    <a:gd name="T17" fmla="*/ 140 h 332"/>
                    <a:gd name="T18" fmla="*/ 128 w 204"/>
                    <a:gd name="T19" fmla="*/ 145 h 332"/>
                    <a:gd name="T20" fmla="*/ 118 w 204"/>
                    <a:gd name="T21" fmla="*/ 153 h 332"/>
                    <a:gd name="T22" fmla="*/ 113 w 204"/>
                    <a:gd name="T23" fmla="*/ 158 h 332"/>
                    <a:gd name="T24" fmla="*/ 105 w 204"/>
                    <a:gd name="T25" fmla="*/ 160 h 332"/>
                    <a:gd name="T26" fmla="*/ 98 w 204"/>
                    <a:gd name="T27" fmla="*/ 169 h 332"/>
                    <a:gd name="T28" fmla="*/ 98 w 204"/>
                    <a:gd name="T29" fmla="*/ 185 h 332"/>
                    <a:gd name="T30" fmla="*/ 95 w 204"/>
                    <a:gd name="T31" fmla="*/ 194 h 332"/>
                    <a:gd name="T32" fmla="*/ 96 w 204"/>
                    <a:gd name="T33" fmla="*/ 211 h 332"/>
                    <a:gd name="T34" fmla="*/ 86 w 204"/>
                    <a:gd name="T35" fmla="*/ 222 h 332"/>
                    <a:gd name="T36" fmla="*/ 96 w 204"/>
                    <a:gd name="T37" fmla="*/ 221 h 332"/>
                    <a:gd name="T38" fmla="*/ 108 w 204"/>
                    <a:gd name="T39" fmla="*/ 217 h 332"/>
                    <a:gd name="T40" fmla="*/ 120 w 204"/>
                    <a:gd name="T41" fmla="*/ 228 h 332"/>
                    <a:gd name="T42" fmla="*/ 113 w 204"/>
                    <a:gd name="T43" fmla="*/ 241 h 332"/>
                    <a:gd name="T44" fmla="*/ 95 w 204"/>
                    <a:gd name="T45" fmla="*/ 241 h 332"/>
                    <a:gd name="T46" fmla="*/ 83 w 204"/>
                    <a:gd name="T47" fmla="*/ 241 h 332"/>
                    <a:gd name="T48" fmla="*/ 107 w 204"/>
                    <a:gd name="T49" fmla="*/ 244 h 332"/>
                    <a:gd name="T50" fmla="*/ 112 w 204"/>
                    <a:gd name="T51" fmla="*/ 244 h 332"/>
                    <a:gd name="T52" fmla="*/ 101 w 204"/>
                    <a:gd name="T53" fmla="*/ 249 h 332"/>
                    <a:gd name="T54" fmla="*/ 90 w 204"/>
                    <a:gd name="T55" fmla="*/ 260 h 332"/>
                    <a:gd name="T56" fmla="*/ 90 w 204"/>
                    <a:gd name="T57" fmla="*/ 265 h 332"/>
                    <a:gd name="T58" fmla="*/ 88 w 204"/>
                    <a:gd name="T59" fmla="*/ 271 h 332"/>
                    <a:gd name="T60" fmla="*/ 86 w 204"/>
                    <a:gd name="T61" fmla="*/ 278 h 332"/>
                    <a:gd name="T62" fmla="*/ 83 w 204"/>
                    <a:gd name="T63" fmla="*/ 298 h 332"/>
                    <a:gd name="T64" fmla="*/ 63 w 204"/>
                    <a:gd name="T65" fmla="*/ 315 h 332"/>
                    <a:gd name="T66" fmla="*/ 49 w 204"/>
                    <a:gd name="T67" fmla="*/ 332 h 332"/>
                    <a:gd name="T68" fmla="*/ 29 w 204"/>
                    <a:gd name="T69" fmla="*/ 330 h 332"/>
                    <a:gd name="T70" fmla="*/ 22 w 204"/>
                    <a:gd name="T71" fmla="*/ 314 h 332"/>
                    <a:gd name="T72" fmla="*/ 29 w 204"/>
                    <a:gd name="T73" fmla="*/ 308 h 332"/>
                    <a:gd name="T74" fmla="*/ 15 w 204"/>
                    <a:gd name="T75" fmla="*/ 288 h 332"/>
                    <a:gd name="T76" fmla="*/ 10 w 204"/>
                    <a:gd name="T77" fmla="*/ 278 h 332"/>
                    <a:gd name="T78" fmla="*/ 7 w 204"/>
                    <a:gd name="T79" fmla="*/ 268 h 332"/>
                    <a:gd name="T80" fmla="*/ 2 w 204"/>
                    <a:gd name="T81" fmla="*/ 263 h 332"/>
                    <a:gd name="T82" fmla="*/ 4 w 204"/>
                    <a:gd name="T83" fmla="*/ 251 h 332"/>
                    <a:gd name="T84" fmla="*/ 10 w 204"/>
                    <a:gd name="T85" fmla="*/ 238 h 332"/>
                    <a:gd name="T86" fmla="*/ 22 w 204"/>
                    <a:gd name="T87" fmla="*/ 217 h 332"/>
                    <a:gd name="T88" fmla="*/ 27 w 204"/>
                    <a:gd name="T89" fmla="*/ 197 h 332"/>
                    <a:gd name="T90" fmla="*/ 15 w 204"/>
                    <a:gd name="T91" fmla="*/ 170 h 332"/>
                    <a:gd name="T92" fmla="*/ 19 w 204"/>
                    <a:gd name="T93" fmla="*/ 153 h 332"/>
                    <a:gd name="T94" fmla="*/ 37 w 204"/>
                    <a:gd name="T95" fmla="*/ 131 h 332"/>
                    <a:gd name="T96" fmla="*/ 42 w 204"/>
                    <a:gd name="T97" fmla="*/ 116 h 332"/>
                    <a:gd name="T98" fmla="*/ 56 w 204"/>
                    <a:gd name="T99" fmla="*/ 79 h 332"/>
                    <a:gd name="T100" fmla="*/ 73 w 204"/>
                    <a:gd name="T101" fmla="*/ 64 h 332"/>
                    <a:gd name="T102" fmla="*/ 81 w 204"/>
                    <a:gd name="T103" fmla="*/ 45 h 332"/>
                    <a:gd name="T104" fmla="*/ 96 w 204"/>
                    <a:gd name="T105" fmla="*/ 27 h 332"/>
                    <a:gd name="T106" fmla="*/ 112 w 204"/>
                    <a:gd name="T107" fmla="*/ 20 h 332"/>
                    <a:gd name="T108" fmla="*/ 128 w 204"/>
                    <a:gd name="T109" fmla="*/ 15 h 332"/>
                    <a:gd name="T110" fmla="*/ 140 w 204"/>
                    <a:gd name="T111" fmla="*/ 15 h 332"/>
                    <a:gd name="T112" fmla="*/ 142 w 204"/>
                    <a:gd name="T113" fmla="*/ 0 h 332"/>
                    <a:gd name="T114" fmla="*/ 155 w 204"/>
                    <a:gd name="T115" fmla="*/ 3 h 332"/>
                    <a:gd name="T116" fmla="*/ 191 w 204"/>
                    <a:gd name="T117" fmla="*/ 24 h 332"/>
                    <a:gd name="T118" fmla="*/ 198 w 204"/>
                    <a:gd name="T119" fmla="*/ 44 h 332"/>
                    <a:gd name="T120" fmla="*/ 203 w 204"/>
                    <a:gd name="T121" fmla="*/ 66 h 3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04" h="332">
                      <a:moveTo>
                        <a:pt x="204" y="86"/>
                      </a:moveTo>
                      <a:lnTo>
                        <a:pt x="203" y="86"/>
                      </a:lnTo>
                      <a:lnTo>
                        <a:pt x="203" y="88"/>
                      </a:lnTo>
                      <a:lnTo>
                        <a:pt x="201" y="86"/>
                      </a:lnTo>
                      <a:lnTo>
                        <a:pt x="198" y="86"/>
                      </a:lnTo>
                      <a:lnTo>
                        <a:pt x="196" y="86"/>
                      </a:lnTo>
                      <a:lnTo>
                        <a:pt x="192" y="86"/>
                      </a:lnTo>
                      <a:lnTo>
                        <a:pt x="191" y="86"/>
                      </a:lnTo>
                      <a:lnTo>
                        <a:pt x="189" y="88"/>
                      </a:lnTo>
                      <a:lnTo>
                        <a:pt x="187" y="88"/>
                      </a:lnTo>
                      <a:lnTo>
                        <a:pt x="186" y="88"/>
                      </a:lnTo>
                      <a:lnTo>
                        <a:pt x="186" y="86"/>
                      </a:lnTo>
                      <a:lnTo>
                        <a:pt x="184" y="84"/>
                      </a:lnTo>
                      <a:lnTo>
                        <a:pt x="182" y="84"/>
                      </a:lnTo>
                      <a:lnTo>
                        <a:pt x="182" y="86"/>
                      </a:lnTo>
                      <a:lnTo>
                        <a:pt x="181" y="86"/>
                      </a:lnTo>
                      <a:lnTo>
                        <a:pt x="179" y="86"/>
                      </a:lnTo>
                      <a:lnTo>
                        <a:pt x="179" y="84"/>
                      </a:lnTo>
                      <a:lnTo>
                        <a:pt x="177" y="84"/>
                      </a:lnTo>
                      <a:lnTo>
                        <a:pt x="177" y="86"/>
                      </a:lnTo>
                      <a:lnTo>
                        <a:pt x="177" y="89"/>
                      </a:lnTo>
                      <a:lnTo>
                        <a:pt x="176" y="89"/>
                      </a:lnTo>
                      <a:lnTo>
                        <a:pt x="176" y="91"/>
                      </a:lnTo>
                      <a:lnTo>
                        <a:pt x="174" y="89"/>
                      </a:lnTo>
                      <a:lnTo>
                        <a:pt x="172" y="89"/>
                      </a:lnTo>
                      <a:lnTo>
                        <a:pt x="171" y="89"/>
                      </a:lnTo>
                      <a:lnTo>
                        <a:pt x="172" y="91"/>
                      </a:lnTo>
                      <a:lnTo>
                        <a:pt x="174" y="93"/>
                      </a:lnTo>
                      <a:lnTo>
                        <a:pt x="172" y="93"/>
                      </a:lnTo>
                      <a:lnTo>
                        <a:pt x="171" y="93"/>
                      </a:lnTo>
                      <a:lnTo>
                        <a:pt x="171" y="94"/>
                      </a:lnTo>
                      <a:lnTo>
                        <a:pt x="171" y="96"/>
                      </a:lnTo>
                      <a:lnTo>
                        <a:pt x="169" y="96"/>
                      </a:lnTo>
                      <a:lnTo>
                        <a:pt x="167" y="96"/>
                      </a:lnTo>
                      <a:lnTo>
                        <a:pt x="166" y="96"/>
                      </a:lnTo>
                      <a:lnTo>
                        <a:pt x="166" y="98"/>
                      </a:lnTo>
                      <a:lnTo>
                        <a:pt x="162" y="98"/>
                      </a:lnTo>
                      <a:lnTo>
                        <a:pt x="162" y="99"/>
                      </a:lnTo>
                      <a:lnTo>
                        <a:pt x="164" y="99"/>
                      </a:lnTo>
                      <a:lnTo>
                        <a:pt x="164" y="101"/>
                      </a:lnTo>
                      <a:lnTo>
                        <a:pt x="166" y="103"/>
                      </a:lnTo>
                      <a:lnTo>
                        <a:pt x="164" y="104"/>
                      </a:lnTo>
                      <a:lnTo>
                        <a:pt x="164" y="106"/>
                      </a:lnTo>
                      <a:lnTo>
                        <a:pt x="162" y="108"/>
                      </a:lnTo>
                      <a:lnTo>
                        <a:pt x="160" y="110"/>
                      </a:lnTo>
                      <a:lnTo>
                        <a:pt x="159" y="111"/>
                      </a:lnTo>
                      <a:lnTo>
                        <a:pt x="159" y="113"/>
                      </a:lnTo>
                      <a:lnTo>
                        <a:pt x="160" y="115"/>
                      </a:lnTo>
                      <a:lnTo>
                        <a:pt x="159" y="115"/>
                      </a:lnTo>
                      <a:lnTo>
                        <a:pt x="160" y="116"/>
                      </a:lnTo>
                      <a:lnTo>
                        <a:pt x="162" y="118"/>
                      </a:lnTo>
                      <a:lnTo>
                        <a:pt x="164" y="120"/>
                      </a:lnTo>
                      <a:lnTo>
                        <a:pt x="166" y="121"/>
                      </a:lnTo>
                      <a:lnTo>
                        <a:pt x="164" y="123"/>
                      </a:lnTo>
                      <a:lnTo>
                        <a:pt x="162" y="125"/>
                      </a:lnTo>
                      <a:lnTo>
                        <a:pt x="162" y="123"/>
                      </a:lnTo>
                      <a:lnTo>
                        <a:pt x="162" y="121"/>
                      </a:lnTo>
                      <a:lnTo>
                        <a:pt x="160" y="123"/>
                      </a:lnTo>
                      <a:lnTo>
                        <a:pt x="160" y="125"/>
                      </a:lnTo>
                      <a:lnTo>
                        <a:pt x="159" y="125"/>
                      </a:lnTo>
                      <a:lnTo>
                        <a:pt x="159" y="126"/>
                      </a:lnTo>
                      <a:lnTo>
                        <a:pt x="157" y="128"/>
                      </a:lnTo>
                      <a:lnTo>
                        <a:pt x="155" y="130"/>
                      </a:lnTo>
                      <a:lnTo>
                        <a:pt x="154" y="130"/>
                      </a:lnTo>
                      <a:lnTo>
                        <a:pt x="154" y="131"/>
                      </a:lnTo>
                      <a:lnTo>
                        <a:pt x="152" y="135"/>
                      </a:lnTo>
                      <a:lnTo>
                        <a:pt x="150" y="136"/>
                      </a:lnTo>
                      <a:lnTo>
                        <a:pt x="149" y="136"/>
                      </a:lnTo>
                      <a:lnTo>
                        <a:pt x="149" y="138"/>
                      </a:lnTo>
                      <a:lnTo>
                        <a:pt x="147" y="138"/>
                      </a:lnTo>
                      <a:lnTo>
                        <a:pt x="145" y="140"/>
                      </a:lnTo>
                      <a:lnTo>
                        <a:pt x="144" y="140"/>
                      </a:lnTo>
                      <a:lnTo>
                        <a:pt x="142" y="140"/>
                      </a:lnTo>
                      <a:lnTo>
                        <a:pt x="139" y="142"/>
                      </a:lnTo>
                      <a:lnTo>
                        <a:pt x="139" y="143"/>
                      </a:lnTo>
                      <a:lnTo>
                        <a:pt x="137" y="143"/>
                      </a:lnTo>
                      <a:lnTo>
                        <a:pt x="135" y="145"/>
                      </a:lnTo>
                      <a:lnTo>
                        <a:pt x="133" y="143"/>
                      </a:lnTo>
                      <a:lnTo>
                        <a:pt x="132" y="145"/>
                      </a:lnTo>
                      <a:lnTo>
                        <a:pt x="128" y="145"/>
                      </a:lnTo>
                      <a:lnTo>
                        <a:pt x="128" y="148"/>
                      </a:lnTo>
                      <a:lnTo>
                        <a:pt x="127" y="148"/>
                      </a:lnTo>
                      <a:lnTo>
                        <a:pt x="125" y="150"/>
                      </a:lnTo>
                      <a:lnTo>
                        <a:pt x="122" y="148"/>
                      </a:lnTo>
                      <a:lnTo>
                        <a:pt x="120" y="150"/>
                      </a:lnTo>
                      <a:lnTo>
                        <a:pt x="120" y="152"/>
                      </a:lnTo>
                      <a:lnTo>
                        <a:pt x="118" y="152"/>
                      </a:lnTo>
                      <a:lnTo>
                        <a:pt x="118" y="153"/>
                      </a:lnTo>
                      <a:lnTo>
                        <a:pt x="115" y="155"/>
                      </a:lnTo>
                      <a:lnTo>
                        <a:pt x="117" y="155"/>
                      </a:lnTo>
                      <a:lnTo>
                        <a:pt x="115" y="157"/>
                      </a:lnTo>
                      <a:lnTo>
                        <a:pt x="113" y="157"/>
                      </a:lnTo>
                      <a:lnTo>
                        <a:pt x="112" y="157"/>
                      </a:lnTo>
                      <a:lnTo>
                        <a:pt x="113" y="157"/>
                      </a:lnTo>
                      <a:lnTo>
                        <a:pt x="115" y="158"/>
                      </a:lnTo>
                      <a:lnTo>
                        <a:pt x="113" y="158"/>
                      </a:lnTo>
                      <a:lnTo>
                        <a:pt x="113" y="160"/>
                      </a:lnTo>
                      <a:lnTo>
                        <a:pt x="112" y="160"/>
                      </a:lnTo>
                      <a:lnTo>
                        <a:pt x="110" y="162"/>
                      </a:lnTo>
                      <a:lnTo>
                        <a:pt x="108" y="162"/>
                      </a:lnTo>
                      <a:lnTo>
                        <a:pt x="107" y="160"/>
                      </a:lnTo>
                      <a:lnTo>
                        <a:pt x="105" y="160"/>
                      </a:lnTo>
                      <a:lnTo>
                        <a:pt x="105" y="158"/>
                      </a:lnTo>
                      <a:lnTo>
                        <a:pt x="105" y="160"/>
                      </a:lnTo>
                      <a:lnTo>
                        <a:pt x="107" y="163"/>
                      </a:lnTo>
                      <a:lnTo>
                        <a:pt x="107" y="165"/>
                      </a:lnTo>
                      <a:lnTo>
                        <a:pt x="105" y="165"/>
                      </a:lnTo>
                      <a:lnTo>
                        <a:pt x="107" y="167"/>
                      </a:lnTo>
                      <a:lnTo>
                        <a:pt x="105" y="169"/>
                      </a:lnTo>
                      <a:lnTo>
                        <a:pt x="103" y="170"/>
                      </a:lnTo>
                      <a:lnTo>
                        <a:pt x="100" y="169"/>
                      </a:lnTo>
                      <a:lnTo>
                        <a:pt x="98" y="169"/>
                      </a:lnTo>
                      <a:lnTo>
                        <a:pt x="98" y="172"/>
                      </a:lnTo>
                      <a:lnTo>
                        <a:pt x="98" y="174"/>
                      </a:lnTo>
                      <a:lnTo>
                        <a:pt x="101" y="175"/>
                      </a:lnTo>
                      <a:lnTo>
                        <a:pt x="100" y="177"/>
                      </a:lnTo>
                      <a:lnTo>
                        <a:pt x="100" y="179"/>
                      </a:lnTo>
                      <a:lnTo>
                        <a:pt x="98" y="182"/>
                      </a:lnTo>
                      <a:lnTo>
                        <a:pt x="98" y="184"/>
                      </a:lnTo>
                      <a:lnTo>
                        <a:pt x="98" y="185"/>
                      </a:lnTo>
                      <a:lnTo>
                        <a:pt x="100" y="187"/>
                      </a:lnTo>
                      <a:lnTo>
                        <a:pt x="100" y="189"/>
                      </a:lnTo>
                      <a:lnTo>
                        <a:pt x="98" y="189"/>
                      </a:lnTo>
                      <a:lnTo>
                        <a:pt x="95" y="187"/>
                      </a:lnTo>
                      <a:lnTo>
                        <a:pt x="95" y="189"/>
                      </a:lnTo>
                      <a:lnTo>
                        <a:pt x="95" y="190"/>
                      </a:lnTo>
                      <a:lnTo>
                        <a:pt x="93" y="192"/>
                      </a:lnTo>
                      <a:lnTo>
                        <a:pt x="95" y="194"/>
                      </a:lnTo>
                      <a:lnTo>
                        <a:pt x="95" y="195"/>
                      </a:lnTo>
                      <a:lnTo>
                        <a:pt x="95" y="197"/>
                      </a:lnTo>
                      <a:lnTo>
                        <a:pt x="95" y="199"/>
                      </a:lnTo>
                      <a:lnTo>
                        <a:pt x="95" y="201"/>
                      </a:lnTo>
                      <a:lnTo>
                        <a:pt x="95" y="204"/>
                      </a:lnTo>
                      <a:lnTo>
                        <a:pt x="95" y="206"/>
                      </a:lnTo>
                      <a:lnTo>
                        <a:pt x="96" y="207"/>
                      </a:lnTo>
                      <a:lnTo>
                        <a:pt x="96" y="211"/>
                      </a:lnTo>
                      <a:lnTo>
                        <a:pt x="95" y="212"/>
                      </a:lnTo>
                      <a:lnTo>
                        <a:pt x="98" y="212"/>
                      </a:lnTo>
                      <a:lnTo>
                        <a:pt x="98" y="216"/>
                      </a:lnTo>
                      <a:lnTo>
                        <a:pt x="96" y="217"/>
                      </a:lnTo>
                      <a:lnTo>
                        <a:pt x="95" y="219"/>
                      </a:lnTo>
                      <a:lnTo>
                        <a:pt x="91" y="221"/>
                      </a:lnTo>
                      <a:lnTo>
                        <a:pt x="90" y="221"/>
                      </a:lnTo>
                      <a:lnTo>
                        <a:pt x="86" y="222"/>
                      </a:lnTo>
                      <a:lnTo>
                        <a:pt x="83" y="224"/>
                      </a:lnTo>
                      <a:lnTo>
                        <a:pt x="81" y="224"/>
                      </a:lnTo>
                      <a:lnTo>
                        <a:pt x="83" y="226"/>
                      </a:lnTo>
                      <a:lnTo>
                        <a:pt x="86" y="224"/>
                      </a:lnTo>
                      <a:lnTo>
                        <a:pt x="90" y="224"/>
                      </a:lnTo>
                      <a:lnTo>
                        <a:pt x="91" y="224"/>
                      </a:lnTo>
                      <a:lnTo>
                        <a:pt x="93" y="222"/>
                      </a:lnTo>
                      <a:lnTo>
                        <a:pt x="96" y="221"/>
                      </a:lnTo>
                      <a:lnTo>
                        <a:pt x="98" y="217"/>
                      </a:lnTo>
                      <a:lnTo>
                        <a:pt x="100" y="216"/>
                      </a:lnTo>
                      <a:lnTo>
                        <a:pt x="100" y="214"/>
                      </a:lnTo>
                      <a:lnTo>
                        <a:pt x="101" y="214"/>
                      </a:lnTo>
                      <a:lnTo>
                        <a:pt x="103" y="216"/>
                      </a:lnTo>
                      <a:lnTo>
                        <a:pt x="105" y="216"/>
                      </a:lnTo>
                      <a:lnTo>
                        <a:pt x="108" y="216"/>
                      </a:lnTo>
                      <a:lnTo>
                        <a:pt x="108" y="217"/>
                      </a:lnTo>
                      <a:lnTo>
                        <a:pt x="110" y="219"/>
                      </a:lnTo>
                      <a:lnTo>
                        <a:pt x="112" y="221"/>
                      </a:lnTo>
                      <a:lnTo>
                        <a:pt x="115" y="221"/>
                      </a:lnTo>
                      <a:lnTo>
                        <a:pt x="115" y="222"/>
                      </a:lnTo>
                      <a:lnTo>
                        <a:pt x="113" y="222"/>
                      </a:lnTo>
                      <a:lnTo>
                        <a:pt x="115" y="224"/>
                      </a:lnTo>
                      <a:lnTo>
                        <a:pt x="117" y="226"/>
                      </a:lnTo>
                      <a:lnTo>
                        <a:pt x="120" y="228"/>
                      </a:lnTo>
                      <a:lnTo>
                        <a:pt x="122" y="229"/>
                      </a:lnTo>
                      <a:lnTo>
                        <a:pt x="122" y="231"/>
                      </a:lnTo>
                      <a:lnTo>
                        <a:pt x="120" y="233"/>
                      </a:lnTo>
                      <a:lnTo>
                        <a:pt x="120" y="234"/>
                      </a:lnTo>
                      <a:lnTo>
                        <a:pt x="118" y="236"/>
                      </a:lnTo>
                      <a:lnTo>
                        <a:pt x="117" y="238"/>
                      </a:lnTo>
                      <a:lnTo>
                        <a:pt x="117" y="239"/>
                      </a:lnTo>
                      <a:lnTo>
                        <a:pt x="113" y="241"/>
                      </a:lnTo>
                      <a:lnTo>
                        <a:pt x="108" y="243"/>
                      </a:lnTo>
                      <a:lnTo>
                        <a:pt x="107" y="243"/>
                      </a:lnTo>
                      <a:lnTo>
                        <a:pt x="105" y="243"/>
                      </a:lnTo>
                      <a:lnTo>
                        <a:pt x="103" y="239"/>
                      </a:lnTo>
                      <a:lnTo>
                        <a:pt x="101" y="241"/>
                      </a:lnTo>
                      <a:lnTo>
                        <a:pt x="100" y="239"/>
                      </a:lnTo>
                      <a:lnTo>
                        <a:pt x="98" y="239"/>
                      </a:lnTo>
                      <a:lnTo>
                        <a:pt x="95" y="241"/>
                      </a:lnTo>
                      <a:lnTo>
                        <a:pt x="93" y="238"/>
                      </a:lnTo>
                      <a:lnTo>
                        <a:pt x="93" y="239"/>
                      </a:lnTo>
                      <a:lnTo>
                        <a:pt x="90" y="238"/>
                      </a:lnTo>
                      <a:lnTo>
                        <a:pt x="86" y="239"/>
                      </a:lnTo>
                      <a:lnTo>
                        <a:pt x="85" y="238"/>
                      </a:lnTo>
                      <a:lnTo>
                        <a:pt x="83" y="239"/>
                      </a:lnTo>
                      <a:lnTo>
                        <a:pt x="81" y="241"/>
                      </a:lnTo>
                      <a:lnTo>
                        <a:pt x="83" y="241"/>
                      </a:lnTo>
                      <a:lnTo>
                        <a:pt x="88" y="241"/>
                      </a:lnTo>
                      <a:lnTo>
                        <a:pt x="91" y="241"/>
                      </a:lnTo>
                      <a:lnTo>
                        <a:pt x="95" y="243"/>
                      </a:lnTo>
                      <a:lnTo>
                        <a:pt x="96" y="244"/>
                      </a:lnTo>
                      <a:lnTo>
                        <a:pt x="96" y="246"/>
                      </a:lnTo>
                      <a:lnTo>
                        <a:pt x="98" y="244"/>
                      </a:lnTo>
                      <a:lnTo>
                        <a:pt x="101" y="244"/>
                      </a:lnTo>
                      <a:lnTo>
                        <a:pt x="107" y="244"/>
                      </a:lnTo>
                      <a:lnTo>
                        <a:pt x="112" y="244"/>
                      </a:lnTo>
                      <a:lnTo>
                        <a:pt x="115" y="243"/>
                      </a:lnTo>
                      <a:lnTo>
                        <a:pt x="117" y="243"/>
                      </a:lnTo>
                      <a:lnTo>
                        <a:pt x="117" y="244"/>
                      </a:lnTo>
                      <a:lnTo>
                        <a:pt x="115" y="244"/>
                      </a:lnTo>
                      <a:lnTo>
                        <a:pt x="115" y="246"/>
                      </a:lnTo>
                      <a:lnTo>
                        <a:pt x="113" y="246"/>
                      </a:lnTo>
                      <a:lnTo>
                        <a:pt x="112" y="244"/>
                      </a:lnTo>
                      <a:lnTo>
                        <a:pt x="112" y="246"/>
                      </a:lnTo>
                      <a:lnTo>
                        <a:pt x="113" y="248"/>
                      </a:lnTo>
                      <a:lnTo>
                        <a:pt x="108" y="251"/>
                      </a:lnTo>
                      <a:lnTo>
                        <a:pt x="107" y="253"/>
                      </a:lnTo>
                      <a:lnTo>
                        <a:pt x="105" y="253"/>
                      </a:lnTo>
                      <a:lnTo>
                        <a:pt x="103" y="253"/>
                      </a:lnTo>
                      <a:lnTo>
                        <a:pt x="103" y="251"/>
                      </a:lnTo>
                      <a:lnTo>
                        <a:pt x="101" y="249"/>
                      </a:lnTo>
                      <a:lnTo>
                        <a:pt x="101" y="253"/>
                      </a:lnTo>
                      <a:lnTo>
                        <a:pt x="100" y="254"/>
                      </a:lnTo>
                      <a:lnTo>
                        <a:pt x="98" y="256"/>
                      </a:lnTo>
                      <a:lnTo>
                        <a:pt x="96" y="256"/>
                      </a:lnTo>
                      <a:lnTo>
                        <a:pt x="95" y="256"/>
                      </a:lnTo>
                      <a:lnTo>
                        <a:pt x="93" y="256"/>
                      </a:lnTo>
                      <a:lnTo>
                        <a:pt x="91" y="260"/>
                      </a:lnTo>
                      <a:lnTo>
                        <a:pt x="90" y="260"/>
                      </a:lnTo>
                      <a:lnTo>
                        <a:pt x="86" y="260"/>
                      </a:lnTo>
                      <a:lnTo>
                        <a:pt x="80" y="260"/>
                      </a:lnTo>
                      <a:lnTo>
                        <a:pt x="81" y="260"/>
                      </a:lnTo>
                      <a:lnTo>
                        <a:pt x="83" y="260"/>
                      </a:lnTo>
                      <a:lnTo>
                        <a:pt x="85" y="261"/>
                      </a:lnTo>
                      <a:lnTo>
                        <a:pt x="88" y="261"/>
                      </a:lnTo>
                      <a:lnTo>
                        <a:pt x="90" y="263"/>
                      </a:lnTo>
                      <a:lnTo>
                        <a:pt x="90" y="265"/>
                      </a:lnTo>
                      <a:lnTo>
                        <a:pt x="86" y="265"/>
                      </a:lnTo>
                      <a:lnTo>
                        <a:pt x="85" y="263"/>
                      </a:lnTo>
                      <a:lnTo>
                        <a:pt x="83" y="263"/>
                      </a:lnTo>
                      <a:lnTo>
                        <a:pt x="86" y="265"/>
                      </a:lnTo>
                      <a:lnTo>
                        <a:pt x="88" y="266"/>
                      </a:lnTo>
                      <a:lnTo>
                        <a:pt x="88" y="268"/>
                      </a:lnTo>
                      <a:lnTo>
                        <a:pt x="88" y="270"/>
                      </a:lnTo>
                      <a:lnTo>
                        <a:pt x="88" y="271"/>
                      </a:lnTo>
                      <a:lnTo>
                        <a:pt x="88" y="273"/>
                      </a:lnTo>
                      <a:lnTo>
                        <a:pt x="86" y="275"/>
                      </a:lnTo>
                      <a:lnTo>
                        <a:pt x="88" y="276"/>
                      </a:lnTo>
                      <a:lnTo>
                        <a:pt x="86" y="276"/>
                      </a:lnTo>
                      <a:lnTo>
                        <a:pt x="85" y="275"/>
                      </a:lnTo>
                      <a:lnTo>
                        <a:pt x="85" y="276"/>
                      </a:lnTo>
                      <a:lnTo>
                        <a:pt x="85" y="278"/>
                      </a:lnTo>
                      <a:lnTo>
                        <a:pt x="86" y="278"/>
                      </a:lnTo>
                      <a:lnTo>
                        <a:pt x="86" y="281"/>
                      </a:lnTo>
                      <a:lnTo>
                        <a:pt x="85" y="283"/>
                      </a:lnTo>
                      <a:lnTo>
                        <a:pt x="86" y="285"/>
                      </a:lnTo>
                      <a:lnTo>
                        <a:pt x="86" y="287"/>
                      </a:lnTo>
                      <a:lnTo>
                        <a:pt x="85" y="290"/>
                      </a:lnTo>
                      <a:lnTo>
                        <a:pt x="83" y="292"/>
                      </a:lnTo>
                      <a:lnTo>
                        <a:pt x="85" y="295"/>
                      </a:lnTo>
                      <a:lnTo>
                        <a:pt x="83" y="298"/>
                      </a:lnTo>
                      <a:lnTo>
                        <a:pt x="83" y="302"/>
                      </a:lnTo>
                      <a:lnTo>
                        <a:pt x="80" y="307"/>
                      </a:lnTo>
                      <a:lnTo>
                        <a:pt x="78" y="312"/>
                      </a:lnTo>
                      <a:lnTo>
                        <a:pt x="76" y="315"/>
                      </a:lnTo>
                      <a:lnTo>
                        <a:pt x="73" y="315"/>
                      </a:lnTo>
                      <a:lnTo>
                        <a:pt x="69" y="315"/>
                      </a:lnTo>
                      <a:lnTo>
                        <a:pt x="66" y="315"/>
                      </a:lnTo>
                      <a:lnTo>
                        <a:pt x="63" y="315"/>
                      </a:lnTo>
                      <a:lnTo>
                        <a:pt x="59" y="315"/>
                      </a:lnTo>
                      <a:lnTo>
                        <a:pt x="56" y="315"/>
                      </a:lnTo>
                      <a:lnTo>
                        <a:pt x="56" y="319"/>
                      </a:lnTo>
                      <a:lnTo>
                        <a:pt x="53" y="317"/>
                      </a:lnTo>
                      <a:lnTo>
                        <a:pt x="51" y="320"/>
                      </a:lnTo>
                      <a:lnTo>
                        <a:pt x="49" y="324"/>
                      </a:lnTo>
                      <a:lnTo>
                        <a:pt x="51" y="329"/>
                      </a:lnTo>
                      <a:lnTo>
                        <a:pt x="49" y="332"/>
                      </a:lnTo>
                      <a:lnTo>
                        <a:pt x="47" y="332"/>
                      </a:lnTo>
                      <a:lnTo>
                        <a:pt x="44" y="330"/>
                      </a:lnTo>
                      <a:lnTo>
                        <a:pt x="39" y="332"/>
                      </a:lnTo>
                      <a:lnTo>
                        <a:pt x="34" y="332"/>
                      </a:lnTo>
                      <a:lnTo>
                        <a:pt x="31" y="332"/>
                      </a:lnTo>
                      <a:lnTo>
                        <a:pt x="27" y="332"/>
                      </a:lnTo>
                      <a:lnTo>
                        <a:pt x="27" y="330"/>
                      </a:lnTo>
                      <a:lnTo>
                        <a:pt x="29" y="330"/>
                      </a:lnTo>
                      <a:lnTo>
                        <a:pt x="29" y="329"/>
                      </a:lnTo>
                      <a:lnTo>
                        <a:pt x="31" y="327"/>
                      </a:lnTo>
                      <a:lnTo>
                        <a:pt x="29" y="325"/>
                      </a:lnTo>
                      <a:lnTo>
                        <a:pt x="27" y="322"/>
                      </a:lnTo>
                      <a:lnTo>
                        <a:pt x="26" y="319"/>
                      </a:lnTo>
                      <a:lnTo>
                        <a:pt x="24" y="317"/>
                      </a:lnTo>
                      <a:lnTo>
                        <a:pt x="22" y="315"/>
                      </a:lnTo>
                      <a:lnTo>
                        <a:pt x="22" y="314"/>
                      </a:lnTo>
                      <a:lnTo>
                        <a:pt x="24" y="314"/>
                      </a:lnTo>
                      <a:lnTo>
                        <a:pt x="27" y="314"/>
                      </a:lnTo>
                      <a:lnTo>
                        <a:pt x="26" y="314"/>
                      </a:lnTo>
                      <a:lnTo>
                        <a:pt x="26" y="312"/>
                      </a:lnTo>
                      <a:lnTo>
                        <a:pt x="24" y="310"/>
                      </a:lnTo>
                      <a:lnTo>
                        <a:pt x="26" y="310"/>
                      </a:lnTo>
                      <a:lnTo>
                        <a:pt x="27" y="310"/>
                      </a:lnTo>
                      <a:lnTo>
                        <a:pt x="29" y="308"/>
                      </a:lnTo>
                      <a:lnTo>
                        <a:pt x="29" y="307"/>
                      </a:lnTo>
                      <a:lnTo>
                        <a:pt x="27" y="305"/>
                      </a:lnTo>
                      <a:lnTo>
                        <a:pt x="24" y="303"/>
                      </a:lnTo>
                      <a:lnTo>
                        <a:pt x="22" y="300"/>
                      </a:lnTo>
                      <a:lnTo>
                        <a:pt x="19" y="298"/>
                      </a:lnTo>
                      <a:lnTo>
                        <a:pt x="17" y="295"/>
                      </a:lnTo>
                      <a:lnTo>
                        <a:pt x="17" y="292"/>
                      </a:lnTo>
                      <a:lnTo>
                        <a:pt x="15" y="288"/>
                      </a:lnTo>
                      <a:lnTo>
                        <a:pt x="14" y="288"/>
                      </a:lnTo>
                      <a:lnTo>
                        <a:pt x="12" y="288"/>
                      </a:lnTo>
                      <a:lnTo>
                        <a:pt x="14" y="287"/>
                      </a:lnTo>
                      <a:lnTo>
                        <a:pt x="12" y="285"/>
                      </a:lnTo>
                      <a:lnTo>
                        <a:pt x="12" y="283"/>
                      </a:lnTo>
                      <a:lnTo>
                        <a:pt x="14" y="281"/>
                      </a:lnTo>
                      <a:lnTo>
                        <a:pt x="14" y="278"/>
                      </a:lnTo>
                      <a:lnTo>
                        <a:pt x="10" y="278"/>
                      </a:lnTo>
                      <a:lnTo>
                        <a:pt x="10" y="276"/>
                      </a:lnTo>
                      <a:lnTo>
                        <a:pt x="10" y="275"/>
                      </a:lnTo>
                      <a:lnTo>
                        <a:pt x="10" y="273"/>
                      </a:lnTo>
                      <a:lnTo>
                        <a:pt x="9" y="273"/>
                      </a:lnTo>
                      <a:lnTo>
                        <a:pt x="5" y="271"/>
                      </a:lnTo>
                      <a:lnTo>
                        <a:pt x="9" y="270"/>
                      </a:lnTo>
                      <a:lnTo>
                        <a:pt x="9" y="268"/>
                      </a:lnTo>
                      <a:lnTo>
                        <a:pt x="7" y="268"/>
                      </a:lnTo>
                      <a:lnTo>
                        <a:pt x="9" y="266"/>
                      </a:lnTo>
                      <a:lnTo>
                        <a:pt x="7" y="265"/>
                      </a:lnTo>
                      <a:lnTo>
                        <a:pt x="7" y="266"/>
                      </a:lnTo>
                      <a:lnTo>
                        <a:pt x="5" y="268"/>
                      </a:lnTo>
                      <a:lnTo>
                        <a:pt x="5" y="266"/>
                      </a:lnTo>
                      <a:lnTo>
                        <a:pt x="5" y="265"/>
                      </a:lnTo>
                      <a:lnTo>
                        <a:pt x="4" y="265"/>
                      </a:lnTo>
                      <a:lnTo>
                        <a:pt x="2" y="263"/>
                      </a:lnTo>
                      <a:lnTo>
                        <a:pt x="2" y="261"/>
                      </a:lnTo>
                      <a:lnTo>
                        <a:pt x="2" y="258"/>
                      </a:lnTo>
                      <a:lnTo>
                        <a:pt x="2" y="256"/>
                      </a:lnTo>
                      <a:lnTo>
                        <a:pt x="0" y="254"/>
                      </a:lnTo>
                      <a:lnTo>
                        <a:pt x="0" y="253"/>
                      </a:lnTo>
                      <a:lnTo>
                        <a:pt x="2" y="249"/>
                      </a:lnTo>
                      <a:lnTo>
                        <a:pt x="4" y="249"/>
                      </a:lnTo>
                      <a:lnTo>
                        <a:pt x="4" y="251"/>
                      </a:lnTo>
                      <a:lnTo>
                        <a:pt x="4" y="254"/>
                      </a:lnTo>
                      <a:lnTo>
                        <a:pt x="5" y="253"/>
                      </a:lnTo>
                      <a:lnTo>
                        <a:pt x="5" y="254"/>
                      </a:lnTo>
                      <a:lnTo>
                        <a:pt x="9" y="253"/>
                      </a:lnTo>
                      <a:lnTo>
                        <a:pt x="10" y="244"/>
                      </a:lnTo>
                      <a:lnTo>
                        <a:pt x="9" y="243"/>
                      </a:lnTo>
                      <a:lnTo>
                        <a:pt x="9" y="239"/>
                      </a:lnTo>
                      <a:lnTo>
                        <a:pt x="10" y="238"/>
                      </a:lnTo>
                      <a:lnTo>
                        <a:pt x="12" y="234"/>
                      </a:lnTo>
                      <a:lnTo>
                        <a:pt x="12" y="231"/>
                      </a:lnTo>
                      <a:lnTo>
                        <a:pt x="15" y="231"/>
                      </a:lnTo>
                      <a:lnTo>
                        <a:pt x="21" y="229"/>
                      </a:lnTo>
                      <a:lnTo>
                        <a:pt x="22" y="226"/>
                      </a:lnTo>
                      <a:lnTo>
                        <a:pt x="22" y="224"/>
                      </a:lnTo>
                      <a:lnTo>
                        <a:pt x="21" y="222"/>
                      </a:lnTo>
                      <a:lnTo>
                        <a:pt x="22" y="217"/>
                      </a:lnTo>
                      <a:lnTo>
                        <a:pt x="24" y="216"/>
                      </a:lnTo>
                      <a:lnTo>
                        <a:pt x="22" y="214"/>
                      </a:lnTo>
                      <a:lnTo>
                        <a:pt x="21" y="209"/>
                      </a:lnTo>
                      <a:lnTo>
                        <a:pt x="17" y="206"/>
                      </a:lnTo>
                      <a:lnTo>
                        <a:pt x="19" y="204"/>
                      </a:lnTo>
                      <a:lnTo>
                        <a:pt x="22" y="202"/>
                      </a:lnTo>
                      <a:lnTo>
                        <a:pt x="26" y="201"/>
                      </a:lnTo>
                      <a:lnTo>
                        <a:pt x="27" y="197"/>
                      </a:lnTo>
                      <a:lnTo>
                        <a:pt x="27" y="192"/>
                      </a:lnTo>
                      <a:lnTo>
                        <a:pt x="21" y="189"/>
                      </a:lnTo>
                      <a:lnTo>
                        <a:pt x="19" y="185"/>
                      </a:lnTo>
                      <a:lnTo>
                        <a:pt x="17" y="182"/>
                      </a:lnTo>
                      <a:lnTo>
                        <a:pt x="17" y="177"/>
                      </a:lnTo>
                      <a:lnTo>
                        <a:pt x="19" y="174"/>
                      </a:lnTo>
                      <a:lnTo>
                        <a:pt x="17" y="170"/>
                      </a:lnTo>
                      <a:lnTo>
                        <a:pt x="15" y="170"/>
                      </a:lnTo>
                      <a:lnTo>
                        <a:pt x="15" y="167"/>
                      </a:lnTo>
                      <a:lnTo>
                        <a:pt x="17" y="165"/>
                      </a:lnTo>
                      <a:lnTo>
                        <a:pt x="17" y="163"/>
                      </a:lnTo>
                      <a:lnTo>
                        <a:pt x="17" y="162"/>
                      </a:lnTo>
                      <a:lnTo>
                        <a:pt x="17" y="158"/>
                      </a:lnTo>
                      <a:lnTo>
                        <a:pt x="19" y="157"/>
                      </a:lnTo>
                      <a:lnTo>
                        <a:pt x="21" y="155"/>
                      </a:lnTo>
                      <a:lnTo>
                        <a:pt x="19" y="153"/>
                      </a:lnTo>
                      <a:lnTo>
                        <a:pt x="17" y="152"/>
                      </a:lnTo>
                      <a:lnTo>
                        <a:pt x="15" y="147"/>
                      </a:lnTo>
                      <a:lnTo>
                        <a:pt x="17" y="143"/>
                      </a:lnTo>
                      <a:lnTo>
                        <a:pt x="19" y="140"/>
                      </a:lnTo>
                      <a:lnTo>
                        <a:pt x="22" y="136"/>
                      </a:lnTo>
                      <a:lnTo>
                        <a:pt x="26" y="135"/>
                      </a:lnTo>
                      <a:lnTo>
                        <a:pt x="31" y="131"/>
                      </a:lnTo>
                      <a:lnTo>
                        <a:pt x="37" y="131"/>
                      </a:lnTo>
                      <a:lnTo>
                        <a:pt x="42" y="131"/>
                      </a:lnTo>
                      <a:lnTo>
                        <a:pt x="46" y="131"/>
                      </a:lnTo>
                      <a:lnTo>
                        <a:pt x="49" y="130"/>
                      </a:lnTo>
                      <a:lnTo>
                        <a:pt x="49" y="126"/>
                      </a:lnTo>
                      <a:lnTo>
                        <a:pt x="49" y="123"/>
                      </a:lnTo>
                      <a:lnTo>
                        <a:pt x="47" y="121"/>
                      </a:lnTo>
                      <a:lnTo>
                        <a:pt x="44" y="118"/>
                      </a:lnTo>
                      <a:lnTo>
                        <a:pt x="42" y="116"/>
                      </a:lnTo>
                      <a:lnTo>
                        <a:pt x="46" y="113"/>
                      </a:lnTo>
                      <a:lnTo>
                        <a:pt x="49" y="110"/>
                      </a:lnTo>
                      <a:lnTo>
                        <a:pt x="53" y="104"/>
                      </a:lnTo>
                      <a:lnTo>
                        <a:pt x="54" y="103"/>
                      </a:lnTo>
                      <a:lnTo>
                        <a:pt x="56" y="93"/>
                      </a:lnTo>
                      <a:lnTo>
                        <a:pt x="56" y="86"/>
                      </a:lnTo>
                      <a:lnTo>
                        <a:pt x="56" y="83"/>
                      </a:lnTo>
                      <a:lnTo>
                        <a:pt x="56" y="79"/>
                      </a:lnTo>
                      <a:lnTo>
                        <a:pt x="58" y="79"/>
                      </a:lnTo>
                      <a:lnTo>
                        <a:pt x="61" y="79"/>
                      </a:lnTo>
                      <a:lnTo>
                        <a:pt x="64" y="77"/>
                      </a:lnTo>
                      <a:lnTo>
                        <a:pt x="66" y="76"/>
                      </a:lnTo>
                      <a:lnTo>
                        <a:pt x="68" y="74"/>
                      </a:lnTo>
                      <a:lnTo>
                        <a:pt x="68" y="71"/>
                      </a:lnTo>
                      <a:lnTo>
                        <a:pt x="69" y="67"/>
                      </a:lnTo>
                      <a:lnTo>
                        <a:pt x="73" y="64"/>
                      </a:lnTo>
                      <a:lnTo>
                        <a:pt x="76" y="61"/>
                      </a:lnTo>
                      <a:lnTo>
                        <a:pt x="78" y="59"/>
                      </a:lnTo>
                      <a:lnTo>
                        <a:pt x="83" y="56"/>
                      </a:lnTo>
                      <a:lnTo>
                        <a:pt x="85" y="54"/>
                      </a:lnTo>
                      <a:lnTo>
                        <a:pt x="85" y="52"/>
                      </a:lnTo>
                      <a:lnTo>
                        <a:pt x="85" y="51"/>
                      </a:lnTo>
                      <a:lnTo>
                        <a:pt x="83" y="47"/>
                      </a:lnTo>
                      <a:lnTo>
                        <a:pt x="81" y="45"/>
                      </a:lnTo>
                      <a:lnTo>
                        <a:pt x="81" y="44"/>
                      </a:lnTo>
                      <a:lnTo>
                        <a:pt x="86" y="40"/>
                      </a:lnTo>
                      <a:lnTo>
                        <a:pt x="88" y="39"/>
                      </a:lnTo>
                      <a:lnTo>
                        <a:pt x="88" y="35"/>
                      </a:lnTo>
                      <a:lnTo>
                        <a:pt x="90" y="32"/>
                      </a:lnTo>
                      <a:lnTo>
                        <a:pt x="91" y="30"/>
                      </a:lnTo>
                      <a:lnTo>
                        <a:pt x="95" y="29"/>
                      </a:lnTo>
                      <a:lnTo>
                        <a:pt x="96" y="27"/>
                      </a:lnTo>
                      <a:lnTo>
                        <a:pt x="100" y="27"/>
                      </a:lnTo>
                      <a:lnTo>
                        <a:pt x="103" y="27"/>
                      </a:lnTo>
                      <a:lnTo>
                        <a:pt x="107" y="30"/>
                      </a:lnTo>
                      <a:lnTo>
                        <a:pt x="108" y="30"/>
                      </a:lnTo>
                      <a:lnTo>
                        <a:pt x="110" y="27"/>
                      </a:lnTo>
                      <a:lnTo>
                        <a:pt x="112" y="24"/>
                      </a:lnTo>
                      <a:lnTo>
                        <a:pt x="112" y="22"/>
                      </a:lnTo>
                      <a:lnTo>
                        <a:pt x="112" y="20"/>
                      </a:lnTo>
                      <a:lnTo>
                        <a:pt x="112" y="17"/>
                      </a:lnTo>
                      <a:lnTo>
                        <a:pt x="113" y="15"/>
                      </a:lnTo>
                      <a:lnTo>
                        <a:pt x="115" y="15"/>
                      </a:lnTo>
                      <a:lnTo>
                        <a:pt x="117" y="15"/>
                      </a:lnTo>
                      <a:lnTo>
                        <a:pt x="120" y="15"/>
                      </a:lnTo>
                      <a:lnTo>
                        <a:pt x="123" y="15"/>
                      </a:lnTo>
                      <a:lnTo>
                        <a:pt x="127" y="15"/>
                      </a:lnTo>
                      <a:lnTo>
                        <a:pt x="128" y="15"/>
                      </a:lnTo>
                      <a:lnTo>
                        <a:pt x="132" y="17"/>
                      </a:lnTo>
                      <a:lnTo>
                        <a:pt x="133" y="17"/>
                      </a:lnTo>
                      <a:lnTo>
                        <a:pt x="137" y="17"/>
                      </a:lnTo>
                      <a:lnTo>
                        <a:pt x="139" y="18"/>
                      </a:lnTo>
                      <a:lnTo>
                        <a:pt x="140" y="17"/>
                      </a:lnTo>
                      <a:lnTo>
                        <a:pt x="142" y="17"/>
                      </a:lnTo>
                      <a:lnTo>
                        <a:pt x="142" y="15"/>
                      </a:lnTo>
                      <a:lnTo>
                        <a:pt x="140" y="15"/>
                      </a:lnTo>
                      <a:lnTo>
                        <a:pt x="140" y="12"/>
                      </a:lnTo>
                      <a:lnTo>
                        <a:pt x="142" y="10"/>
                      </a:lnTo>
                      <a:lnTo>
                        <a:pt x="142" y="8"/>
                      </a:lnTo>
                      <a:lnTo>
                        <a:pt x="144" y="7"/>
                      </a:lnTo>
                      <a:lnTo>
                        <a:pt x="144" y="5"/>
                      </a:lnTo>
                      <a:lnTo>
                        <a:pt x="144" y="3"/>
                      </a:lnTo>
                      <a:lnTo>
                        <a:pt x="142" y="2"/>
                      </a:lnTo>
                      <a:lnTo>
                        <a:pt x="142" y="0"/>
                      </a:lnTo>
                      <a:lnTo>
                        <a:pt x="144" y="0"/>
                      </a:lnTo>
                      <a:lnTo>
                        <a:pt x="145" y="0"/>
                      </a:lnTo>
                      <a:lnTo>
                        <a:pt x="147" y="0"/>
                      </a:lnTo>
                      <a:lnTo>
                        <a:pt x="149" y="0"/>
                      </a:lnTo>
                      <a:lnTo>
                        <a:pt x="150" y="0"/>
                      </a:lnTo>
                      <a:lnTo>
                        <a:pt x="152" y="2"/>
                      </a:lnTo>
                      <a:lnTo>
                        <a:pt x="154" y="3"/>
                      </a:lnTo>
                      <a:lnTo>
                        <a:pt x="155" y="3"/>
                      </a:lnTo>
                      <a:lnTo>
                        <a:pt x="159" y="7"/>
                      </a:lnTo>
                      <a:lnTo>
                        <a:pt x="164" y="10"/>
                      </a:lnTo>
                      <a:lnTo>
                        <a:pt x="167" y="12"/>
                      </a:lnTo>
                      <a:lnTo>
                        <a:pt x="172" y="15"/>
                      </a:lnTo>
                      <a:lnTo>
                        <a:pt x="177" y="15"/>
                      </a:lnTo>
                      <a:lnTo>
                        <a:pt x="182" y="17"/>
                      </a:lnTo>
                      <a:lnTo>
                        <a:pt x="187" y="20"/>
                      </a:lnTo>
                      <a:lnTo>
                        <a:pt x="191" y="24"/>
                      </a:lnTo>
                      <a:lnTo>
                        <a:pt x="194" y="27"/>
                      </a:lnTo>
                      <a:lnTo>
                        <a:pt x="196" y="30"/>
                      </a:lnTo>
                      <a:lnTo>
                        <a:pt x="198" y="32"/>
                      </a:lnTo>
                      <a:lnTo>
                        <a:pt x="196" y="34"/>
                      </a:lnTo>
                      <a:lnTo>
                        <a:pt x="196" y="37"/>
                      </a:lnTo>
                      <a:lnTo>
                        <a:pt x="196" y="40"/>
                      </a:lnTo>
                      <a:lnTo>
                        <a:pt x="196" y="44"/>
                      </a:lnTo>
                      <a:lnTo>
                        <a:pt x="198" y="44"/>
                      </a:lnTo>
                      <a:lnTo>
                        <a:pt x="198" y="47"/>
                      </a:lnTo>
                      <a:lnTo>
                        <a:pt x="198" y="49"/>
                      </a:lnTo>
                      <a:lnTo>
                        <a:pt x="196" y="51"/>
                      </a:lnTo>
                      <a:lnTo>
                        <a:pt x="196" y="54"/>
                      </a:lnTo>
                      <a:lnTo>
                        <a:pt x="199" y="57"/>
                      </a:lnTo>
                      <a:lnTo>
                        <a:pt x="201" y="61"/>
                      </a:lnTo>
                      <a:lnTo>
                        <a:pt x="203" y="62"/>
                      </a:lnTo>
                      <a:lnTo>
                        <a:pt x="203" y="66"/>
                      </a:lnTo>
                      <a:lnTo>
                        <a:pt x="203" y="67"/>
                      </a:lnTo>
                      <a:lnTo>
                        <a:pt x="199" y="69"/>
                      </a:lnTo>
                      <a:lnTo>
                        <a:pt x="199" y="72"/>
                      </a:lnTo>
                      <a:lnTo>
                        <a:pt x="199" y="77"/>
                      </a:lnTo>
                      <a:lnTo>
                        <a:pt x="203" y="81"/>
                      </a:lnTo>
                      <a:lnTo>
                        <a:pt x="204" y="83"/>
                      </a:lnTo>
                      <a:lnTo>
                        <a:pt x="204" y="86"/>
                      </a:lnTo>
                      <a:close/>
                    </a:path>
                  </a:pathLst>
                </a:custGeom>
                <a:solidFill>
                  <a:srgbClr val="EB1562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50" name="Group 1749">
                <a:extLst>
                  <a:ext uri="{FF2B5EF4-FFF2-40B4-BE49-F238E27FC236}">
                    <a16:creationId xmlns:a16="http://schemas.microsoft.com/office/drawing/2014/main" id="{3AA5D163-9B7B-9643-A27D-9CADBAD4BF0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15" y="345"/>
                <a:ext cx="10" cy="26"/>
                <a:chOff x="415" y="345"/>
                <a:chExt cx="10" cy="26"/>
              </a:xfrm>
            </p:grpSpPr>
            <p:sp>
              <p:nvSpPr>
                <p:cNvPr id="1754" name="Freeform 128">
                  <a:extLst>
                    <a:ext uri="{FF2B5EF4-FFF2-40B4-BE49-F238E27FC236}">
                      <a16:creationId xmlns:a16="http://schemas.microsoft.com/office/drawing/2014/main" id="{7A896121-D32A-5B42-A600-59ABB7781F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5" y="345"/>
                  <a:ext cx="10" cy="26"/>
                </a:xfrm>
                <a:custGeom>
                  <a:avLst/>
                  <a:gdLst>
                    <a:gd name="T0" fmla="*/ 0 w 10"/>
                    <a:gd name="T1" fmla="*/ 24 h 26"/>
                    <a:gd name="T2" fmla="*/ 0 w 10"/>
                    <a:gd name="T3" fmla="*/ 22 h 26"/>
                    <a:gd name="T4" fmla="*/ 0 w 10"/>
                    <a:gd name="T5" fmla="*/ 20 h 26"/>
                    <a:gd name="T6" fmla="*/ 2 w 10"/>
                    <a:gd name="T7" fmla="*/ 17 h 26"/>
                    <a:gd name="T8" fmla="*/ 3 w 10"/>
                    <a:gd name="T9" fmla="*/ 12 h 26"/>
                    <a:gd name="T10" fmla="*/ 5 w 10"/>
                    <a:gd name="T11" fmla="*/ 10 h 26"/>
                    <a:gd name="T12" fmla="*/ 7 w 10"/>
                    <a:gd name="T13" fmla="*/ 5 h 26"/>
                    <a:gd name="T14" fmla="*/ 8 w 10"/>
                    <a:gd name="T15" fmla="*/ 4 h 26"/>
                    <a:gd name="T16" fmla="*/ 8 w 10"/>
                    <a:gd name="T17" fmla="*/ 2 h 26"/>
                    <a:gd name="T18" fmla="*/ 10 w 10"/>
                    <a:gd name="T19" fmla="*/ 0 h 26"/>
                    <a:gd name="T20" fmla="*/ 10 w 10"/>
                    <a:gd name="T21" fmla="*/ 2 h 26"/>
                    <a:gd name="T22" fmla="*/ 8 w 10"/>
                    <a:gd name="T23" fmla="*/ 2 h 26"/>
                    <a:gd name="T24" fmla="*/ 8 w 10"/>
                    <a:gd name="T25" fmla="*/ 5 h 26"/>
                    <a:gd name="T26" fmla="*/ 7 w 10"/>
                    <a:gd name="T27" fmla="*/ 10 h 26"/>
                    <a:gd name="T28" fmla="*/ 5 w 10"/>
                    <a:gd name="T29" fmla="*/ 12 h 26"/>
                    <a:gd name="T30" fmla="*/ 3 w 10"/>
                    <a:gd name="T31" fmla="*/ 17 h 26"/>
                    <a:gd name="T32" fmla="*/ 3 w 10"/>
                    <a:gd name="T33" fmla="*/ 20 h 26"/>
                    <a:gd name="T34" fmla="*/ 2 w 10"/>
                    <a:gd name="T35" fmla="*/ 24 h 26"/>
                    <a:gd name="T36" fmla="*/ 0 w 10"/>
                    <a:gd name="T37" fmla="*/ 24 h 26"/>
                    <a:gd name="T38" fmla="*/ 0 w 10"/>
                    <a:gd name="T39" fmla="*/ 26 h 26"/>
                    <a:gd name="T40" fmla="*/ 0 w 10"/>
                    <a:gd name="T41" fmla="*/ 24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0" h="26">
                      <a:moveTo>
                        <a:pt x="0" y="24"/>
                      </a:moveTo>
                      <a:lnTo>
                        <a:pt x="0" y="22"/>
                      </a:lnTo>
                      <a:lnTo>
                        <a:pt x="0" y="20"/>
                      </a:lnTo>
                      <a:lnTo>
                        <a:pt x="2" y="17"/>
                      </a:lnTo>
                      <a:lnTo>
                        <a:pt x="3" y="12"/>
                      </a:lnTo>
                      <a:lnTo>
                        <a:pt x="5" y="10"/>
                      </a:lnTo>
                      <a:lnTo>
                        <a:pt x="7" y="5"/>
                      </a:lnTo>
                      <a:lnTo>
                        <a:pt x="8" y="4"/>
                      </a:lnTo>
                      <a:lnTo>
                        <a:pt x="8" y="2"/>
                      </a:lnTo>
                      <a:lnTo>
                        <a:pt x="10" y="0"/>
                      </a:lnTo>
                      <a:lnTo>
                        <a:pt x="10" y="2"/>
                      </a:lnTo>
                      <a:lnTo>
                        <a:pt x="8" y="2"/>
                      </a:lnTo>
                      <a:lnTo>
                        <a:pt x="8" y="5"/>
                      </a:lnTo>
                      <a:lnTo>
                        <a:pt x="7" y="10"/>
                      </a:lnTo>
                      <a:lnTo>
                        <a:pt x="5" y="12"/>
                      </a:lnTo>
                      <a:lnTo>
                        <a:pt x="3" y="17"/>
                      </a:lnTo>
                      <a:lnTo>
                        <a:pt x="3" y="20"/>
                      </a:lnTo>
                      <a:lnTo>
                        <a:pt x="2" y="24"/>
                      </a:lnTo>
                      <a:lnTo>
                        <a:pt x="0" y="24"/>
                      </a:lnTo>
                      <a:lnTo>
                        <a:pt x="0" y="26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55" name="Freeform 129">
                  <a:extLst>
                    <a:ext uri="{FF2B5EF4-FFF2-40B4-BE49-F238E27FC236}">
                      <a16:creationId xmlns:a16="http://schemas.microsoft.com/office/drawing/2014/main" id="{27579B4D-8A53-234F-8D0D-D1B21A3A27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5" y="345"/>
                  <a:ext cx="10" cy="26"/>
                </a:xfrm>
                <a:custGeom>
                  <a:avLst/>
                  <a:gdLst>
                    <a:gd name="T0" fmla="*/ 0 w 10"/>
                    <a:gd name="T1" fmla="*/ 24 h 26"/>
                    <a:gd name="T2" fmla="*/ 0 w 10"/>
                    <a:gd name="T3" fmla="*/ 22 h 26"/>
                    <a:gd name="T4" fmla="*/ 0 w 10"/>
                    <a:gd name="T5" fmla="*/ 20 h 26"/>
                    <a:gd name="T6" fmla="*/ 2 w 10"/>
                    <a:gd name="T7" fmla="*/ 17 h 26"/>
                    <a:gd name="T8" fmla="*/ 3 w 10"/>
                    <a:gd name="T9" fmla="*/ 12 h 26"/>
                    <a:gd name="T10" fmla="*/ 5 w 10"/>
                    <a:gd name="T11" fmla="*/ 10 h 26"/>
                    <a:gd name="T12" fmla="*/ 7 w 10"/>
                    <a:gd name="T13" fmla="*/ 5 h 26"/>
                    <a:gd name="T14" fmla="*/ 8 w 10"/>
                    <a:gd name="T15" fmla="*/ 4 h 26"/>
                    <a:gd name="T16" fmla="*/ 8 w 10"/>
                    <a:gd name="T17" fmla="*/ 2 h 26"/>
                    <a:gd name="T18" fmla="*/ 10 w 10"/>
                    <a:gd name="T19" fmla="*/ 0 h 26"/>
                    <a:gd name="T20" fmla="*/ 10 w 10"/>
                    <a:gd name="T21" fmla="*/ 2 h 26"/>
                    <a:gd name="T22" fmla="*/ 8 w 10"/>
                    <a:gd name="T23" fmla="*/ 2 h 26"/>
                    <a:gd name="T24" fmla="*/ 8 w 10"/>
                    <a:gd name="T25" fmla="*/ 5 h 26"/>
                    <a:gd name="T26" fmla="*/ 7 w 10"/>
                    <a:gd name="T27" fmla="*/ 10 h 26"/>
                    <a:gd name="T28" fmla="*/ 5 w 10"/>
                    <a:gd name="T29" fmla="*/ 12 h 26"/>
                    <a:gd name="T30" fmla="*/ 3 w 10"/>
                    <a:gd name="T31" fmla="*/ 17 h 26"/>
                    <a:gd name="T32" fmla="*/ 3 w 10"/>
                    <a:gd name="T33" fmla="*/ 20 h 26"/>
                    <a:gd name="T34" fmla="*/ 2 w 10"/>
                    <a:gd name="T35" fmla="*/ 24 h 26"/>
                    <a:gd name="T36" fmla="*/ 0 w 10"/>
                    <a:gd name="T37" fmla="*/ 24 h 26"/>
                    <a:gd name="T38" fmla="*/ 0 w 10"/>
                    <a:gd name="T39" fmla="*/ 26 h 26"/>
                    <a:gd name="T40" fmla="*/ 0 w 10"/>
                    <a:gd name="T41" fmla="*/ 24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0" h="26">
                      <a:moveTo>
                        <a:pt x="0" y="24"/>
                      </a:moveTo>
                      <a:lnTo>
                        <a:pt x="0" y="22"/>
                      </a:lnTo>
                      <a:lnTo>
                        <a:pt x="0" y="20"/>
                      </a:lnTo>
                      <a:lnTo>
                        <a:pt x="2" y="17"/>
                      </a:lnTo>
                      <a:lnTo>
                        <a:pt x="3" y="12"/>
                      </a:lnTo>
                      <a:lnTo>
                        <a:pt x="5" y="10"/>
                      </a:lnTo>
                      <a:lnTo>
                        <a:pt x="7" y="5"/>
                      </a:lnTo>
                      <a:lnTo>
                        <a:pt x="8" y="4"/>
                      </a:lnTo>
                      <a:lnTo>
                        <a:pt x="8" y="2"/>
                      </a:lnTo>
                      <a:lnTo>
                        <a:pt x="10" y="0"/>
                      </a:lnTo>
                      <a:lnTo>
                        <a:pt x="10" y="2"/>
                      </a:lnTo>
                      <a:lnTo>
                        <a:pt x="8" y="2"/>
                      </a:lnTo>
                      <a:lnTo>
                        <a:pt x="8" y="5"/>
                      </a:lnTo>
                      <a:lnTo>
                        <a:pt x="7" y="10"/>
                      </a:lnTo>
                      <a:lnTo>
                        <a:pt x="5" y="12"/>
                      </a:lnTo>
                      <a:lnTo>
                        <a:pt x="3" y="17"/>
                      </a:lnTo>
                      <a:lnTo>
                        <a:pt x="3" y="20"/>
                      </a:lnTo>
                      <a:lnTo>
                        <a:pt x="2" y="24"/>
                      </a:lnTo>
                      <a:lnTo>
                        <a:pt x="0" y="24"/>
                      </a:lnTo>
                      <a:lnTo>
                        <a:pt x="0" y="26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51" name="Group 1750">
                <a:extLst>
                  <a:ext uri="{FF2B5EF4-FFF2-40B4-BE49-F238E27FC236}">
                    <a16:creationId xmlns:a16="http://schemas.microsoft.com/office/drawing/2014/main" id="{F8736617-2B3F-5A4E-AEDF-6EC4C4E78B3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42" y="333"/>
                <a:ext cx="13" cy="22"/>
                <a:chOff x="442" y="333"/>
                <a:chExt cx="13" cy="22"/>
              </a:xfrm>
            </p:grpSpPr>
            <p:sp>
              <p:nvSpPr>
                <p:cNvPr id="1752" name="Freeform 126">
                  <a:extLst>
                    <a:ext uri="{FF2B5EF4-FFF2-40B4-BE49-F238E27FC236}">
                      <a16:creationId xmlns:a16="http://schemas.microsoft.com/office/drawing/2014/main" id="{B221C0B2-55B6-3D46-920B-58FF038BCD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2" y="333"/>
                  <a:ext cx="13" cy="22"/>
                </a:xfrm>
                <a:custGeom>
                  <a:avLst/>
                  <a:gdLst>
                    <a:gd name="T0" fmla="*/ 2 w 13"/>
                    <a:gd name="T1" fmla="*/ 21 h 22"/>
                    <a:gd name="T2" fmla="*/ 2 w 13"/>
                    <a:gd name="T3" fmla="*/ 19 h 22"/>
                    <a:gd name="T4" fmla="*/ 0 w 13"/>
                    <a:gd name="T5" fmla="*/ 19 h 22"/>
                    <a:gd name="T6" fmla="*/ 2 w 13"/>
                    <a:gd name="T7" fmla="*/ 17 h 22"/>
                    <a:gd name="T8" fmla="*/ 0 w 13"/>
                    <a:gd name="T9" fmla="*/ 16 h 22"/>
                    <a:gd name="T10" fmla="*/ 0 w 13"/>
                    <a:gd name="T11" fmla="*/ 14 h 22"/>
                    <a:gd name="T12" fmla="*/ 0 w 13"/>
                    <a:gd name="T13" fmla="*/ 12 h 22"/>
                    <a:gd name="T14" fmla="*/ 0 w 13"/>
                    <a:gd name="T15" fmla="*/ 11 h 22"/>
                    <a:gd name="T16" fmla="*/ 2 w 13"/>
                    <a:gd name="T17" fmla="*/ 9 h 22"/>
                    <a:gd name="T18" fmla="*/ 3 w 13"/>
                    <a:gd name="T19" fmla="*/ 5 h 22"/>
                    <a:gd name="T20" fmla="*/ 7 w 13"/>
                    <a:gd name="T21" fmla="*/ 2 h 22"/>
                    <a:gd name="T22" fmla="*/ 8 w 13"/>
                    <a:gd name="T23" fmla="*/ 0 h 22"/>
                    <a:gd name="T24" fmla="*/ 10 w 13"/>
                    <a:gd name="T25" fmla="*/ 2 h 22"/>
                    <a:gd name="T26" fmla="*/ 12 w 13"/>
                    <a:gd name="T27" fmla="*/ 0 h 22"/>
                    <a:gd name="T28" fmla="*/ 13 w 13"/>
                    <a:gd name="T29" fmla="*/ 0 h 22"/>
                    <a:gd name="T30" fmla="*/ 13 w 13"/>
                    <a:gd name="T31" fmla="*/ 2 h 22"/>
                    <a:gd name="T32" fmla="*/ 13 w 13"/>
                    <a:gd name="T33" fmla="*/ 4 h 22"/>
                    <a:gd name="T34" fmla="*/ 12 w 13"/>
                    <a:gd name="T35" fmla="*/ 4 h 22"/>
                    <a:gd name="T36" fmla="*/ 12 w 13"/>
                    <a:gd name="T37" fmla="*/ 5 h 22"/>
                    <a:gd name="T38" fmla="*/ 12 w 13"/>
                    <a:gd name="T39" fmla="*/ 9 h 22"/>
                    <a:gd name="T40" fmla="*/ 12 w 13"/>
                    <a:gd name="T41" fmla="*/ 12 h 22"/>
                    <a:gd name="T42" fmla="*/ 10 w 13"/>
                    <a:gd name="T43" fmla="*/ 12 h 22"/>
                    <a:gd name="T44" fmla="*/ 8 w 13"/>
                    <a:gd name="T45" fmla="*/ 14 h 22"/>
                    <a:gd name="T46" fmla="*/ 7 w 13"/>
                    <a:gd name="T47" fmla="*/ 16 h 22"/>
                    <a:gd name="T48" fmla="*/ 5 w 13"/>
                    <a:gd name="T49" fmla="*/ 17 h 22"/>
                    <a:gd name="T50" fmla="*/ 3 w 13"/>
                    <a:gd name="T51" fmla="*/ 19 h 22"/>
                    <a:gd name="T52" fmla="*/ 2 w 13"/>
                    <a:gd name="T53" fmla="*/ 21 h 22"/>
                    <a:gd name="T54" fmla="*/ 0 w 13"/>
                    <a:gd name="T55" fmla="*/ 22 h 22"/>
                    <a:gd name="T56" fmla="*/ 2 w 13"/>
                    <a:gd name="T57" fmla="*/ 21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3" h="22">
                      <a:moveTo>
                        <a:pt x="2" y="21"/>
                      </a:moveTo>
                      <a:lnTo>
                        <a:pt x="2" y="19"/>
                      </a:lnTo>
                      <a:lnTo>
                        <a:pt x="0" y="19"/>
                      </a:lnTo>
                      <a:lnTo>
                        <a:pt x="2" y="17"/>
                      </a:lnTo>
                      <a:lnTo>
                        <a:pt x="0" y="16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0" y="11"/>
                      </a:lnTo>
                      <a:lnTo>
                        <a:pt x="2" y="9"/>
                      </a:lnTo>
                      <a:lnTo>
                        <a:pt x="3" y="5"/>
                      </a:lnTo>
                      <a:lnTo>
                        <a:pt x="7" y="2"/>
                      </a:lnTo>
                      <a:lnTo>
                        <a:pt x="8" y="0"/>
                      </a:lnTo>
                      <a:lnTo>
                        <a:pt x="10" y="2"/>
                      </a:lnTo>
                      <a:lnTo>
                        <a:pt x="12" y="0"/>
                      </a:lnTo>
                      <a:lnTo>
                        <a:pt x="13" y="0"/>
                      </a:lnTo>
                      <a:lnTo>
                        <a:pt x="13" y="2"/>
                      </a:lnTo>
                      <a:lnTo>
                        <a:pt x="13" y="4"/>
                      </a:lnTo>
                      <a:lnTo>
                        <a:pt x="12" y="4"/>
                      </a:lnTo>
                      <a:lnTo>
                        <a:pt x="12" y="5"/>
                      </a:lnTo>
                      <a:lnTo>
                        <a:pt x="12" y="9"/>
                      </a:lnTo>
                      <a:lnTo>
                        <a:pt x="12" y="12"/>
                      </a:lnTo>
                      <a:lnTo>
                        <a:pt x="10" y="12"/>
                      </a:lnTo>
                      <a:lnTo>
                        <a:pt x="8" y="14"/>
                      </a:lnTo>
                      <a:lnTo>
                        <a:pt x="7" y="16"/>
                      </a:lnTo>
                      <a:lnTo>
                        <a:pt x="5" y="17"/>
                      </a:lnTo>
                      <a:lnTo>
                        <a:pt x="3" y="19"/>
                      </a:lnTo>
                      <a:lnTo>
                        <a:pt x="2" y="21"/>
                      </a:lnTo>
                      <a:lnTo>
                        <a:pt x="0" y="22"/>
                      </a:lnTo>
                      <a:lnTo>
                        <a:pt x="2" y="2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53" name="Freeform 127">
                  <a:extLst>
                    <a:ext uri="{FF2B5EF4-FFF2-40B4-BE49-F238E27FC236}">
                      <a16:creationId xmlns:a16="http://schemas.microsoft.com/office/drawing/2014/main" id="{3DF1BE0A-9664-1B4B-928F-F73837D098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2" y="333"/>
                  <a:ext cx="13" cy="22"/>
                </a:xfrm>
                <a:custGeom>
                  <a:avLst/>
                  <a:gdLst>
                    <a:gd name="T0" fmla="*/ 2 w 13"/>
                    <a:gd name="T1" fmla="*/ 21 h 22"/>
                    <a:gd name="T2" fmla="*/ 2 w 13"/>
                    <a:gd name="T3" fmla="*/ 19 h 22"/>
                    <a:gd name="T4" fmla="*/ 0 w 13"/>
                    <a:gd name="T5" fmla="*/ 19 h 22"/>
                    <a:gd name="T6" fmla="*/ 2 w 13"/>
                    <a:gd name="T7" fmla="*/ 17 h 22"/>
                    <a:gd name="T8" fmla="*/ 0 w 13"/>
                    <a:gd name="T9" fmla="*/ 16 h 22"/>
                    <a:gd name="T10" fmla="*/ 0 w 13"/>
                    <a:gd name="T11" fmla="*/ 14 h 22"/>
                    <a:gd name="T12" fmla="*/ 0 w 13"/>
                    <a:gd name="T13" fmla="*/ 12 h 22"/>
                    <a:gd name="T14" fmla="*/ 0 w 13"/>
                    <a:gd name="T15" fmla="*/ 11 h 22"/>
                    <a:gd name="T16" fmla="*/ 2 w 13"/>
                    <a:gd name="T17" fmla="*/ 9 h 22"/>
                    <a:gd name="T18" fmla="*/ 3 w 13"/>
                    <a:gd name="T19" fmla="*/ 5 h 22"/>
                    <a:gd name="T20" fmla="*/ 7 w 13"/>
                    <a:gd name="T21" fmla="*/ 2 h 22"/>
                    <a:gd name="T22" fmla="*/ 8 w 13"/>
                    <a:gd name="T23" fmla="*/ 0 h 22"/>
                    <a:gd name="T24" fmla="*/ 10 w 13"/>
                    <a:gd name="T25" fmla="*/ 2 h 22"/>
                    <a:gd name="T26" fmla="*/ 12 w 13"/>
                    <a:gd name="T27" fmla="*/ 0 h 22"/>
                    <a:gd name="T28" fmla="*/ 13 w 13"/>
                    <a:gd name="T29" fmla="*/ 0 h 22"/>
                    <a:gd name="T30" fmla="*/ 13 w 13"/>
                    <a:gd name="T31" fmla="*/ 2 h 22"/>
                    <a:gd name="T32" fmla="*/ 13 w 13"/>
                    <a:gd name="T33" fmla="*/ 4 h 22"/>
                    <a:gd name="T34" fmla="*/ 12 w 13"/>
                    <a:gd name="T35" fmla="*/ 4 h 22"/>
                    <a:gd name="T36" fmla="*/ 12 w 13"/>
                    <a:gd name="T37" fmla="*/ 5 h 22"/>
                    <a:gd name="T38" fmla="*/ 12 w 13"/>
                    <a:gd name="T39" fmla="*/ 9 h 22"/>
                    <a:gd name="T40" fmla="*/ 12 w 13"/>
                    <a:gd name="T41" fmla="*/ 12 h 22"/>
                    <a:gd name="T42" fmla="*/ 10 w 13"/>
                    <a:gd name="T43" fmla="*/ 12 h 22"/>
                    <a:gd name="T44" fmla="*/ 8 w 13"/>
                    <a:gd name="T45" fmla="*/ 14 h 22"/>
                    <a:gd name="T46" fmla="*/ 7 w 13"/>
                    <a:gd name="T47" fmla="*/ 16 h 22"/>
                    <a:gd name="T48" fmla="*/ 5 w 13"/>
                    <a:gd name="T49" fmla="*/ 17 h 22"/>
                    <a:gd name="T50" fmla="*/ 3 w 13"/>
                    <a:gd name="T51" fmla="*/ 19 h 22"/>
                    <a:gd name="T52" fmla="*/ 2 w 13"/>
                    <a:gd name="T53" fmla="*/ 21 h 22"/>
                    <a:gd name="T54" fmla="*/ 0 w 13"/>
                    <a:gd name="T55" fmla="*/ 22 h 22"/>
                    <a:gd name="T56" fmla="*/ 2 w 13"/>
                    <a:gd name="T57" fmla="*/ 21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3" h="22">
                      <a:moveTo>
                        <a:pt x="2" y="21"/>
                      </a:moveTo>
                      <a:lnTo>
                        <a:pt x="2" y="19"/>
                      </a:lnTo>
                      <a:lnTo>
                        <a:pt x="0" y="19"/>
                      </a:lnTo>
                      <a:lnTo>
                        <a:pt x="2" y="17"/>
                      </a:lnTo>
                      <a:lnTo>
                        <a:pt x="0" y="16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0" y="11"/>
                      </a:lnTo>
                      <a:lnTo>
                        <a:pt x="2" y="9"/>
                      </a:lnTo>
                      <a:lnTo>
                        <a:pt x="3" y="5"/>
                      </a:lnTo>
                      <a:lnTo>
                        <a:pt x="7" y="2"/>
                      </a:lnTo>
                      <a:lnTo>
                        <a:pt x="8" y="0"/>
                      </a:lnTo>
                      <a:lnTo>
                        <a:pt x="10" y="2"/>
                      </a:lnTo>
                      <a:lnTo>
                        <a:pt x="12" y="0"/>
                      </a:lnTo>
                      <a:lnTo>
                        <a:pt x="13" y="0"/>
                      </a:lnTo>
                      <a:lnTo>
                        <a:pt x="13" y="2"/>
                      </a:lnTo>
                      <a:lnTo>
                        <a:pt x="13" y="4"/>
                      </a:lnTo>
                      <a:lnTo>
                        <a:pt x="12" y="4"/>
                      </a:lnTo>
                      <a:lnTo>
                        <a:pt x="12" y="5"/>
                      </a:lnTo>
                      <a:lnTo>
                        <a:pt x="12" y="9"/>
                      </a:lnTo>
                      <a:lnTo>
                        <a:pt x="12" y="12"/>
                      </a:lnTo>
                      <a:lnTo>
                        <a:pt x="10" y="12"/>
                      </a:lnTo>
                      <a:lnTo>
                        <a:pt x="8" y="14"/>
                      </a:lnTo>
                      <a:lnTo>
                        <a:pt x="7" y="16"/>
                      </a:lnTo>
                      <a:lnTo>
                        <a:pt x="5" y="17"/>
                      </a:lnTo>
                      <a:lnTo>
                        <a:pt x="3" y="19"/>
                      </a:lnTo>
                      <a:lnTo>
                        <a:pt x="2" y="21"/>
                      </a:lnTo>
                      <a:lnTo>
                        <a:pt x="0" y="22"/>
                      </a:lnTo>
                      <a:lnTo>
                        <a:pt x="2" y="2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668" name="Group 1667">
              <a:extLst>
                <a:ext uri="{FF2B5EF4-FFF2-40B4-BE49-F238E27FC236}">
                  <a16:creationId xmlns:a16="http://schemas.microsoft.com/office/drawing/2014/main" id="{70631247-54D1-444A-BB62-B09416A5096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55" y="551"/>
              <a:ext cx="69" cy="34"/>
              <a:chOff x="255" y="551"/>
              <a:chExt cx="69" cy="34"/>
            </a:xfrm>
          </p:grpSpPr>
          <p:sp>
            <p:nvSpPr>
              <p:cNvPr id="1747" name="Freeform 121">
                <a:extLst>
                  <a:ext uri="{FF2B5EF4-FFF2-40B4-BE49-F238E27FC236}">
                    <a16:creationId xmlns:a16="http://schemas.microsoft.com/office/drawing/2014/main" id="{24D32078-A9B0-7144-B0BA-A782CE1074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" y="551"/>
                <a:ext cx="69" cy="34"/>
              </a:xfrm>
              <a:custGeom>
                <a:avLst/>
                <a:gdLst>
                  <a:gd name="T0" fmla="*/ 65 w 69"/>
                  <a:gd name="T1" fmla="*/ 13 h 34"/>
                  <a:gd name="T2" fmla="*/ 60 w 69"/>
                  <a:gd name="T3" fmla="*/ 13 h 34"/>
                  <a:gd name="T4" fmla="*/ 57 w 69"/>
                  <a:gd name="T5" fmla="*/ 12 h 34"/>
                  <a:gd name="T6" fmla="*/ 54 w 69"/>
                  <a:gd name="T7" fmla="*/ 8 h 34"/>
                  <a:gd name="T8" fmla="*/ 55 w 69"/>
                  <a:gd name="T9" fmla="*/ 5 h 34"/>
                  <a:gd name="T10" fmla="*/ 52 w 69"/>
                  <a:gd name="T11" fmla="*/ 2 h 34"/>
                  <a:gd name="T12" fmla="*/ 45 w 69"/>
                  <a:gd name="T13" fmla="*/ 0 h 34"/>
                  <a:gd name="T14" fmla="*/ 40 w 69"/>
                  <a:gd name="T15" fmla="*/ 0 h 34"/>
                  <a:gd name="T16" fmla="*/ 32 w 69"/>
                  <a:gd name="T17" fmla="*/ 0 h 34"/>
                  <a:gd name="T18" fmla="*/ 25 w 69"/>
                  <a:gd name="T19" fmla="*/ 2 h 34"/>
                  <a:gd name="T20" fmla="*/ 22 w 69"/>
                  <a:gd name="T21" fmla="*/ 2 h 34"/>
                  <a:gd name="T22" fmla="*/ 17 w 69"/>
                  <a:gd name="T23" fmla="*/ 2 h 34"/>
                  <a:gd name="T24" fmla="*/ 13 w 69"/>
                  <a:gd name="T25" fmla="*/ 3 h 34"/>
                  <a:gd name="T26" fmla="*/ 13 w 69"/>
                  <a:gd name="T27" fmla="*/ 5 h 34"/>
                  <a:gd name="T28" fmla="*/ 10 w 69"/>
                  <a:gd name="T29" fmla="*/ 10 h 34"/>
                  <a:gd name="T30" fmla="*/ 6 w 69"/>
                  <a:gd name="T31" fmla="*/ 13 h 34"/>
                  <a:gd name="T32" fmla="*/ 5 w 69"/>
                  <a:gd name="T33" fmla="*/ 17 h 34"/>
                  <a:gd name="T34" fmla="*/ 1 w 69"/>
                  <a:gd name="T35" fmla="*/ 18 h 34"/>
                  <a:gd name="T36" fmla="*/ 0 w 69"/>
                  <a:gd name="T37" fmla="*/ 22 h 34"/>
                  <a:gd name="T38" fmla="*/ 0 w 69"/>
                  <a:gd name="T39" fmla="*/ 25 h 34"/>
                  <a:gd name="T40" fmla="*/ 1 w 69"/>
                  <a:gd name="T41" fmla="*/ 29 h 34"/>
                  <a:gd name="T42" fmla="*/ 5 w 69"/>
                  <a:gd name="T43" fmla="*/ 23 h 34"/>
                  <a:gd name="T44" fmla="*/ 10 w 69"/>
                  <a:gd name="T45" fmla="*/ 23 h 34"/>
                  <a:gd name="T46" fmla="*/ 12 w 69"/>
                  <a:gd name="T47" fmla="*/ 25 h 34"/>
                  <a:gd name="T48" fmla="*/ 12 w 69"/>
                  <a:gd name="T49" fmla="*/ 30 h 34"/>
                  <a:gd name="T50" fmla="*/ 15 w 69"/>
                  <a:gd name="T51" fmla="*/ 32 h 34"/>
                  <a:gd name="T52" fmla="*/ 17 w 69"/>
                  <a:gd name="T53" fmla="*/ 34 h 34"/>
                  <a:gd name="T54" fmla="*/ 22 w 69"/>
                  <a:gd name="T55" fmla="*/ 34 h 34"/>
                  <a:gd name="T56" fmla="*/ 25 w 69"/>
                  <a:gd name="T57" fmla="*/ 32 h 34"/>
                  <a:gd name="T58" fmla="*/ 30 w 69"/>
                  <a:gd name="T59" fmla="*/ 30 h 34"/>
                  <a:gd name="T60" fmla="*/ 32 w 69"/>
                  <a:gd name="T61" fmla="*/ 27 h 34"/>
                  <a:gd name="T62" fmla="*/ 37 w 69"/>
                  <a:gd name="T63" fmla="*/ 23 h 34"/>
                  <a:gd name="T64" fmla="*/ 39 w 69"/>
                  <a:gd name="T65" fmla="*/ 29 h 34"/>
                  <a:gd name="T66" fmla="*/ 44 w 69"/>
                  <a:gd name="T67" fmla="*/ 32 h 34"/>
                  <a:gd name="T68" fmla="*/ 45 w 69"/>
                  <a:gd name="T69" fmla="*/ 32 h 34"/>
                  <a:gd name="T70" fmla="*/ 49 w 69"/>
                  <a:gd name="T71" fmla="*/ 27 h 34"/>
                  <a:gd name="T72" fmla="*/ 50 w 69"/>
                  <a:gd name="T73" fmla="*/ 22 h 34"/>
                  <a:gd name="T74" fmla="*/ 54 w 69"/>
                  <a:gd name="T75" fmla="*/ 25 h 34"/>
                  <a:gd name="T76" fmla="*/ 60 w 69"/>
                  <a:gd name="T77" fmla="*/ 25 h 34"/>
                  <a:gd name="T78" fmla="*/ 62 w 69"/>
                  <a:gd name="T79" fmla="*/ 23 h 34"/>
                  <a:gd name="T80" fmla="*/ 64 w 69"/>
                  <a:gd name="T81" fmla="*/ 20 h 34"/>
                  <a:gd name="T82" fmla="*/ 67 w 69"/>
                  <a:gd name="T83" fmla="*/ 18 h 34"/>
                  <a:gd name="T84" fmla="*/ 69 w 69"/>
                  <a:gd name="T85" fmla="*/ 1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9" h="34">
                    <a:moveTo>
                      <a:pt x="67" y="13"/>
                    </a:moveTo>
                    <a:lnTo>
                      <a:pt x="65" y="13"/>
                    </a:lnTo>
                    <a:lnTo>
                      <a:pt x="64" y="15"/>
                    </a:lnTo>
                    <a:lnTo>
                      <a:pt x="60" y="13"/>
                    </a:lnTo>
                    <a:lnTo>
                      <a:pt x="59" y="13"/>
                    </a:lnTo>
                    <a:lnTo>
                      <a:pt x="57" y="12"/>
                    </a:lnTo>
                    <a:lnTo>
                      <a:pt x="55" y="10"/>
                    </a:lnTo>
                    <a:lnTo>
                      <a:pt x="54" y="8"/>
                    </a:lnTo>
                    <a:lnTo>
                      <a:pt x="55" y="7"/>
                    </a:lnTo>
                    <a:lnTo>
                      <a:pt x="55" y="5"/>
                    </a:lnTo>
                    <a:lnTo>
                      <a:pt x="54" y="3"/>
                    </a:lnTo>
                    <a:lnTo>
                      <a:pt x="52" y="2"/>
                    </a:lnTo>
                    <a:lnTo>
                      <a:pt x="49" y="0"/>
                    </a:lnTo>
                    <a:lnTo>
                      <a:pt x="45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35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5" y="2"/>
                    </a:lnTo>
                    <a:lnTo>
                      <a:pt x="23" y="0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17" y="2"/>
                    </a:lnTo>
                    <a:lnTo>
                      <a:pt x="15" y="2"/>
                    </a:lnTo>
                    <a:lnTo>
                      <a:pt x="13" y="3"/>
                    </a:lnTo>
                    <a:lnTo>
                      <a:pt x="15" y="5"/>
                    </a:lnTo>
                    <a:lnTo>
                      <a:pt x="13" y="5"/>
                    </a:lnTo>
                    <a:lnTo>
                      <a:pt x="12" y="7"/>
                    </a:lnTo>
                    <a:lnTo>
                      <a:pt x="10" y="10"/>
                    </a:lnTo>
                    <a:lnTo>
                      <a:pt x="8" y="12"/>
                    </a:lnTo>
                    <a:lnTo>
                      <a:pt x="6" y="13"/>
                    </a:lnTo>
                    <a:lnTo>
                      <a:pt x="5" y="15"/>
                    </a:lnTo>
                    <a:lnTo>
                      <a:pt x="5" y="17"/>
                    </a:lnTo>
                    <a:lnTo>
                      <a:pt x="3" y="17"/>
                    </a:lnTo>
                    <a:lnTo>
                      <a:pt x="1" y="18"/>
                    </a:lnTo>
                    <a:lnTo>
                      <a:pt x="1" y="20"/>
                    </a:lnTo>
                    <a:lnTo>
                      <a:pt x="0" y="22"/>
                    </a:lnTo>
                    <a:lnTo>
                      <a:pt x="0" y="23"/>
                    </a:lnTo>
                    <a:lnTo>
                      <a:pt x="0" y="25"/>
                    </a:lnTo>
                    <a:lnTo>
                      <a:pt x="0" y="29"/>
                    </a:lnTo>
                    <a:lnTo>
                      <a:pt x="1" y="29"/>
                    </a:lnTo>
                    <a:lnTo>
                      <a:pt x="3" y="25"/>
                    </a:lnTo>
                    <a:lnTo>
                      <a:pt x="5" y="23"/>
                    </a:lnTo>
                    <a:lnTo>
                      <a:pt x="8" y="23"/>
                    </a:lnTo>
                    <a:lnTo>
                      <a:pt x="10" y="23"/>
                    </a:lnTo>
                    <a:lnTo>
                      <a:pt x="12" y="23"/>
                    </a:lnTo>
                    <a:lnTo>
                      <a:pt x="12" y="25"/>
                    </a:lnTo>
                    <a:lnTo>
                      <a:pt x="12" y="29"/>
                    </a:lnTo>
                    <a:lnTo>
                      <a:pt x="12" y="30"/>
                    </a:lnTo>
                    <a:lnTo>
                      <a:pt x="13" y="32"/>
                    </a:lnTo>
                    <a:lnTo>
                      <a:pt x="15" y="32"/>
                    </a:lnTo>
                    <a:lnTo>
                      <a:pt x="15" y="34"/>
                    </a:lnTo>
                    <a:lnTo>
                      <a:pt x="17" y="34"/>
                    </a:lnTo>
                    <a:lnTo>
                      <a:pt x="20" y="34"/>
                    </a:lnTo>
                    <a:lnTo>
                      <a:pt x="22" y="34"/>
                    </a:lnTo>
                    <a:lnTo>
                      <a:pt x="23" y="34"/>
                    </a:lnTo>
                    <a:lnTo>
                      <a:pt x="25" y="32"/>
                    </a:lnTo>
                    <a:lnTo>
                      <a:pt x="28" y="32"/>
                    </a:lnTo>
                    <a:lnTo>
                      <a:pt x="30" y="30"/>
                    </a:lnTo>
                    <a:lnTo>
                      <a:pt x="32" y="29"/>
                    </a:lnTo>
                    <a:lnTo>
                      <a:pt x="32" y="27"/>
                    </a:lnTo>
                    <a:lnTo>
                      <a:pt x="33" y="25"/>
                    </a:lnTo>
                    <a:lnTo>
                      <a:pt x="37" y="23"/>
                    </a:lnTo>
                    <a:lnTo>
                      <a:pt x="37" y="25"/>
                    </a:lnTo>
                    <a:lnTo>
                      <a:pt x="39" y="29"/>
                    </a:lnTo>
                    <a:lnTo>
                      <a:pt x="42" y="30"/>
                    </a:lnTo>
                    <a:lnTo>
                      <a:pt x="44" y="32"/>
                    </a:lnTo>
                    <a:lnTo>
                      <a:pt x="45" y="34"/>
                    </a:lnTo>
                    <a:lnTo>
                      <a:pt x="45" y="32"/>
                    </a:lnTo>
                    <a:lnTo>
                      <a:pt x="47" y="30"/>
                    </a:lnTo>
                    <a:lnTo>
                      <a:pt x="49" y="27"/>
                    </a:lnTo>
                    <a:lnTo>
                      <a:pt x="50" y="25"/>
                    </a:lnTo>
                    <a:lnTo>
                      <a:pt x="50" y="22"/>
                    </a:lnTo>
                    <a:lnTo>
                      <a:pt x="52" y="23"/>
                    </a:lnTo>
                    <a:lnTo>
                      <a:pt x="54" y="25"/>
                    </a:lnTo>
                    <a:lnTo>
                      <a:pt x="57" y="25"/>
                    </a:lnTo>
                    <a:lnTo>
                      <a:pt x="60" y="25"/>
                    </a:lnTo>
                    <a:lnTo>
                      <a:pt x="64" y="25"/>
                    </a:lnTo>
                    <a:lnTo>
                      <a:pt x="62" y="23"/>
                    </a:lnTo>
                    <a:lnTo>
                      <a:pt x="62" y="22"/>
                    </a:lnTo>
                    <a:lnTo>
                      <a:pt x="64" y="20"/>
                    </a:lnTo>
                    <a:lnTo>
                      <a:pt x="65" y="20"/>
                    </a:lnTo>
                    <a:lnTo>
                      <a:pt x="67" y="18"/>
                    </a:lnTo>
                    <a:lnTo>
                      <a:pt x="67" y="17"/>
                    </a:lnTo>
                    <a:lnTo>
                      <a:pt x="69" y="15"/>
                    </a:lnTo>
                    <a:lnTo>
                      <a:pt x="67" y="13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748" name="Freeform 122">
                <a:extLst>
                  <a:ext uri="{FF2B5EF4-FFF2-40B4-BE49-F238E27FC236}">
                    <a16:creationId xmlns:a16="http://schemas.microsoft.com/office/drawing/2014/main" id="{281668E1-560C-464D-A2B1-1A933D0BC7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" y="551"/>
                <a:ext cx="69" cy="34"/>
              </a:xfrm>
              <a:custGeom>
                <a:avLst/>
                <a:gdLst>
                  <a:gd name="T0" fmla="*/ 65 w 69"/>
                  <a:gd name="T1" fmla="*/ 13 h 34"/>
                  <a:gd name="T2" fmla="*/ 60 w 69"/>
                  <a:gd name="T3" fmla="*/ 13 h 34"/>
                  <a:gd name="T4" fmla="*/ 57 w 69"/>
                  <a:gd name="T5" fmla="*/ 12 h 34"/>
                  <a:gd name="T6" fmla="*/ 54 w 69"/>
                  <a:gd name="T7" fmla="*/ 8 h 34"/>
                  <a:gd name="T8" fmla="*/ 55 w 69"/>
                  <a:gd name="T9" fmla="*/ 5 h 34"/>
                  <a:gd name="T10" fmla="*/ 52 w 69"/>
                  <a:gd name="T11" fmla="*/ 2 h 34"/>
                  <a:gd name="T12" fmla="*/ 45 w 69"/>
                  <a:gd name="T13" fmla="*/ 0 h 34"/>
                  <a:gd name="T14" fmla="*/ 40 w 69"/>
                  <a:gd name="T15" fmla="*/ 0 h 34"/>
                  <a:gd name="T16" fmla="*/ 32 w 69"/>
                  <a:gd name="T17" fmla="*/ 0 h 34"/>
                  <a:gd name="T18" fmla="*/ 25 w 69"/>
                  <a:gd name="T19" fmla="*/ 2 h 34"/>
                  <a:gd name="T20" fmla="*/ 22 w 69"/>
                  <a:gd name="T21" fmla="*/ 2 h 34"/>
                  <a:gd name="T22" fmla="*/ 17 w 69"/>
                  <a:gd name="T23" fmla="*/ 2 h 34"/>
                  <a:gd name="T24" fmla="*/ 13 w 69"/>
                  <a:gd name="T25" fmla="*/ 3 h 34"/>
                  <a:gd name="T26" fmla="*/ 13 w 69"/>
                  <a:gd name="T27" fmla="*/ 5 h 34"/>
                  <a:gd name="T28" fmla="*/ 10 w 69"/>
                  <a:gd name="T29" fmla="*/ 10 h 34"/>
                  <a:gd name="T30" fmla="*/ 6 w 69"/>
                  <a:gd name="T31" fmla="*/ 13 h 34"/>
                  <a:gd name="T32" fmla="*/ 5 w 69"/>
                  <a:gd name="T33" fmla="*/ 17 h 34"/>
                  <a:gd name="T34" fmla="*/ 1 w 69"/>
                  <a:gd name="T35" fmla="*/ 18 h 34"/>
                  <a:gd name="T36" fmla="*/ 0 w 69"/>
                  <a:gd name="T37" fmla="*/ 22 h 34"/>
                  <a:gd name="T38" fmla="*/ 0 w 69"/>
                  <a:gd name="T39" fmla="*/ 25 h 34"/>
                  <a:gd name="T40" fmla="*/ 1 w 69"/>
                  <a:gd name="T41" fmla="*/ 29 h 34"/>
                  <a:gd name="T42" fmla="*/ 5 w 69"/>
                  <a:gd name="T43" fmla="*/ 23 h 34"/>
                  <a:gd name="T44" fmla="*/ 10 w 69"/>
                  <a:gd name="T45" fmla="*/ 23 h 34"/>
                  <a:gd name="T46" fmla="*/ 12 w 69"/>
                  <a:gd name="T47" fmla="*/ 25 h 34"/>
                  <a:gd name="T48" fmla="*/ 12 w 69"/>
                  <a:gd name="T49" fmla="*/ 30 h 34"/>
                  <a:gd name="T50" fmla="*/ 15 w 69"/>
                  <a:gd name="T51" fmla="*/ 32 h 34"/>
                  <a:gd name="T52" fmla="*/ 17 w 69"/>
                  <a:gd name="T53" fmla="*/ 34 h 34"/>
                  <a:gd name="T54" fmla="*/ 22 w 69"/>
                  <a:gd name="T55" fmla="*/ 34 h 34"/>
                  <a:gd name="T56" fmla="*/ 25 w 69"/>
                  <a:gd name="T57" fmla="*/ 32 h 34"/>
                  <a:gd name="T58" fmla="*/ 30 w 69"/>
                  <a:gd name="T59" fmla="*/ 30 h 34"/>
                  <a:gd name="T60" fmla="*/ 32 w 69"/>
                  <a:gd name="T61" fmla="*/ 27 h 34"/>
                  <a:gd name="T62" fmla="*/ 37 w 69"/>
                  <a:gd name="T63" fmla="*/ 23 h 34"/>
                  <a:gd name="T64" fmla="*/ 39 w 69"/>
                  <a:gd name="T65" fmla="*/ 29 h 34"/>
                  <a:gd name="T66" fmla="*/ 44 w 69"/>
                  <a:gd name="T67" fmla="*/ 32 h 34"/>
                  <a:gd name="T68" fmla="*/ 45 w 69"/>
                  <a:gd name="T69" fmla="*/ 32 h 34"/>
                  <a:gd name="T70" fmla="*/ 49 w 69"/>
                  <a:gd name="T71" fmla="*/ 27 h 34"/>
                  <a:gd name="T72" fmla="*/ 50 w 69"/>
                  <a:gd name="T73" fmla="*/ 22 h 34"/>
                  <a:gd name="T74" fmla="*/ 54 w 69"/>
                  <a:gd name="T75" fmla="*/ 25 h 34"/>
                  <a:gd name="T76" fmla="*/ 60 w 69"/>
                  <a:gd name="T77" fmla="*/ 25 h 34"/>
                  <a:gd name="T78" fmla="*/ 62 w 69"/>
                  <a:gd name="T79" fmla="*/ 23 h 34"/>
                  <a:gd name="T80" fmla="*/ 64 w 69"/>
                  <a:gd name="T81" fmla="*/ 20 h 34"/>
                  <a:gd name="T82" fmla="*/ 67 w 69"/>
                  <a:gd name="T83" fmla="*/ 18 h 34"/>
                  <a:gd name="T84" fmla="*/ 69 w 69"/>
                  <a:gd name="T85" fmla="*/ 1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9" h="34">
                    <a:moveTo>
                      <a:pt x="67" y="13"/>
                    </a:moveTo>
                    <a:lnTo>
                      <a:pt x="65" y="13"/>
                    </a:lnTo>
                    <a:lnTo>
                      <a:pt x="64" y="15"/>
                    </a:lnTo>
                    <a:lnTo>
                      <a:pt x="60" y="13"/>
                    </a:lnTo>
                    <a:lnTo>
                      <a:pt x="59" y="13"/>
                    </a:lnTo>
                    <a:lnTo>
                      <a:pt x="57" y="12"/>
                    </a:lnTo>
                    <a:lnTo>
                      <a:pt x="55" y="10"/>
                    </a:lnTo>
                    <a:lnTo>
                      <a:pt x="54" y="8"/>
                    </a:lnTo>
                    <a:lnTo>
                      <a:pt x="55" y="7"/>
                    </a:lnTo>
                    <a:lnTo>
                      <a:pt x="55" y="5"/>
                    </a:lnTo>
                    <a:lnTo>
                      <a:pt x="54" y="3"/>
                    </a:lnTo>
                    <a:lnTo>
                      <a:pt x="52" y="2"/>
                    </a:lnTo>
                    <a:lnTo>
                      <a:pt x="49" y="0"/>
                    </a:lnTo>
                    <a:lnTo>
                      <a:pt x="45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35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5" y="2"/>
                    </a:lnTo>
                    <a:lnTo>
                      <a:pt x="23" y="0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17" y="2"/>
                    </a:lnTo>
                    <a:lnTo>
                      <a:pt x="15" y="2"/>
                    </a:lnTo>
                    <a:lnTo>
                      <a:pt x="13" y="3"/>
                    </a:lnTo>
                    <a:lnTo>
                      <a:pt x="15" y="5"/>
                    </a:lnTo>
                    <a:lnTo>
                      <a:pt x="13" y="5"/>
                    </a:lnTo>
                    <a:lnTo>
                      <a:pt x="12" y="7"/>
                    </a:lnTo>
                    <a:lnTo>
                      <a:pt x="10" y="10"/>
                    </a:lnTo>
                    <a:lnTo>
                      <a:pt x="8" y="12"/>
                    </a:lnTo>
                    <a:lnTo>
                      <a:pt x="6" y="13"/>
                    </a:lnTo>
                    <a:lnTo>
                      <a:pt x="5" y="15"/>
                    </a:lnTo>
                    <a:lnTo>
                      <a:pt x="5" y="17"/>
                    </a:lnTo>
                    <a:lnTo>
                      <a:pt x="3" y="17"/>
                    </a:lnTo>
                    <a:lnTo>
                      <a:pt x="1" y="18"/>
                    </a:lnTo>
                    <a:lnTo>
                      <a:pt x="1" y="20"/>
                    </a:lnTo>
                    <a:lnTo>
                      <a:pt x="0" y="22"/>
                    </a:lnTo>
                    <a:lnTo>
                      <a:pt x="0" y="23"/>
                    </a:lnTo>
                    <a:lnTo>
                      <a:pt x="0" y="25"/>
                    </a:lnTo>
                    <a:lnTo>
                      <a:pt x="0" y="29"/>
                    </a:lnTo>
                    <a:lnTo>
                      <a:pt x="1" y="29"/>
                    </a:lnTo>
                    <a:lnTo>
                      <a:pt x="3" y="25"/>
                    </a:lnTo>
                    <a:lnTo>
                      <a:pt x="5" y="23"/>
                    </a:lnTo>
                    <a:lnTo>
                      <a:pt x="8" y="23"/>
                    </a:lnTo>
                    <a:lnTo>
                      <a:pt x="10" y="23"/>
                    </a:lnTo>
                    <a:lnTo>
                      <a:pt x="12" y="23"/>
                    </a:lnTo>
                    <a:lnTo>
                      <a:pt x="12" y="25"/>
                    </a:lnTo>
                    <a:lnTo>
                      <a:pt x="12" y="29"/>
                    </a:lnTo>
                    <a:lnTo>
                      <a:pt x="12" y="30"/>
                    </a:lnTo>
                    <a:lnTo>
                      <a:pt x="13" y="32"/>
                    </a:lnTo>
                    <a:lnTo>
                      <a:pt x="15" y="32"/>
                    </a:lnTo>
                    <a:lnTo>
                      <a:pt x="15" y="34"/>
                    </a:lnTo>
                    <a:lnTo>
                      <a:pt x="17" y="34"/>
                    </a:lnTo>
                    <a:lnTo>
                      <a:pt x="20" y="34"/>
                    </a:lnTo>
                    <a:lnTo>
                      <a:pt x="22" y="34"/>
                    </a:lnTo>
                    <a:lnTo>
                      <a:pt x="23" y="34"/>
                    </a:lnTo>
                    <a:lnTo>
                      <a:pt x="25" y="32"/>
                    </a:lnTo>
                    <a:lnTo>
                      <a:pt x="28" y="32"/>
                    </a:lnTo>
                    <a:lnTo>
                      <a:pt x="30" y="30"/>
                    </a:lnTo>
                    <a:lnTo>
                      <a:pt x="32" y="29"/>
                    </a:lnTo>
                    <a:lnTo>
                      <a:pt x="32" y="27"/>
                    </a:lnTo>
                    <a:lnTo>
                      <a:pt x="33" y="25"/>
                    </a:lnTo>
                    <a:lnTo>
                      <a:pt x="37" y="23"/>
                    </a:lnTo>
                    <a:lnTo>
                      <a:pt x="37" y="25"/>
                    </a:lnTo>
                    <a:lnTo>
                      <a:pt x="39" y="29"/>
                    </a:lnTo>
                    <a:lnTo>
                      <a:pt x="42" y="30"/>
                    </a:lnTo>
                    <a:lnTo>
                      <a:pt x="44" y="32"/>
                    </a:lnTo>
                    <a:lnTo>
                      <a:pt x="45" y="34"/>
                    </a:lnTo>
                    <a:lnTo>
                      <a:pt x="45" y="32"/>
                    </a:lnTo>
                    <a:lnTo>
                      <a:pt x="47" y="30"/>
                    </a:lnTo>
                    <a:lnTo>
                      <a:pt x="49" y="27"/>
                    </a:lnTo>
                    <a:lnTo>
                      <a:pt x="50" y="25"/>
                    </a:lnTo>
                    <a:lnTo>
                      <a:pt x="50" y="22"/>
                    </a:lnTo>
                    <a:lnTo>
                      <a:pt x="52" y="23"/>
                    </a:lnTo>
                    <a:lnTo>
                      <a:pt x="54" y="25"/>
                    </a:lnTo>
                    <a:lnTo>
                      <a:pt x="57" y="25"/>
                    </a:lnTo>
                    <a:lnTo>
                      <a:pt x="60" y="25"/>
                    </a:lnTo>
                    <a:lnTo>
                      <a:pt x="64" y="25"/>
                    </a:lnTo>
                    <a:lnTo>
                      <a:pt x="62" y="23"/>
                    </a:lnTo>
                    <a:lnTo>
                      <a:pt x="62" y="22"/>
                    </a:lnTo>
                    <a:lnTo>
                      <a:pt x="64" y="20"/>
                    </a:lnTo>
                    <a:lnTo>
                      <a:pt x="65" y="20"/>
                    </a:lnTo>
                    <a:lnTo>
                      <a:pt x="67" y="18"/>
                    </a:lnTo>
                    <a:lnTo>
                      <a:pt x="67" y="17"/>
                    </a:lnTo>
                    <a:lnTo>
                      <a:pt x="69" y="15"/>
                    </a:lnTo>
                    <a:lnTo>
                      <a:pt x="67" y="13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69" name="Group 1668">
              <a:extLst>
                <a:ext uri="{FF2B5EF4-FFF2-40B4-BE49-F238E27FC236}">
                  <a16:creationId xmlns:a16="http://schemas.microsoft.com/office/drawing/2014/main" id="{37EAA4CC-507A-0E49-9B38-6CCA1CBB99A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3" y="451"/>
              <a:ext cx="283" cy="161"/>
              <a:chOff x="503" y="451"/>
              <a:chExt cx="283" cy="161"/>
            </a:xfrm>
          </p:grpSpPr>
          <p:sp>
            <p:nvSpPr>
              <p:cNvPr id="1745" name="Freeform 119">
                <a:extLst>
                  <a:ext uri="{FF2B5EF4-FFF2-40B4-BE49-F238E27FC236}">
                    <a16:creationId xmlns:a16="http://schemas.microsoft.com/office/drawing/2014/main" id="{9FD056AF-0744-C84B-88AE-D016120FAB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" y="451"/>
                <a:ext cx="283" cy="161"/>
              </a:xfrm>
              <a:custGeom>
                <a:avLst/>
                <a:gdLst>
                  <a:gd name="T0" fmla="*/ 131 w 283"/>
                  <a:gd name="T1" fmla="*/ 11 h 161"/>
                  <a:gd name="T2" fmla="*/ 129 w 283"/>
                  <a:gd name="T3" fmla="*/ 17 h 161"/>
                  <a:gd name="T4" fmla="*/ 114 w 283"/>
                  <a:gd name="T5" fmla="*/ 19 h 161"/>
                  <a:gd name="T6" fmla="*/ 101 w 283"/>
                  <a:gd name="T7" fmla="*/ 16 h 161"/>
                  <a:gd name="T8" fmla="*/ 86 w 283"/>
                  <a:gd name="T9" fmla="*/ 16 h 161"/>
                  <a:gd name="T10" fmla="*/ 57 w 283"/>
                  <a:gd name="T11" fmla="*/ 9 h 161"/>
                  <a:gd name="T12" fmla="*/ 37 w 283"/>
                  <a:gd name="T13" fmla="*/ 12 h 161"/>
                  <a:gd name="T14" fmla="*/ 21 w 283"/>
                  <a:gd name="T15" fmla="*/ 17 h 161"/>
                  <a:gd name="T16" fmla="*/ 32 w 283"/>
                  <a:gd name="T17" fmla="*/ 39 h 161"/>
                  <a:gd name="T18" fmla="*/ 18 w 283"/>
                  <a:gd name="T19" fmla="*/ 53 h 161"/>
                  <a:gd name="T20" fmla="*/ 10 w 283"/>
                  <a:gd name="T21" fmla="*/ 63 h 161"/>
                  <a:gd name="T22" fmla="*/ 6 w 283"/>
                  <a:gd name="T23" fmla="*/ 64 h 161"/>
                  <a:gd name="T24" fmla="*/ 1 w 283"/>
                  <a:gd name="T25" fmla="*/ 80 h 161"/>
                  <a:gd name="T26" fmla="*/ 15 w 283"/>
                  <a:gd name="T27" fmla="*/ 90 h 161"/>
                  <a:gd name="T28" fmla="*/ 30 w 283"/>
                  <a:gd name="T29" fmla="*/ 90 h 161"/>
                  <a:gd name="T30" fmla="*/ 52 w 283"/>
                  <a:gd name="T31" fmla="*/ 90 h 161"/>
                  <a:gd name="T32" fmla="*/ 70 w 283"/>
                  <a:gd name="T33" fmla="*/ 83 h 161"/>
                  <a:gd name="T34" fmla="*/ 102 w 283"/>
                  <a:gd name="T35" fmla="*/ 83 h 161"/>
                  <a:gd name="T36" fmla="*/ 119 w 283"/>
                  <a:gd name="T37" fmla="*/ 118 h 161"/>
                  <a:gd name="T38" fmla="*/ 109 w 283"/>
                  <a:gd name="T39" fmla="*/ 123 h 161"/>
                  <a:gd name="T40" fmla="*/ 99 w 283"/>
                  <a:gd name="T41" fmla="*/ 130 h 161"/>
                  <a:gd name="T42" fmla="*/ 96 w 283"/>
                  <a:gd name="T43" fmla="*/ 142 h 161"/>
                  <a:gd name="T44" fmla="*/ 113 w 283"/>
                  <a:gd name="T45" fmla="*/ 145 h 161"/>
                  <a:gd name="T46" fmla="*/ 119 w 283"/>
                  <a:gd name="T47" fmla="*/ 135 h 161"/>
                  <a:gd name="T48" fmla="*/ 128 w 283"/>
                  <a:gd name="T49" fmla="*/ 125 h 161"/>
                  <a:gd name="T50" fmla="*/ 134 w 283"/>
                  <a:gd name="T51" fmla="*/ 118 h 161"/>
                  <a:gd name="T52" fmla="*/ 146 w 283"/>
                  <a:gd name="T53" fmla="*/ 113 h 161"/>
                  <a:gd name="T54" fmla="*/ 155 w 283"/>
                  <a:gd name="T55" fmla="*/ 110 h 161"/>
                  <a:gd name="T56" fmla="*/ 158 w 283"/>
                  <a:gd name="T57" fmla="*/ 118 h 161"/>
                  <a:gd name="T58" fmla="*/ 153 w 283"/>
                  <a:gd name="T59" fmla="*/ 120 h 161"/>
                  <a:gd name="T60" fmla="*/ 163 w 283"/>
                  <a:gd name="T61" fmla="*/ 127 h 161"/>
                  <a:gd name="T62" fmla="*/ 170 w 283"/>
                  <a:gd name="T63" fmla="*/ 135 h 161"/>
                  <a:gd name="T64" fmla="*/ 177 w 283"/>
                  <a:gd name="T65" fmla="*/ 149 h 161"/>
                  <a:gd name="T66" fmla="*/ 180 w 283"/>
                  <a:gd name="T67" fmla="*/ 161 h 161"/>
                  <a:gd name="T68" fmla="*/ 192 w 283"/>
                  <a:gd name="T69" fmla="*/ 154 h 161"/>
                  <a:gd name="T70" fmla="*/ 200 w 283"/>
                  <a:gd name="T71" fmla="*/ 152 h 161"/>
                  <a:gd name="T72" fmla="*/ 214 w 283"/>
                  <a:gd name="T73" fmla="*/ 149 h 161"/>
                  <a:gd name="T74" fmla="*/ 220 w 283"/>
                  <a:gd name="T75" fmla="*/ 140 h 161"/>
                  <a:gd name="T76" fmla="*/ 195 w 283"/>
                  <a:gd name="T77" fmla="*/ 137 h 161"/>
                  <a:gd name="T78" fmla="*/ 182 w 283"/>
                  <a:gd name="T79" fmla="*/ 127 h 161"/>
                  <a:gd name="T80" fmla="*/ 192 w 283"/>
                  <a:gd name="T81" fmla="*/ 129 h 161"/>
                  <a:gd name="T82" fmla="*/ 209 w 283"/>
                  <a:gd name="T83" fmla="*/ 120 h 161"/>
                  <a:gd name="T84" fmla="*/ 247 w 283"/>
                  <a:gd name="T85" fmla="*/ 108 h 161"/>
                  <a:gd name="T86" fmla="*/ 252 w 283"/>
                  <a:gd name="T87" fmla="*/ 102 h 161"/>
                  <a:gd name="T88" fmla="*/ 263 w 283"/>
                  <a:gd name="T89" fmla="*/ 93 h 161"/>
                  <a:gd name="T90" fmla="*/ 278 w 283"/>
                  <a:gd name="T91" fmla="*/ 90 h 161"/>
                  <a:gd name="T92" fmla="*/ 274 w 283"/>
                  <a:gd name="T93" fmla="*/ 78 h 161"/>
                  <a:gd name="T94" fmla="*/ 278 w 283"/>
                  <a:gd name="T95" fmla="*/ 73 h 161"/>
                  <a:gd name="T96" fmla="*/ 283 w 283"/>
                  <a:gd name="T97" fmla="*/ 61 h 161"/>
                  <a:gd name="T98" fmla="*/ 274 w 283"/>
                  <a:gd name="T99" fmla="*/ 56 h 161"/>
                  <a:gd name="T100" fmla="*/ 261 w 283"/>
                  <a:gd name="T101" fmla="*/ 49 h 161"/>
                  <a:gd name="T102" fmla="*/ 251 w 283"/>
                  <a:gd name="T103" fmla="*/ 51 h 161"/>
                  <a:gd name="T104" fmla="*/ 241 w 283"/>
                  <a:gd name="T105" fmla="*/ 43 h 161"/>
                  <a:gd name="T106" fmla="*/ 224 w 283"/>
                  <a:gd name="T107" fmla="*/ 43 h 161"/>
                  <a:gd name="T108" fmla="*/ 210 w 283"/>
                  <a:gd name="T109" fmla="*/ 41 h 161"/>
                  <a:gd name="T110" fmla="*/ 199 w 283"/>
                  <a:gd name="T111" fmla="*/ 26 h 161"/>
                  <a:gd name="T112" fmla="*/ 193 w 283"/>
                  <a:gd name="T113" fmla="*/ 14 h 161"/>
                  <a:gd name="T114" fmla="*/ 180 w 283"/>
                  <a:gd name="T115" fmla="*/ 2 h 161"/>
                  <a:gd name="T116" fmla="*/ 158 w 283"/>
                  <a:gd name="T117" fmla="*/ 7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83" h="161">
                    <a:moveTo>
                      <a:pt x="150" y="5"/>
                    </a:moveTo>
                    <a:lnTo>
                      <a:pt x="148" y="5"/>
                    </a:lnTo>
                    <a:lnTo>
                      <a:pt x="145" y="5"/>
                    </a:lnTo>
                    <a:lnTo>
                      <a:pt x="143" y="5"/>
                    </a:lnTo>
                    <a:lnTo>
                      <a:pt x="141" y="5"/>
                    </a:lnTo>
                    <a:lnTo>
                      <a:pt x="138" y="9"/>
                    </a:lnTo>
                    <a:lnTo>
                      <a:pt x="136" y="9"/>
                    </a:lnTo>
                    <a:lnTo>
                      <a:pt x="133" y="11"/>
                    </a:lnTo>
                    <a:lnTo>
                      <a:pt x="131" y="11"/>
                    </a:lnTo>
                    <a:lnTo>
                      <a:pt x="129" y="11"/>
                    </a:lnTo>
                    <a:lnTo>
                      <a:pt x="128" y="11"/>
                    </a:lnTo>
                    <a:lnTo>
                      <a:pt x="128" y="12"/>
                    </a:lnTo>
                    <a:lnTo>
                      <a:pt x="128" y="14"/>
                    </a:lnTo>
                    <a:lnTo>
                      <a:pt x="129" y="14"/>
                    </a:lnTo>
                    <a:lnTo>
                      <a:pt x="129" y="16"/>
                    </a:lnTo>
                    <a:lnTo>
                      <a:pt x="131" y="16"/>
                    </a:lnTo>
                    <a:lnTo>
                      <a:pt x="131" y="17"/>
                    </a:lnTo>
                    <a:lnTo>
                      <a:pt x="129" y="17"/>
                    </a:lnTo>
                    <a:lnTo>
                      <a:pt x="128" y="17"/>
                    </a:lnTo>
                    <a:lnTo>
                      <a:pt x="126" y="17"/>
                    </a:lnTo>
                    <a:lnTo>
                      <a:pt x="126" y="19"/>
                    </a:lnTo>
                    <a:lnTo>
                      <a:pt x="124" y="19"/>
                    </a:lnTo>
                    <a:lnTo>
                      <a:pt x="123" y="19"/>
                    </a:lnTo>
                    <a:lnTo>
                      <a:pt x="121" y="19"/>
                    </a:lnTo>
                    <a:lnTo>
                      <a:pt x="119" y="19"/>
                    </a:lnTo>
                    <a:lnTo>
                      <a:pt x="116" y="21"/>
                    </a:lnTo>
                    <a:lnTo>
                      <a:pt x="114" y="19"/>
                    </a:lnTo>
                    <a:lnTo>
                      <a:pt x="114" y="17"/>
                    </a:lnTo>
                    <a:lnTo>
                      <a:pt x="113" y="17"/>
                    </a:lnTo>
                    <a:lnTo>
                      <a:pt x="113" y="16"/>
                    </a:lnTo>
                    <a:lnTo>
                      <a:pt x="111" y="16"/>
                    </a:lnTo>
                    <a:lnTo>
                      <a:pt x="109" y="16"/>
                    </a:lnTo>
                    <a:lnTo>
                      <a:pt x="109" y="17"/>
                    </a:lnTo>
                    <a:lnTo>
                      <a:pt x="107" y="17"/>
                    </a:lnTo>
                    <a:lnTo>
                      <a:pt x="104" y="17"/>
                    </a:lnTo>
                    <a:lnTo>
                      <a:pt x="101" y="16"/>
                    </a:lnTo>
                    <a:lnTo>
                      <a:pt x="99" y="16"/>
                    </a:lnTo>
                    <a:lnTo>
                      <a:pt x="97" y="16"/>
                    </a:lnTo>
                    <a:lnTo>
                      <a:pt x="96" y="16"/>
                    </a:lnTo>
                    <a:lnTo>
                      <a:pt x="94" y="16"/>
                    </a:lnTo>
                    <a:lnTo>
                      <a:pt x="92" y="17"/>
                    </a:lnTo>
                    <a:lnTo>
                      <a:pt x="91" y="17"/>
                    </a:lnTo>
                    <a:lnTo>
                      <a:pt x="89" y="16"/>
                    </a:lnTo>
                    <a:lnTo>
                      <a:pt x="87" y="16"/>
                    </a:lnTo>
                    <a:lnTo>
                      <a:pt x="86" y="16"/>
                    </a:lnTo>
                    <a:lnTo>
                      <a:pt x="84" y="14"/>
                    </a:lnTo>
                    <a:lnTo>
                      <a:pt x="81" y="14"/>
                    </a:lnTo>
                    <a:lnTo>
                      <a:pt x="75" y="14"/>
                    </a:lnTo>
                    <a:lnTo>
                      <a:pt x="70" y="14"/>
                    </a:lnTo>
                    <a:lnTo>
                      <a:pt x="67" y="14"/>
                    </a:lnTo>
                    <a:lnTo>
                      <a:pt x="64" y="12"/>
                    </a:lnTo>
                    <a:lnTo>
                      <a:pt x="60" y="11"/>
                    </a:lnTo>
                    <a:lnTo>
                      <a:pt x="59" y="9"/>
                    </a:lnTo>
                    <a:lnTo>
                      <a:pt x="57" y="9"/>
                    </a:lnTo>
                    <a:lnTo>
                      <a:pt x="55" y="9"/>
                    </a:lnTo>
                    <a:lnTo>
                      <a:pt x="54" y="11"/>
                    </a:lnTo>
                    <a:lnTo>
                      <a:pt x="52" y="9"/>
                    </a:lnTo>
                    <a:lnTo>
                      <a:pt x="48" y="9"/>
                    </a:lnTo>
                    <a:lnTo>
                      <a:pt x="47" y="9"/>
                    </a:lnTo>
                    <a:lnTo>
                      <a:pt x="43" y="9"/>
                    </a:lnTo>
                    <a:lnTo>
                      <a:pt x="40" y="9"/>
                    </a:lnTo>
                    <a:lnTo>
                      <a:pt x="38" y="11"/>
                    </a:lnTo>
                    <a:lnTo>
                      <a:pt x="37" y="12"/>
                    </a:lnTo>
                    <a:lnTo>
                      <a:pt x="35" y="12"/>
                    </a:lnTo>
                    <a:lnTo>
                      <a:pt x="35" y="14"/>
                    </a:lnTo>
                    <a:lnTo>
                      <a:pt x="33" y="14"/>
                    </a:lnTo>
                    <a:lnTo>
                      <a:pt x="33" y="16"/>
                    </a:lnTo>
                    <a:lnTo>
                      <a:pt x="30" y="16"/>
                    </a:lnTo>
                    <a:lnTo>
                      <a:pt x="28" y="17"/>
                    </a:lnTo>
                    <a:lnTo>
                      <a:pt x="27" y="17"/>
                    </a:lnTo>
                    <a:lnTo>
                      <a:pt x="25" y="17"/>
                    </a:lnTo>
                    <a:lnTo>
                      <a:pt x="21" y="17"/>
                    </a:lnTo>
                    <a:lnTo>
                      <a:pt x="25" y="22"/>
                    </a:lnTo>
                    <a:lnTo>
                      <a:pt x="25" y="24"/>
                    </a:lnTo>
                    <a:lnTo>
                      <a:pt x="25" y="26"/>
                    </a:lnTo>
                    <a:lnTo>
                      <a:pt x="25" y="27"/>
                    </a:lnTo>
                    <a:lnTo>
                      <a:pt x="27" y="27"/>
                    </a:lnTo>
                    <a:lnTo>
                      <a:pt x="28" y="31"/>
                    </a:lnTo>
                    <a:lnTo>
                      <a:pt x="32" y="34"/>
                    </a:lnTo>
                    <a:lnTo>
                      <a:pt x="32" y="38"/>
                    </a:lnTo>
                    <a:lnTo>
                      <a:pt x="32" y="39"/>
                    </a:lnTo>
                    <a:lnTo>
                      <a:pt x="32" y="41"/>
                    </a:lnTo>
                    <a:lnTo>
                      <a:pt x="32" y="43"/>
                    </a:lnTo>
                    <a:lnTo>
                      <a:pt x="28" y="44"/>
                    </a:lnTo>
                    <a:lnTo>
                      <a:pt x="25" y="46"/>
                    </a:lnTo>
                    <a:lnTo>
                      <a:pt x="23" y="48"/>
                    </a:lnTo>
                    <a:lnTo>
                      <a:pt x="21" y="48"/>
                    </a:lnTo>
                    <a:lnTo>
                      <a:pt x="21" y="51"/>
                    </a:lnTo>
                    <a:lnTo>
                      <a:pt x="20" y="51"/>
                    </a:lnTo>
                    <a:lnTo>
                      <a:pt x="18" y="53"/>
                    </a:lnTo>
                    <a:lnTo>
                      <a:pt x="16" y="53"/>
                    </a:lnTo>
                    <a:lnTo>
                      <a:pt x="15" y="54"/>
                    </a:lnTo>
                    <a:lnTo>
                      <a:pt x="13" y="54"/>
                    </a:lnTo>
                    <a:lnTo>
                      <a:pt x="11" y="56"/>
                    </a:lnTo>
                    <a:lnTo>
                      <a:pt x="11" y="58"/>
                    </a:lnTo>
                    <a:lnTo>
                      <a:pt x="11" y="59"/>
                    </a:lnTo>
                    <a:lnTo>
                      <a:pt x="10" y="59"/>
                    </a:lnTo>
                    <a:lnTo>
                      <a:pt x="10" y="61"/>
                    </a:lnTo>
                    <a:lnTo>
                      <a:pt x="10" y="63"/>
                    </a:lnTo>
                    <a:lnTo>
                      <a:pt x="11" y="64"/>
                    </a:lnTo>
                    <a:lnTo>
                      <a:pt x="13" y="64"/>
                    </a:lnTo>
                    <a:lnTo>
                      <a:pt x="13" y="66"/>
                    </a:lnTo>
                    <a:lnTo>
                      <a:pt x="13" y="68"/>
                    </a:lnTo>
                    <a:lnTo>
                      <a:pt x="11" y="68"/>
                    </a:lnTo>
                    <a:lnTo>
                      <a:pt x="10" y="68"/>
                    </a:lnTo>
                    <a:lnTo>
                      <a:pt x="10" y="66"/>
                    </a:lnTo>
                    <a:lnTo>
                      <a:pt x="8" y="64"/>
                    </a:lnTo>
                    <a:lnTo>
                      <a:pt x="6" y="64"/>
                    </a:lnTo>
                    <a:lnTo>
                      <a:pt x="3" y="64"/>
                    </a:lnTo>
                    <a:lnTo>
                      <a:pt x="1" y="64"/>
                    </a:lnTo>
                    <a:lnTo>
                      <a:pt x="0" y="64"/>
                    </a:lnTo>
                    <a:lnTo>
                      <a:pt x="0" y="66"/>
                    </a:lnTo>
                    <a:lnTo>
                      <a:pt x="0" y="68"/>
                    </a:lnTo>
                    <a:lnTo>
                      <a:pt x="0" y="70"/>
                    </a:lnTo>
                    <a:lnTo>
                      <a:pt x="0" y="71"/>
                    </a:lnTo>
                    <a:lnTo>
                      <a:pt x="1" y="76"/>
                    </a:lnTo>
                    <a:lnTo>
                      <a:pt x="1" y="80"/>
                    </a:lnTo>
                    <a:lnTo>
                      <a:pt x="5" y="85"/>
                    </a:lnTo>
                    <a:lnTo>
                      <a:pt x="6" y="88"/>
                    </a:lnTo>
                    <a:lnTo>
                      <a:pt x="8" y="90"/>
                    </a:lnTo>
                    <a:lnTo>
                      <a:pt x="10" y="91"/>
                    </a:lnTo>
                    <a:lnTo>
                      <a:pt x="11" y="91"/>
                    </a:lnTo>
                    <a:lnTo>
                      <a:pt x="11" y="93"/>
                    </a:lnTo>
                    <a:lnTo>
                      <a:pt x="13" y="91"/>
                    </a:lnTo>
                    <a:lnTo>
                      <a:pt x="15" y="91"/>
                    </a:lnTo>
                    <a:lnTo>
                      <a:pt x="15" y="90"/>
                    </a:lnTo>
                    <a:lnTo>
                      <a:pt x="15" y="88"/>
                    </a:lnTo>
                    <a:lnTo>
                      <a:pt x="16" y="88"/>
                    </a:lnTo>
                    <a:lnTo>
                      <a:pt x="18" y="86"/>
                    </a:lnTo>
                    <a:lnTo>
                      <a:pt x="20" y="86"/>
                    </a:lnTo>
                    <a:lnTo>
                      <a:pt x="23" y="86"/>
                    </a:lnTo>
                    <a:lnTo>
                      <a:pt x="25" y="88"/>
                    </a:lnTo>
                    <a:lnTo>
                      <a:pt x="27" y="90"/>
                    </a:lnTo>
                    <a:lnTo>
                      <a:pt x="28" y="90"/>
                    </a:lnTo>
                    <a:lnTo>
                      <a:pt x="30" y="90"/>
                    </a:lnTo>
                    <a:lnTo>
                      <a:pt x="35" y="90"/>
                    </a:lnTo>
                    <a:lnTo>
                      <a:pt x="37" y="90"/>
                    </a:lnTo>
                    <a:lnTo>
                      <a:pt x="38" y="90"/>
                    </a:lnTo>
                    <a:lnTo>
                      <a:pt x="40" y="91"/>
                    </a:lnTo>
                    <a:lnTo>
                      <a:pt x="42" y="91"/>
                    </a:lnTo>
                    <a:lnTo>
                      <a:pt x="43" y="91"/>
                    </a:lnTo>
                    <a:lnTo>
                      <a:pt x="45" y="90"/>
                    </a:lnTo>
                    <a:lnTo>
                      <a:pt x="47" y="90"/>
                    </a:lnTo>
                    <a:lnTo>
                      <a:pt x="52" y="90"/>
                    </a:lnTo>
                    <a:lnTo>
                      <a:pt x="55" y="90"/>
                    </a:lnTo>
                    <a:lnTo>
                      <a:pt x="57" y="90"/>
                    </a:lnTo>
                    <a:lnTo>
                      <a:pt x="60" y="88"/>
                    </a:lnTo>
                    <a:lnTo>
                      <a:pt x="62" y="88"/>
                    </a:lnTo>
                    <a:lnTo>
                      <a:pt x="64" y="86"/>
                    </a:lnTo>
                    <a:lnTo>
                      <a:pt x="64" y="85"/>
                    </a:lnTo>
                    <a:lnTo>
                      <a:pt x="65" y="85"/>
                    </a:lnTo>
                    <a:lnTo>
                      <a:pt x="69" y="83"/>
                    </a:lnTo>
                    <a:lnTo>
                      <a:pt x="70" y="83"/>
                    </a:lnTo>
                    <a:lnTo>
                      <a:pt x="74" y="81"/>
                    </a:lnTo>
                    <a:lnTo>
                      <a:pt x="75" y="80"/>
                    </a:lnTo>
                    <a:lnTo>
                      <a:pt x="77" y="80"/>
                    </a:lnTo>
                    <a:lnTo>
                      <a:pt x="81" y="80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91" y="80"/>
                    </a:lnTo>
                    <a:lnTo>
                      <a:pt x="94" y="81"/>
                    </a:lnTo>
                    <a:lnTo>
                      <a:pt x="102" y="83"/>
                    </a:lnTo>
                    <a:lnTo>
                      <a:pt x="107" y="85"/>
                    </a:lnTo>
                    <a:lnTo>
                      <a:pt x="111" y="88"/>
                    </a:lnTo>
                    <a:lnTo>
                      <a:pt x="113" y="91"/>
                    </a:lnTo>
                    <a:lnTo>
                      <a:pt x="114" y="97"/>
                    </a:lnTo>
                    <a:lnTo>
                      <a:pt x="118" y="102"/>
                    </a:lnTo>
                    <a:lnTo>
                      <a:pt x="118" y="105"/>
                    </a:lnTo>
                    <a:lnTo>
                      <a:pt x="119" y="108"/>
                    </a:lnTo>
                    <a:lnTo>
                      <a:pt x="119" y="113"/>
                    </a:lnTo>
                    <a:lnTo>
                      <a:pt x="119" y="118"/>
                    </a:lnTo>
                    <a:lnTo>
                      <a:pt x="118" y="118"/>
                    </a:lnTo>
                    <a:lnTo>
                      <a:pt x="116" y="118"/>
                    </a:lnTo>
                    <a:lnTo>
                      <a:pt x="116" y="120"/>
                    </a:lnTo>
                    <a:lnTo>
                      <a:pt x="114" y="120"/>
                    </a:lnTo>
                    <a:lnTo>
                      <a:pt x="113" y="120"/>
                    </a:lnTo>
                    <a:lnTo>
                      <a:pt x="111" y="120"/>
                    </a:lnTo>
                    <a:lnTo>
                      <a:pt x="111" y="122"/>
                    </a:lnTo>
                    <a:lnTo>
                      <a:pt x="109" y="122"/>
                    </a:lnTo>
                    <a:lnTo>
                      <a:pt x="109" y="123"/>
                    </a:lnTo>
                    <a:lnTo>
                      <a:pt x="109" y="125"/>
                    </a:lnTo>
                    <a:lnTo>
                      <a:pt x="109" y="127"/>
                    </a:lnTo>
                    <a:lnTo>
                      <a:pt x="107" y="127"/>
                    </a:lnTo>
                    <a:lnTo>
                      <a:pt x="106" y="127"/>
                    </a:lnTo>
                    <a:lnTo>
                      <a:pt x="106" y="129"/>
                    </a:lnTo>
                    <a:lnTo>
                      <a:pt x="104" y="129"/>
                    </a:lnTo>
                    <a:lnTo>
                      <a:pt x="102" y="129"/>
                    </a:lnTo>
                    <a:lnTo>
                      <a:pt x="101" y="130"/>
                    </a:lnTo>
                    <a:lnTo>
                      <a:pt x="99" y="130"/>
                    </a:lnTo>
                    <a:lnTo>
                      <a:pt x="97" y="132"/>
                    </a:lnTo>
                    <a:lnTo>
                      <a:pt x="94" y="132"/>
                    </a:lnTo>
                    <a:lnTo>
                      <a:pt x="92" y="132"/>
                    </a:lnTo>
                    <a:lnTo>
                      <a:pt x="91" y="134"/>
                    </a:lnTo>
                    <a:lnTo>
                      <a:pt x="91" y="135"/>
                    </a:lnTo>
                    <a:lnTo>
                      <a:pt x="91" y="139"/>
                    </a:lnTo>
                    <a:lnTo>
                      <a:pt x="92" y="140"/>
                    </a:lnTo>
                    <a:lnTo>
                      <a:pt x="94" y="140"/>
                    </a:lnTo>
                    <a:lnTo>
                      <a:pt x="96" y="142"/>
                    </a:lnTo>
                    <a:lnTo>
                      <a:pt x="97" y="142"/>
                    </a:lnTo>
                    <a:lnTo>
                      <a:pt x="99" y="144"/>
                    </a:lnTo>
                    <a:lnTo>
                      <a:pt x="101" y="145"/>
                    </a:lnTo>
                    <a:lnTo>
                      <a:pt x="104" y="145"/>
                    </a:lnTo>
                    <a:lnTo>
                      <a:pt x="106" y="145"/>
                    </a:lnTo>
                    <a:lnTo>
                      <a:pt x="107" y="145"/>
                    </a:lnTo>
                    <a:lnTo>
                      <a:pt x="109" y="145"/>
                    </a:lnTo>
                    <a:lnTo>
                      <a:pt x="111" y="145"/>
                    </a:lnTo>
                    <a:lnTo>
                      <a:pt x="113" y="145"/>
                    </a:lnTo>
                    <a:lnTo>
                      <a:pt x="114" y="145"/>
                    </a:lnTo>
                    <a:lnTo>
                      <a:pt x="116" y="145"/>
                    </a:lnTo>
                    <a:lnTo>
                      <a:pt x="118" y="145"/>
                    </a:lnTo>
                    <a:lnTo>
                      <a:pt x="118" y="144"/>
                    </a:lnTo>
                    <a:lnTo>
                      <a:pt x="118" y="142"/>
                    </a:lnTo>
                    <a:lnTo>
                      <a:pt x="118" y="140"/>
                    </a:lnTo>
                    <a:lnTo>
                      <a:pt x="119" y="139"/>
                    </a:lnTo>
                    <a:lnTo>
                      <a:pt x="119" y="137"/>
                    </a:lnTo>
                    <a:lnTo>
                      <a:pt x="119" y="135"/>
                    </a:lnTo>
                    <a:lnTo>
                      <a:pt x="121" y="134"/>
                    </a:lnTo>
                    <a:lnTo>
                      <a:pt x="123" y="132"/>
                    </a:lnTo>
                    <a:lnTo>
                      <a:pt x="124" y="132"/>
                    </a:lnTo>
                    <a:lnTo>
                      <a:pt x="126" y="132"/>
                    </a:lnTo>
                    <a:lnTo>
                      <a:pt x="126" y="129"/>
                    </a:lnTo>
                    <a:lnTo>
                      <a:pt x="128" y="129"/>
                    </a:lnTo>
                    <a:lnTo>
                      <a:pt x="128" y="127"/>
                    </a:lnTo>
                    <a:lnTo>
                      <a:pt x="126" y="127"/>
                    </a:lnTo>
                    <a:lnTo>
                      <a:pt x="128" y="125"/>
                    </a:lnTo>
                    <a:lnTo>
                      <a:pt x="126" y="125"/>
                    </a:lnTo>
                    <a:lnTo>
                      <a:pt x="128" y="123"/>
                    </a:lnTo>
                    <a:lnTo>
                      <a:pt x="126" y="123"/>
                    </a:lnTo>
                    <a:lnTo>
                      <a:pt x="128" y="123"/>
                    </a:lnTo>
                    <a:lnTo>
                      <a:pt x="129" y="123"/>
                    </a:lnTo>
                    <a:lnTo>
                      <a:pt x="131" y="123"/>
                    </a:lnTo>
                    <a:lnTo>
                      <a:pt x="133" y="123"/>
                    </a:lnTo>
                    <a:lnTo>
                      <a:pt x="133" y="120"/>
                    </a:lnTo>
                    <a:lnTo>
                      <a:pt x="134" y="118"/>
                    </a:lnTo>
                    <a:lnTo>
                      <a:pt x="136" y="118"/>
                    </a:lnTo>
                    <a:lnTo>
                      <a:pt x="138" y="118"/>
                    </a:lnTo>
                    <a:lnTo>
                      <a:pt x="140" y="118"/>
                    </a:lnTo>
                    <a:lnTo>
                      <a:pt x="141" y="118"/>
                    </a:lnTo>
                    <a:lnTo>
                      <a:pt x="143" y="118"/>
                    </a:lnTo>
                    <a:lnTo>
                      <a:pt x="145" y="118"/>
                    </a:lnTo>
                    <a:lnTo>
                      <a:pt x="145" y="117"/>
                    </a:lnTo>
                    <a:lnTo>
                      <a:pt x="146" y="115"/>
                    </a:lnTo>
                    <a:lnTo>
                      <a:pt x="146" y="113"/>
                    </a:lnTo>
                    <a:lnTo>
                      <a:pt x="148" y="113"/>
                    </a:lnTo>
                    <a:lnTo>
                      <a:pt x="148" y="115"/>
                    </a:lnTo>
                    <a:lnTo>
                      <a:pt x="148" y="117"/>
                    </a:lnTo>
                    <a:lnTo>
                      <a:pt x="150" y="117"/>
                    </a:lnTo>
                    <a:lnTo>
                      <a:pt x="151" y="115"/>
                    </a:lnTo>
                    <a:lnTo>
                      <a:pt x="151" y="113"/>
                    </a:lnTo>
                    <a:lnTo>
                      <a:pt x="153" y="112"/>
                    </a:lnTo>
                    <a:lnTo>
                      <a:pt x="153" y="110"/>
                    </a:lnTo>
                    <a:lnTo>
                      <a:pt x="155" y="110"/>
                    </a:lnTo>
                    <a:lnTo>
                      <a:pt x="156" y="110"/>
                    </a:lnTo>
                    <a:lnTo>
                      <a:pt x="156" y="112"/>
                    </a:lnTo>
                    <a:lnTo>
                      <a:pt x="155" y="112"/>
                    </a:lnTo>
                    <a:lnTo>
                      <a:pt x="155" y="113"/>
                    </a:lnTo>
                    <a:lnTo>
                      <a:pt x="155" y="115"/>
                    </a:lnTo>
                    <a:lnTo>
                      <a:pt x="156" y="115"/>
                    </a:lnTo>
                    <a:lnTo>
                      <a:pt x="156" y="117"/>
                    </a:lnTo>
                    <a:lnTo>
                      <a:pt x="156" y="118"/>
                    </a:lnTo>
                    <a:lnTo>
                      <a:pt x="158" y="118"/>
                    </a:lnTo>
                    <a:lnTo>
                      <a:pt x="160" y="118"/>
                    </a:lnTo>
                    <a:lnTo>
                      <a:pt x="160" y="117"/>
                    </a:lnTo>
                    <a:lnTo>
                      <a:pt x="161" y="117"/>
                    </a:lnTo>
                    <a:lnTo>
                      <a:pt x="163" y="118"/>
                    </a:lnTo>
                    <a:lnTo>
                      <a:pt x="161" y="118"/>
                    </a:lnTo>
                    <a:lnTo>
                      <a:pt x="160" y="120"/>
                    </a:lnTo>
                    <a:lnTo>
                      <a:pt x="156" y="120"/>
                    </a:lnTo>
                    <a:lnTo>
                      <a:pt x="155" y="120"/>
                    </a:lnTo>
                    <a:lnTo>
                      <a:pt x="153" y="120"/>
                    </a:lnTo>
                    <a:lnTo>
                      <a:pt x="150" y="120"/>
                    </a:lnTo>
                    <a:lnTo>
                      <a:pt x="151" y="122"/>
                    </a:lnTo>
                    <a:lnTo>
                      <a:pt x="153" y="122"/>
                    </a:lnTo>
                    <a:lnTo>
                      <a:pt x="155" y="123"/>
                    </a:lnTo>
                    <a:lnTo>
                      <a:pt x="155" y="125"/>
                    </a:lnTo>
                    <a:lnTo>
                      <a:pt x="156" y="125"/>
                    </a:lnTo>
                    <a:lnTo>
                      <a:pt x="158" y="127"/>
                    </a:lnTo>
                    <a:lnTo>
                      <a:pt x="161" y="127"/>
                    </a:lnTo>
                    <a:lnTo>
                      <a:pt x="163" y="127"/>
                    </a:lnTo>
                    <a:lnTo>
                      <a:pt x="165" y="129"/>
                    </a:lnTo>
                    <a:lnTo>
                      <a:pt x="170" y="129"/>
                    </a:lnTo>
                    <a:lnTo>
                      <a:pt x="175" y="129"/>
                    </a:lnTo>
                    <a:lnTo>
                      <a:pt x="175" y="130"/>
                    </a:lnTo>
                    <a:lnTo>
                      <a:pt x="177" y="130"/>
                    </a:lnTo>
                    <a:lnTo>
                      <a:pt x="177" y="132"/>
                    </a:lnTo>
                    <a:lnTo>
                      <a:pt x="175" y="134"/>
                    </a:lnTo>
                    <a:lnTo>
                      <a:pt x="172" y="135"/>
                    </a:lnTo>
                    <a:lnTo>
                      <a:pt x="170" y="135"/>
                    </a:lnTo>
                    <a:lnTo>
                      <a:pt x="167" y="139"/>
                    </a:lnTo>
                    <a:lnTo>
                      <a:pt x="163" y="140"/>
                    </a:lnTo>
                    <a:lnTo>
                      <a:pt x="163" y="144"/>
                    </a:lnTo>
                    <a:lnTo>
                      <a:pt x="165" y="144"/>
                    </a:lnTo>
                    <a:lnTo>
                      <a:pt x="167" y="145"/>
                    </a:lnTo>
                    <a:lnTo>
                      <a:pt x="168" y="147"/>
                    </a:lnTo>
                    <a:lnTo>
                      <a:pt x="172" y="147"/>
                    </a:lnTo>
                    <a:lnTo>
                      <a:pt x="175" y="147"/>
                    </a:lnTo>
                    <a:lnTo>
                      <a:pt x="177" y="149"/>
                    </a:lnTo>
                    <a:lnTo>
                      <a:pt x="178" y="149"/>
                    </a:lnTo>
                    <a:lnTo>
                      <a:pt x="178" y="150"/>
                    </a:lnTo>
                    <a:lnTo>
                      <a:pt x="177" y="152"/>
                    </a:lnTo>
                    <a:lnTo>
                      <a:pt x="177" y="154"/>
                    </a:lnTo>
                    <a:lnTo>
                      <a:pt x="177" y="156"/>
                    </a:lnTo>
                    <a:lnTo>
                      <a:pt x="177" y="157"/>
                    </a:lnTo>
                    <a:lnTo>
                      <a:pt x="177" y="161"/>
                    </a:lnTo>
                    <a:lnTo>
                      <a:pt x="178" y="161"/>
                    </a:lnTo>
                    <a:lnTo>
                      <a:pt x="180" y="161"/>
                    </a:lnTo>
                    <a:lnTo>
                      <a:pt x="182" y="161"/>
                    </a:lnTo>
                    <a:lnTo>
                      <a:pt x="183" y="161"/>
                    </a:lnTo>
                    <a:lnTo>
                      <a:pt x="185" y="161"/>
                    </a:lnTo>
                    <a:lnTo>
                      <a:pt x="187" y="161"/>
                    </a:lnTo>
                    <a:lnTo>
                      <a:pt x="187" y="159"/>
                    </a:lnTo>
                    <a:lnTo>
                      <a:pt x="188" y="159"/>
                    </a:lnTo>
                    <a:lnTo>
                      <a:pt x="190" y="157"/>
                    </a:lnTo>
                    <a:lnTo>
                      <a:pt x="192" y="156"/>
                    </a:lnTo>
                    <a:lnTo>
                      <a:pt x="192" y="154"/>
                    </a:lnTo>
                    <a:lnTo>
                      <a:pt x="190" y="154"/>
                    </a:lnTo>
                    <a:lnTo>
                      <a:pt x="192" y="154"/>
                    </a:lnTo>
                    <a:lnTo>
                      <a:pt x="192" y="152"/>
                    </a:lnTo>
                    <a:lnTo>
                      <a:pt x="193" y="154"/>
                    </a:lnTo>
                    <a:lnTo>
                      <a:pt x="195" y="154"/>
                    </a:lnTo>
                    <a:lnTo>
                      <a:pt x="195" y="152"/>
                    </a:lnTo>
                    <a:lnTo>
                      <a:pt x="197" y="152"/>
                    </a:lnTo>
                    <a:lnTo>
                      <a:pt x="199" y="152"/>
                    </a:lnTo>
                    <a:lnTo>
                      <a:pt x="200" y="152"/>
                    </a:lnTo>
                    <a:lnTo>
                      <a:pt x="202" y="152"/>
                    </a:lnTo>
                    <a:lnTo>
                      <a:pt x="204" y="152"/>
                    </a:lnTo>
                    <a:lnTo>
                      <a:pt x="204" y="150"/>
                    </a:lnTo>
                    <a:lnTo>
                      <a:pt x="205" y="150"/>
                    </a:lnTo>
                    <a:lnTo>
                      <a:pt x="207" y="149"/>
                    </a:lnTo>
                    <a:lnTo>
                      <a:pt x="209" y="149"/>
                    </a:lnTo>
                    <a:lnTo>
                      <a:pt x="210" y="147"/>
                    </a:lnTo>
                    <a:lnTo>
                      <a:pt x="212" y="149"/>
                    </a:lnTo>
                    <a:lnTo>
                      <a:pt x="214" y="149"/>
                    </a:lnTo>
                    <a:lnTo>
                      <a:pt x="217" y="149"/>
                    </a:lnTo>
                    <a:lnTo>
                      <a:pt x="219" y="149"/>
                    </a:lnTo>
                    <a:lnTo>
                      <a:pt x="220" y="147"/>
                    </a:lnTo>
                    <a:lnTo>
                      <a:pt x="222" y="144"/>
                    </a:lnTo>
                    <a:lnTo>
                      <a:pt x="224" y="142"/>
                    </a:lnTo>
                    <a:lnTo>
                      <a:pt x="222" y="142"/>
                    </a:lnTo>
                    <a:lnTo>
                      <a:pt x="224" y="140"/>
                    </a:lnTo>
                    <a:lnTo>
                      <a:pt x="222" y="140"/>
                    </a:lnTo>
                    <a:lnTo>
                      <a:pt x="220" y="140"/>
                    </a:lnTo>
                    <a:lnTo>
                      <a:pt x="219" y="140"/>
                    </a:lnTo>
                    <a:lnTo>
                      <a:pt x="217" y="140"/>
                    </a:lnTo>
                    <a:lnTo>
                      <a:pt x="214" y="142"/>
                    </a:lnTo>
                    <a:lnTo>
                      <a:pt x="210" y="144"/>
                    </a:lnTo>
                    <a:lnTo>
                      <a:pt x="205" y="144"/>
                    </a:lnTo>
                    <a:lnTo>
                      <a:pt x="202" y="144"/>
                    </a:lnTo>
                    <a:lnTo>
                      <a:pt x="199" y="140"/>
                    </a:lnTo>
                    <a:lnTo>
                      <a:pt x="197" y="137"/>
                    </a:lnTo>
                    <a:lnTo>
                      <a:pt x="195" y="137"/>
                    </a:lnTo>
                    <a:lnTo>
                      <a:pt x="195" y="135"/>
                    </a:lnTo>
                    <a:lnTo>
                      <a:pt x="193" y="134"/>
                    </a:lnTo>
                    <a:lnTo>
                      <a:pt x="192" y="132"/>
                    </a:lnTo>
                    <a:lnTo>
                      <a:pt x="190" y="132"/>
                    </a:lnTo>
                    <a:lnTo>
                      <a:pt x="187" y="130"/>
                    </a:lnTo>
                    <a:lnTo>
                      <a:pt x="185" y="130"/>
                    </a:lnTo>
                    <a:lnTo>
                      <a:pt x="183" y="130"/>
                    </a:lnTo>
                    <a:lnTo>
                      <a:pt x="183" y="129"/>
                    </a:lnTo>
                    <a:lnTo>
                      <a:pt x="182" y="127"/>
                    </a:lnTo>
                    <a:lnTo>
                      <a:pt x="182" y="125"/>
                    </a:lnTo>
                    <a:lnTo>
                      <a:pt x="183" y="125"/>
                    </a:lnTo>
                    <a:lnTo>
                      <a:pt x="185" y="125"/>
                    </a:lnTo>
                    <a:lnTo>
                      <a:pt x="187" y="127"/>
                    </a:lnTo>
                    <a:lnTo>
                      <a:pt x="188" y="127"/>
                    </a:lnTo>
                    <a:lnTo>
                      <a:pt x="188" y="125"/>
                    </a:lnTo>
                    <a:lnTo>
                      <a:pt x="190" y="125"/>
                    </a:lnTo>
                    <a:lnTo>
                      <a:pt x="192" y="127"/>
                    </a:lnTo>
                    <a:lnTo>
                      <a:pt x="192" y="129"/>
                    </a:lnTo>
                    <a:lnTo>
                      <a:pt x="193" y="129"/>
                    </a:lnTo>
                    <a:lnTo>
                      <a:pt x="195" y="129"/>
                    </a:lnTo>
                    <a:lnTo>
                      <a:pt x="197" y="129"/>
                    </a:lnTo>
                    <a:lnTo>
                      <a:pt x="199" y="127"/>
                    </a:lnTo>
                    <a:lnTo>
                      <a:pt x="200" y="125"/>
                    </a:lnTo>
                    <a:lnTo>
                      <a:pt x="200" y="122"/>
                    </a:lnTo>
                    <a:lnTo>
                      <a:pt x="202" y="122"/>
                    </a:lnTo>
                    <a:lnTo>
                      <a:pt x="205" y="122"/>
                    </a:lnTo>
                    <a:lnTo>
                      <a:pt x="209" y="120"/>
                    </a:lnTo>
                    <a:lnTo>
                      <a:pt x="210" y="118"/>
                    </a:lnTo>
                    <a:lnTo>
                      <a:pt x="219" y="118"/>
                    </a:lnTo>
                    <a:lnTo>
                      <a:pt x="224" y="117"/>
                    </a:lnTo>
                    <a:lnTo>
                      <a:pt x="229" y="115"/>
                    </a:lnTo>
                    <a:lnTo>
                      <a:pt x="231" y="113"/>
                    </a:lnTo>
                    <a:lnTo>
                      <a:pt x="236" y="112"/>
                    </a:lnTo>
                    <a:lnTo>
                      <a:pt x="239" y="110"/>
                    </a:lnTo>
                    <a:lnTo>
                      <a:pt x="242" y="108"/>
                    </a:lnTo>
                    <a:lnTo>
                      <a:pt x="247" y="108"/>
                    </a:lnTo>
                    <a:lnTo>
                      <a:pt x="256" y="108"/>
                    </a:lnTo>
                    <a:lnTo>
                      <a:pt x="256" y="107"/>
                    </a:lnTo>
                    <a:lnTo>
                      <a:pt x="258" y="107"/>
                    </a:lnTo>
                    <a:lnTo>
                      <a:pt x="258" y="105"/>
                    </a:lnTo>
                    <a:lnTo>
                      <a:pt x="256" y="105"/>
                    </a:lnTo>
                    <a:lnTo>
                      <a:pt x="254" y="105"/>
                    </a:lnTo>
                    <a:lnTo>
                      <a:pt x="254" y="103"/>
                    </a:lnTo>
                    <a:lnTo>
                      <a:pt x="252" y="103"/>
                    </a:lnTo>
                    <a:lnTo>
                      <a:pt x="252" y="102"/>
                    </a:lnTo>
                    <a:lnTo>
                      <a:pt x="252" y="100"/>
                    </a:lnTo>
                    <a:lnTo>
                      <a:pt x="252" y="98"/>
                    </a:lnTo>
                    <a:lnTo>
                      <a:pt x="254" y="98"/>
                    </a:lnTo>
                    <a:lnTo>
                      <a:pt x="256" y="98"/>
                    </a:lnTo>
                    <a:lnTo>
                      <a:pt x="258" y="98"/>
                    </a:lnTo>
                    <a:lnTo>
                      <a:pt x="259" y="97"/>
                    </a:lnTo>
                    <a:lnTo>
                      <a:pt x="259" y="95"/>
                    </a:lnTo>
                    <a:lnTo>
                      <a:pt x="261" y="93"/>
                    </a:lnTo>
                    <a:lnTo>
                      <a:pt x="263" y="93"/>
                    </a:lnTo>
                    <a:lnTo>
                      <a:pt x="264" y="93"/>
                    </a:lnTo>
                    <a:lnTo>
                      <a:pt x="266" y="93"/>
                    </a:lnTo>
                    <a:lnTo>
                      <a:pt x="268" y="93"/>
                    </a:lnTo>
                    <a:lnTo>
                      <a:pt x="269" y="91"/>
                    </a:lnTo>
                    <a:lnTo>
                      <a:pt x="273" y="91"/>
                    </a:lnTo>
                    <a:lnTo>
                      <a:pt x="273" y="93"/>
                    </a:lnTo>
                    <a:lnTo>
                      <a:pt x="276" y="93"/>
                    </a:lnTo>
                    <a:lnTo>
                      <a:pt x="276" y="91"/>
                    </a:lnTo>
                    <a:lnTo>
                      <a:pt x="278" y="90"/>
                    </a:lnTo>
                    <a:lnTo>
                      <a:pt x="278" y="88"/>
                    </a:lnTo>
                    <a:lnTo>
                      <a:pt x="278" y="86"/>
                    </a:lnTo>
                    <a:lnTo>
                      <a:pt x="279" y="86"/>
                    </a:lnTo>
                    <a:lnTo>
                      <a:pt x="279" y="85"/>
                    </a:lnTo>
                    <a:lnTo>
                      <a:pt x="279" y="83"/>
                    </a:lnTo>
                    <a:lnTo>
                      <a:pt x="278" y="81"/>
                    </a:lnTo>
                    <a:lnTo>
                      <a:pt x="276" y="80"/>
                    </a:lnTo>
                    <a:lnTo>
                      <a:pt x="274" y="80"/>
                    </a:lnTo>
                    <a:lnTo>
                      <a:pt x="274" y="78"/>
                    </a:lnTo>
                    <a:lnTo>
                      <a:pt x="274" y="76"/>
                    </a:lnTo>
                    <a:lnTo>
                      <a:pt x="274" y="75"/>
                    </a:lnTo>
                    <a:lnTo>
                      <a:pt x="276" y="75"/>
                    </a:lnTo>
                    <a:lnTo>
                      <a:pt x="278" y="75"/>
                    </a:lnTo>
                    <a:lnTo>
                      <a:pt x="279" y="75"/>
                    </a:lnTo>
                    <a:lnTo>
                      <a:pt x="281" y="75"/>
                    </a:lnTo>
                    <a:lnTo>
                      <a:pt x="281" y="73"/>
                    </a:lnTo>
                    <a:lnTo>
                      <a:pt x="279" y="73"/>
                    </a:lnTo>
                    <a:lnTo>
                      <a:pt x="278" y="73"/>
                    </a:lnTo>
                    <a:lnTo>
                      <a:pt x="276" y="71"/>
                    </a:lnTo>
                    <a:lnTo>
                      <a:pt x="274" y="70"/>
                    </a:lnTo>
                    <a:lnTo>
                      <a:pt x="276" y="68"/>
                    </a:lnTo>
                    <a:lnTo>
                      <a:pt x="279" y="68"/>
                    </a:lnTo>
                    <a:lnTo>
                      <a:pt x="281" y="68"/>
                    </a:lnTo>
                    <a:lnTo>
                      <a:pt x="283" y="66"/>
                    </a:lnTo>
                    <a:lnTo>
                      <a:pt x="283" y="64"/>
                    </a:lnTo>
                    <a:lnTo>
                      <a:pt x="283" y="63"/>
                    </a:lnTo>
                    <a:lnTo>
                      <a:pt x="283" y="61"/>
                    </a:lnTo>
                    <a:lnTo>
                      <a:pt x="281" y="61"/>
                    </a:lnTo>
                    <a:lnTo>
                      <a:pt x="281" y="59"/>
                    </a:lnTo>
                    <a:lnTo>
                      <a:pt x="283" y="59"/>
                    </a:lnTo>
                    <a:lnTo>
                      <a:pt x="283" y="58"/>
                    </a:lnTo>
                    <a:lnTo>
                      <a:pt x="281" y="58"/>
                    </a:lnTo>
                    <a:lnTo>
                      <a:pt x="279" y="58"/>
                    </a:lnTo>
                    <a:lnTo>
                      <a:pt x="278" y="58"/>
                    </a:lnTo>
                    <a:lnTo>
                      <a:pt x="276" y="58"/>
                    </a:lnTo>
                    <a:lnTo>
                      <a:pt x="274" y="56"/>
                    </a:lnTo>
                    <a:lnTo>
                      <a:pt x="273" y="54"/>
                    </a:lnTo>
                    <a:lnTo>
                      <a:pt x="271" y="54"/>
                    </a:lnTo>
                    <a:lnTo>
                      <a:pt x="269" y="53"/>
                    </a:lnTo>
                    <a:lnTo>
                      <a:pt x="268" y="53"/>
                    </a:lnTo>
                    <a:lnTo>
                      <a:pt x="266" y="53"/>
                    </a:lnTo>
                    <a:lnTo>
                      <a:pt x="263" y="53"/>
                    </a:lnTo>
                    <a:lnTo>
                      <a:pt x="263" y="51"/>
                    </a:lnTo>
                    <a:lnTo>
                      <a:pt x="261" y="51"/>
                    </a:lnTo>
                    <a:lnTo>
                      <a:pt x="261" y="49"/>
                    </a:lnTo>
                    <a:lnTo>
                      <a:pt x="259" y="49"/>
                    </a:lnTo>
                    <a:lnTo>
                      <a:pt x="259" y="51"/>
                    </a:lnTo>
                    <a:lnTo>
                      <a:pt x="258" y="51"/>
                    </a:lnTo>
                    <a:lnTo>
                      <a:pt x="256" y="51"/>
                    </a:lnTo>
                    <a:lnTo>
                      <a:pt x="254" y="49"/>
                    </a:lnTo>
                    <a:lnTo>
                      <a:pt x="254" y="48"/>
                    </a:lnTo>
                    <a:lnTo>
                      <a:pt x="252" y="48"/>
                    </a:lnTo>
                    <a:lnTo>
                      <a:pt x="251" y="49"/>
                    </a:lnTo>
                    <a:lnTo>
                      <a:pt x="251" y="51"/>
                    </a:lnTo>
                    <a:lnTo>
                      <a:pt x="249" y="51"/>
                    </a:lnTo>
                    <a:lnTo>
                      <a:pt x="246" y="51"/>
                    </a:lnTo>
                    <a:lnTo>
                      <a:pt x="244" y="51"/>
                    </a:lnTo>
                    <a:lnTo>
                      <a:pt x="242" y="49"/>
                    </a:lnTo>
                    <a:lnTo>
                      <a:pt x="242" y="48"/>
                    </a:lnTo>
                    <a:lnTo>
                      <a:pt x="242" y="46"/>
                    </a:lnTo>
                    <a:lnTo>
                      <a:pt x="242" y="44"/>
                    </a:lnTo>
                    <a:lnTo>
                      <a:pt x="242" y="43"/>
                    </a:lnTo>
                    <a:lnTo>
                      <a:pt x="241" y="43"/>
                    </a:lnTo>
                    <a:lnTo>
                      <a:pt x="239" y="41"/>
                    </a:lnTo>
                    <a:lnTo>
                      <a:pt x="237" y="41"/>
                    </a:lnTo>
                    <a:lnTo>
                      <a:pt x="236" y="41"/>
                    </a:lnTo>
                    <a:lnTo>
                      <a:pt x="234" y="41"/>
                    </a:lnTo>
                    <a:lnTo>
                      <a:pt x="232" y="43"/>
                    </a:lnTo>
                    <a:lnTo>
                      <a:pt x="231" y="44"/>
                    </a:lnTo>
                    <a:lnTo>
                      <a:pt x="227" y="44"/>
                    </a:lnTo>
                    <a:lnTo>
                      <a:pt x="226" y="44"/>
                    </a:lnTo>
                    <a:lnTo>
                      <a:pt x="224" y="43"/>
                    </a:lnTo>
                    <a:lnTo>
                      <a:pt x="220" y="44"/>
                    </a:lnTo>
                    <a:lnTo>
                      <a:pt x="220" y="43"/>
                    </a:lnTo>
                    <a:lnTo>
                      <a:pt x="219" y="41"/>
                    </a:lnTo>
                    <a:lnTo>
                      <a:pt x="217" y="41"/>
                    </a:lnTo>
                    <a:lnTo>
                      <a:pt x="215" y="41"/>
                    </a:lnTo>
                    <a:lnTo>
                      <a:pt x="215" y="43"/>
                    </a:lnTo>
                    <a:lnTo>
                      <a:pt x="214" y="43"/>
                    </a:lnTo>
                    <a:lnTo>
                      <a:pt x="210" y="43"/>
                    </a:lnTo>
                    <a:lnTo>
                      <a:pt x="210" y="41"/>
                    </a:lnTo>
                    <a:lnTo>
                      <a:pt x="207" y="38"/>
                    </a:lnTo>
                    <a:lnTo>
                      <a:pt x="209" y="34"/>
                    </a:lnTo>
                    <a:lnTo>
                      <a:pt x="207" y="32"/>
                    </a:lnTo>
                    <a:lnTo>
                      <a:pt x="205" y="31"/>
                    </a:lnTo>
                    <a:lnTo>
                      <a:pt x="204" y="29"/>
                    </a:lnTo>
                    <a:lnTo>
                      <a:pt x="204" y="27"/>
                    </a:lnTo>
                    <a:lnTo>
                      <a:pt x="204" y="26"/>
                    </a:lnTo>
                    <a:lnTo>
                      <a:pt x="202" y="26"/>
                    </a:lnTo>
                    <a:lnTo>
                      <a:pt x="199" y="26"/>
                    </a:lnTo>
                    <a:lnTo>
                      <a:pt x="195" y="26"/>
                    </a:lnTo>
                    <a:lnTo>
                      <a:pt x="193" y="26"/>
                    </a:lnTo>
                    <a:lnTo>
                      <a:pt x="190" y="24"/>
                    </a:lnTo>
                    <a:lnTo>
                      <a:pt x="190" y="21"/>
                    </a:lnTo>
                    <a:lnTo>
                      <a:pt x="188" y="19"/>
                    </a:lnTo>
                    <a:lnTo>
                      <a:pt x="188" y="17"/>
                    </a:lnTo>
                    <a:lnTo>
                      <a:pt x="190" y="16"/>
                    </a:lnTo>
                    <a:lnTo>
                      <a:pt x="192" y="14"/>
                    </a:lnTo>
                    <a:lnTo>
                      <a:pt x="193" y="14"/>
                    </a:lnTo>
                    <a:lnTo>
                      <a:pt x="193" y="12"/>
                    </a:lnTo>
                    <a:lnTo>
                      <a:pt x="192" y="12"/>
                    </a:lnTo>
                    <a:lnTo>
                      <a:pt x="190" y="12"/>
                    </a:lnTo>
                    <a:lnTo>
                      <a:pt x="188" y="11"/>
                    </a:lnTo>
                    <a:lnTo>
                      <a:pt x="187" y="9"/>
                    </a:lnTo>
                    <a:lnTo>
                      <a:pt x="187" y="5"/>
                    </a:lnTo>
                    <a:lnTo>
                      <a:pt x="185" y="4"/>
                    </a:lnTo>
                    <a:lnTo>
                      <a:pt x="183" y="2"/>
                    </a:lnTo>
                    <a:lnTo>
                      <a:pt x="180" y="2"/>
                    </a:lnTo>
                    <a:lnTo>
                      <a:pt x="175" y="0"/>
                    </a:lnTo>
                    <a:lnTo>
                      <a:pt x="173" y="0"/>
                    </a:lnTo>
                    <a:lnTo>
                      <a:pt x="170" y="2"/>
                    </a:lnTo>
                    <a:lnTo>
                      <a:pt x="168" y="4"/>
                    </a:lnTo>
                    <a:lnTo>
                      <a:pt x="165" y="2"/>
                    </a:lnTo>
                    <a:lnTo>
                      <a:pt x="161" y="2"/>
                    </a:lnTo>
                    <a:lnTo>
                      <a:pt x="160" y="2"/>
                    </a:lnTo>
                    <a:lnTo>
                      <a:pt x="158" y="4"/>
                    </a:lnTo>
                    <a:lnTo>
                      <a:pt x="158" y="7"/>
                    </a:lnTo>
                    <a:lnTo>
                      <a:pt x="155" y="7"/>
                    </a:lnTo>
                    <a:lnTo>
                      <a:pt x="151" y="7"/>
                    </a:lnTo>
                    <a:lnTo>
                      <a:pt x="150" y="5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746" name="Freeform 120">
                <a:extLst>
                  <a:ext uri="{FF2B5EF4-FFF2-40B4-BE49-F238E27FC236}">
                    <a16:creationId xmlns:a16="http://schemas.microsoft.com/office/drawing/2014/main" id="{389D3A0C-5084-DF46-AFD7-462507424B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" y="451"/>
                <a:ext cx="283" cy="161"/>
              </a:xfrm>
              <a:custGeom>
                <a:avLst/>
                <a:gdLst>
                  <a:gd name="T0" fmla="*/ 131 w 283"/>
                  <a:gd name="T1" fmla="*/ 11 h 161"/>
                  <a:gd name="T2" fmla="*/ 129 w 283"/>
                  <a:gd name="T3" fmla="*/ 17 h 161"/>
                  <a:gd name="T4" fmla="*/ 114 w 283"/>
                  <a:gd name="T5" fmla="*/ 19 h 161"/>
                  <a:gd name="T6" fmla="*/ 101 w 283"/>
                  <a:gd name="T7" fmla="*/ 16 h 161"/>
                  <a:gd name="T8" fmla="*/ 86 w 283"/>
                  <a:gd name="T9" fmla="*/ 16 h 161"/>
                  <a:gd name="T10" fmla="*/ 57 w 283"/>
                  <a:gd name="T11" fmla="*/ 9 h 161"/>
                  <a:gd name="T12" fmla="*/ 37 w 283"/>
                  <a:gd name="T13" fmla="*/ 12 h 161"/>
                  <a:gd name="T14" fmla="*/ 21 w 283"/>
                  <a:gd name="T15" fmla="*/ 17 h 161"/>
                  <a:gd name="T16" fmla="*/ 32 w 283"/>
                  <a:gd name="T17" fmla="*/ 39 h 161"/>
                  <a:gd name="T18" fmla="*/ 18 w 283"/>
                  <a:gd name="T19" fmla="*/ 53 h 161"/>
                  <a:gd name="T20" fmla="*/ 10 w 283"/>
                  <a:gd name="T21" fmla="*/ 63 h 161"/>
                  <a:gd name="T22" fmla="*/ 6 w 283"/>
                  <a:gd name="T23" fmla="*/ 64 h 161"/>
                  <a:gd name="T24" fmla="*/ 1 w 283"/>
                  <a:gd name="T25" fmla="*/ 80 h 161"/>
                  <a:gd name="T26" fmla="*/ 15 w 283"/>
                  <a:gd name="T27" fmla="*/ 90 h 161"/>
                  <a:gd name="T28" fmla="*/ 30 w 283"/>
                  <a:gd name="T29" fmla="*/ 90 h 161"/>
                  <a:gd name="T30" fmla="*/ 52 w 283"/>
                  <a:gd name="T31" fmla="*/ 90 h 161"/>
                  <a:gd name="T32" fmla="*/ 70 w 283"/>
                  <a:gd name="T33" fmla="*/ 83 h 161"/>
                  <a:gd name="T34" fmla="*/ 102 w 283"/>
                  <a:gd name="T35" fmla="*/ 83 h 161"/>
                  <a:gd name="T36" fmla="*/ 119 w 283"/>
                  <a:gd name="T37" fmla="*/ 118 h 161"/>
                  <a:gd name="T38" fmla="*/ 109 w 283"/>
                  <a:gd name="T39" fmla="*/ 123 h 161"/>
                  <a:gd name="T40" fmla="*/ 99 w 283"/>
                  <a:gd name="T41" fmla="*/ 130 h 161"/>
                  <a:gd name="T42" fmla="*/ 96 w 283"/>
                  <a:gd name="T43" fmla="*/ 142 h 161"/>
                  <a:gd name="T44" fmla="*/ 113 w 283"/>
                  <a:gd name="T45" fmla="*/ 145 h 161"/>
                  <a:gd name="T46" fmla="*/ 119 w 283"/>
                  <a:gd name="T47" fmla="*/ 135 h 161"/>
                  <a:gd name="T48" fmla="*/ 128 w 283"/>
                  <a:gd name="T49" fmla="*/ 125 h 161"/>
                  <a:gd name="T50" fmla="*/ 134 w 283"/>
                  <a:gd name="T51" fmla="*/ 118 h 161"/>
                  <a:gd name="T52" fmla="*/ 146 w 283"/>
                  <a:gd name="T53" fmla="*/ 113 h 161"/>
                  <a:gd name="T54" fmla="*/ 155 w 283"/>
                  <a:gd name="T55" fmla="*/ 110 h 161"/>
                  <a:gd name="T56" fmla="*/ 158 w 283"/>
                  <a:gd name="T57" fmla="*/ 118 h 161"/>
                  <a:gd name="T58" fmla="*/ 153 w 283"/>
                  <a:gd name="T59" fmla="*/ 120 h 161"/>
                  <a:gd name="T60" fmla="*/ 163 w 283"/>
                  <a:gd name="T61" fmla="*/ 127 h 161"/>
                  <a:gd name="T62" fmla="*/ 170 w 283"/>
                  <a:gd name="T63" fmla="*/ 135 h 161"/>
                  <a:gd name="T64" fmla="*/ 177 w 283"/>
                  <a:gd name="T65" fmla="*/ 149 h 161"/>
                  <a:gd name="T66" fmla="*/ 180 w 283"/>
                  <a:gd name="T67" fmla="*/ 161 h 161"/>
                  <a:gd name="T68" fmla="*/ 192 w 283"/>
                  <a:gd name="T69" fmla="*/ 154 h 161"/>
                  <a:gd name="T70" fmla="*/ 200 w 283"/>
                  <a:gd name="T71" fmla="*/ 152 h 161"/>
                  <a:gd name="T72" fmla="*/ 214 w 283"/>
                  <a:gd name="T73" fmla="*/ 149 h 161"/>
                  <a:gd name="T74" fmla="*/ 220 w 283"/>
                  <a:gd name="T75" fmla="*/ 140 h 161"/>
                  <a:gd name="T76" fmla="*/ 195 w 283"/>
                  <a:gd name="T77" fmla="*/ 137 h 161"/>
                  <a:gd name="T78" fmla="*/ 182 w 283"/>
                  <a:gd name="T79" fmla="*/ 127 h 161"/>
                  <a:gd name="T80" fmla="*/ 192 w 283"/>
                  <a:gd name="T81" fmla="*/ 129 h 161"/>
                  <a:gd name="T82" fmla="*/ 209 w 283"/>
                  <a:gd name="T83" fmla="*/ 120 h 161"/>
                  <a:gd name="T84" fmla="*/ 247 w 283"/>
                  <a:gd name="T85" fmla="*/ 108 h 161"/>
                  <a:gd name="T86" fmla="*/ 252 w 283"/>
                  <a:gd name="T87" fmla="*/ 102 h 161"/>
                  <a:gd name="T88" fmla="*/ 263 w 283"/>
                  <a:gd name="T89" fmla="*/ 93 h 161"/>
                  <a:gd name="T90" fmla="*/ 278 w 283"/>
                  <a:gd name="T91" fmla="*/ 90 h 161"/>
                  <a:gd name="T92" fmla="*/ 274 w 283"/>
                  <a:gd name="T93" fmla="*/ 78 h 161"/>
                  <a:gd name="T94" fmla="*/ 278 w 283"/>
                  <a:gd name="T95" fmla="*/ 73 h 161"/>
                  <a:gd name="T96" fmla="*/ 283 w 283"/>
                  <a:gd name="T97" fmla="*/ 61 h 161"/>
                  <a:gd name="T98" fmla="*/ 274 w 283"/>
                  <a:gd name="T99" fmla="*/ 56 h 161"/>
                  <a:gd name="T100" fmla="*/ 261 w 283"/>
                  <a:gd name="T101" fmla="*/ 49 h 161"/>
                  <a:gd name="T102" fmla="*/ 251 w 283"/>
                  <a:gd name="T103" fmla="*/ 51 h 161"/>
                  <a:gd name="T104" fmla="*/ 241 w 283"/>
                  <a:gd name="T105" fmla="*/ 43 h 161"/>
                  <a:gd name="T106" fmla="*/ 224 w 283"/>
                  <a:gd name="T107" fmla="*/ 43 h 161"/>
                  <a:gd name="T108" fmla="*/ 210 w 283"/>
                  <a:gd name="T109" fmla="*/ 41 h 161"/>
                  <a:gd name="T110" fmla="*/ 199 w 283"/>
                  <a:gd name="T111" fmla="*/ 26 h 161"/>
                  <a:gd name="T112" fmla="*/ 193 w 283"/>
                  <a:gd name="T113" fmla="*/ 14 h 161"/>
                  <a:gd name="T114" fmla="*/ 180 w 283"/>
                  <a:gd name="T115" fmla="*/ 2 h 161"/>
                  <a:gd name="T116" fmla="*/ 158 w 283"/>
                  <a:gd name="T117" fmla="*/ 7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83" h="161">
                    <a:moveTo>
                      <a:pt x="150" y="5"/>
                    </a:moveTo>
                    <a:lnTo>
                      <a:pt x="148" y="5"/>
                    </a:lnTo>
                    <a:lnTo>
                      <a:pt x="145" y="5"/>
                    </a:lnTo>
                    <a:lnTo>
                      <a:pt x="143" y="5"/>
                    </a:lnTo>
                    <a:lnTo>
                      <a:pt x="141" y="5"/>
                    </a:lnTo>
                    <a:lnTo>
                      <a:pt x="138" y="9"/>
                    </a:lnTo>
                    <a:lnTo>
                      <a:pt x="136" y="9"/>
                    </a:lnTo>
                    <a:lnTo>
                      <a:pt x="133" y="11"/>
                    </a:lnTo>
                    <a:lnTo>
                      <a:pt x="131" y="11"/>
                    </a:lnTo>
                    <a:lnTo>
                      <a:pt x="129" y="11"/>
                    </a:lnTo>
                    <a:lnTo>
                      <a:pt x="128" y="11"/>
                    </a:lnTo>
                    <a:lnTo>
                      <a:pt x="128" y="12"/>
                    </a:lnTo>
                    <a:lnTo>
                      <a:pt x="128" y="14"/>
                    </a:lnTo>
                    <a:lnTo>
                      <a:pt x="129" y="14"/>
                    </a:lnTo>
                    <a:lnTo>
                      <a:pt x="129" y="16"/>
                    </a:lnTo>
                    <a:lnTo>
                      <a:pt x="131" y="16"/>
                    </a:lnTo>
                    <a:lnTo>
                      <a:pt x="131" y="17"/>
                    </a:lnTo>
                    <a:lnTo>
                      <a:pt x="129" y="17"/>
                    </a:lnTo>
                    <a:lnTo>
                      <a:pt x="128" y="17"/>
                    </a:lnTo>
                    <a:lnTo>
                      <a:pt x="126" y="17"/>
                    </a:lnTo>
                    <a:lnTo>
                      <a:pt x="126" y="19"/>
                    </a:lnTo>
                    <a:lnTo>
                      <a:pt x="124" y="19"/>
                    </a:lnTo>
                    <a:lnTo>
                      <a:pt x="123" y="19"/>
                    </a:lnTo>
                    <a:lnTo>
                      <a:pt x="121" y="19"/>
                    </a:lnTo>
                    <a:lnTo>
                      <a:pt x="119" y="19"/>
                    </a:lnTo>
                    <a:lnTo>
                      <a:pt x="116" y="21"/>
                    </a:lnTo>
                    <a:lnTo>
                      <a:pt x="114" y="19"/>
                    </a:lnTo>
                    <a:lnTo>
                      <a:pt x="114" y="17"/>
                    </a:lnTo>
                    <a:lnTo>
                      <a:pt x="113" y="17"/>
                    </a:lnTo>
                    <a:lnTo>
                      <a:pt x="113" y="16"/>
                    </a:lnTo>
                    <a:lnTo>
                      <a:pt x="111" y="16"/>
                    </a:lnTo>
                    <a:lnTo>
                      <a:pt x="109" y="16"/>
                    </a:lnTo>
                    <a:lnTo>
                      <a:pt x="109" y="17"/>
                    </a:lnTo>
                    <a:lnTo>
                      <a:pt x="107" y="17"/>
                    </a:lnTo>
                    <a:lnTo>
                      <a:pt x="104" y="17"/>
                    </a:lnTo>
                    <a:lnTo>
                      <a:pt x="101" y="16"/>
                    </a:lnTo>
                    <a:lnTo>
                      <a:pt x="99" y="16"/>
                    </a:lnTo>
                    <a:lnTo>
                      <a:pt x="97" y="16"/>
                    </a:lnTo>
                    <a:lnTo>
                      <a:pt x="96" y="16"/>
                    </a:lnTo>
                    <a:lnTo>
                      <a:pt x="94" y="16"/>
                    </a:lnTo>
                    <a:lnTo>
                      <a:pt x="92" y="17"/>
                    </a:lnTo>
                    <a:lnTo>
                      <a:pt x="91" y="17"/>
                    </a:lnTo>
                    <a:lnTo>
                      <a:pt x="89" y="16"/>
                    </a:lnTo>
                    <a:lnTo>
                      <a:pt x="87" y="16"/>
                    </a:lnTo>
                    <a:lnTo>
                      <a:pt x="86" y="16"/>
                    </a:lnTo>
                    <a:lnTo>
                      <a:pt x="84" y="14"/>
                    </a:lnTo>
                    <a:lnTo>
                      <a:pt x="81" y="14"/>
                    </a:lnTo>
                    <a:lnTo>
                      <a:pt x="75" y="14"/>
                    </a:lnTo>
                    <a:lnTo>
                      <a:pt x="70" y="14"/>
                    </a:lnTo>
                    <a:lnTo>
                      <a:pt x="67" y="14"/>
                    </a:lnTo>
                    <a:lnTo>
                      <a:pt x="64" y="12"/>
                    </a:lnTo>
                    <a:lnTo>
                      <a:pt x="60" y="11"/>
                    </a:lnTo>
                    <a:lnTo>
                      <a:pt x="59" y="9"/>
                    </a:lnTo>
                    <a:lnTo>
                      <a:pt x="57" y="9"/>
                    </a:lnTo>
                    <a:lnTo>
                      <a:pt x="55" y="9"/>
                    </a:lnTo>
                    <a:lnTo>
                      <a:pt x="54" y="11"/>
                    </a:lnTo>
                    <a:lnTo>
                      <a:pt x="52" y="9"/>
                    </a:lnTo>
                    <a:lnTo>
                      <a:pt x="48" y="9"/>
                    </a:lnTo>
                    <a:lnTo>
                      <a:pt x="47" y="9"/>
                    </a:lnTo>
                    <a:lnTo>
                      <a:pt x="43" y="9"/>
                    </a:lnTo>
                    <a:lnTo>
                      <a:pt x="40" y="9"/>
                    </a:lnTo>
                    <a:lnTo>
                      <a:pt x="38" y="11"/>
                    </a:lnTo>
                    <a:lnTo>
                      <a:pt x="37" y="12"/>
                    </a:lnTo>
                    <a:lnTo>
                      <a:pt x="35" y="12"/>
                    </a:lnTo>
                    <a:lnTo>
                      <a:pt x="35" y="14"/>
                    </a:lnTo>
                    <a:lnTo>
                      <a:pt x="33" y="14"/>
                    </a:lnTo>
                    <a:lnTo>
                      <a:pt x="33" y="16"/>
                    </a:lnTo>
                    <a:lnTo>
                      <a:pt x="30" y="16"/>
                    </a:lnTo>
                    <a:lnTo>
                      <a:pt x="28" y="17"/>
                    </a:lnTo>
                    <a:lnTo>
                      <a:pt x="27" y="17"/>
                    </a:lnTo>
                    <a:lnTo>
                      <a:pt x="25" y="17"/>
                    </a:lnTo>
                    <a:lnTo>
                      <a:pt x="21" y="17"/>
                    </a:lnTo>
                    <a:lnTo>
                      <a:pt x="25" y="22"/>
                    </a:lnTo>
                    <a:lnTo>
                      <a:pt x="25" y="24"/>
                    </a:lnTo>
                    <a:lnTo>
                      <a:pt x="25" y="26"/>
                    </a:lnTo>
                    <a:lnTo>
                      <a:pt x="25" y="27"/>
                    </a:lnTo>
                    <a:lnTo>
                      <a:pt x="27" y="27"/>
                    </a:lnTo>
                    <a:lnTo>
                      <a:pt x="28" y="31"/>
                    </a:lnTo>
                    <a:lnTo>
                      <a:pt x="32" y="34"/>
                    </a:lnTo>
                    <a:lnTo>
                      <a:pt x="32" y="38"/>
                    </a:lnTo>
                    <a:lnTo>
                      <a:pt x="32" y="39"/>
                    </a:lnTo>
                    <a:lnTo>
                      <a:pt x="32" y="41"/>
                    </a:lnTo>
                    <a:lnTo>
                      <a:pt x="32" y="43"/>
                    </a:lnTo>
                    <a:lnTo>
                      <a:pt x="28" y="44"/>
                    </a:lnTo>
                    <a:lnTo>
                      <a:pt x="25" y="46"/>
                    </a:lnTo>
                    <a:lnTo>
                      <a:pt x="23" y="48"/>
                    </a:lnTo>
                    <a:lnTo>
                      <a:pt x="21" y="48"/>
                    </a:lnTo>
                    <a:lnTo>
                      <a:pt x="21" y="51"/>
                    </a:lnTo>
                    <a:lnTo>
                      <a:pt x="20" y="51"/>
                    </a:lnTo>
                    <a:lnTo>
                      <a:pt x="18" y="53"/>
                    </a:lnTo>
                    <a:lnTo>
                      <a:pt x="16" y="53"/>
                    </a:lnTo>
                    <a:lnTo>
                      <a:pt x="15" y="54"/>
                    </a:lnTo>
                    <a:lnTo>
                      <a:pt x="13" y="54"/>
                    </a:lnTo>
                    <a:lnTo>
                      <a:pt x="11" y="56"/>
                    </a:lnTo>
                    <a:lnTo>
                      <a:pt x="11" y="58"/>
                    </a:lnTo>
                    <a:lnTo>
                      <a:pt x="11" y="59"/>
                    </a:lnTo>
                    <a:lnTo>
                      <a:pt x="10" y="59"/>
                    </a:lnTo>
                    <a:lnTo>
                      <a:pt x="10" y="61"/>
                    </a:lnTo>
                    <a:lnTo>
                      <a:pt x="10" y="63"/>
                    </a:lnTo>
                    <a:lnTo>
                      <a:pt x="11" y="64"/>
                    </a:lnTo>
                    <a:lnTo>
                      <a:pt x="13" y="64"/>
                    </a:lnTo>
                    <a:lnTo>
                      <a:pt x="13" y="66"/>
                    </a:lnTo>
                    <a:lnTo>
                      <a:pt x="13" y="68"/>
                    </a:lnTo>
                    <a:lnTo>
                      <a:pt x="11" y="68"/>
                    </a:lnTo>
                    <a:lnTo>
                      <a:pt x="10" y="68"/>
                    </a:lnTo>
                    <a:lnTo>
                      <a:pt x="10" y="66"/>
                    </a:lnTo>
                    <a:lnTo>
                      <a:pt x="8" y="64"/>
                    </a:lnTo>
                    <a:lnTo>
                      <a:pt x="6" y="64"/>
                    </a:lnTo>
                    <a:lnTo>
                      <a:pt x="3" y="64"/>
                    </a:lnTo>
                    <a:lnTo>
                      <a:pt x="1" y="64"/>
                    </a:lnTo>
                    <a:lnTo>
                      <a:pt x="0" y="64"/>
                    </a:lnTo>
                    <a:lnTo>
                      <a:pt x="0" y="66"/>
                    </a:lnTo>
                    <a:lnTo>
                      <a:pt x="0" y="68"/>
                    </a:lnTo>
                    <a:lnTo>
                      <a:pt x="0" y="70"/>
                    </a:lnTo>
                    <a:lnTo>
                      <a:pt x="0" y="71"/>
                    </a:lnTo>
                    <a:lnTo>
                      <a:pt x="1" y="76"/>
                    </a:lnTo>
                    <a:lnTo>
                      <a:pt x="1" y="80"/>
                    </a:lnTo>
                    <a:lnTo>
                      <a:pt x="5" y="85"/>
                    </a:lnTo>
                    <a:lnTo>
                      <a:pt x="6" y="88"/>
                    </a:lnTo>
                    <a:lnTo>
                      <a:pt x="8" y="90"/>
                    </a:lnTo>
                    <a:lnTo>
                      <a:pt x="10" y="91"/>
                    </a:lnTo>
                    <a:lnTo>
                      <a:pt x="11" y="91"/>
                    </a:lnTo>
                    <a:lnTo>
                      <a:pt x="11" y="93"/>
                    </a:lnTo>
                    <a:lnTo>
                      <a:pt x="13" y="91"/>
                    </a:lnTo>
                    <a:lnTo>
                      <a:pt x="15" y="91"/>
                    </a:lnTo>
                    <a:lnTo>
                      <a:pt x="15" y="90"/>
                    </a:lnTo>
                    <a:lnTo>
                      <a:pt x="15" y="88"/>
                    </a:lnTo>
                    <a:lnTo>
                      <a:pt x="16" y="88"/>
                    </a:lnTo>
                    <a:lnTo>
                      <a:pt x="18" y="86"/>
                    </a:lnTo>
                    <a:lnTo>
                      <a:pt x="20" y="86"/>
                    </a:lnTo>
                    <a:lnTo>
                      <a:pt x="23" y="86"/>
                    </a:lnTo>
                    <a:lnTo>
                      <a:pt x="25" y="88"/>
                    </a:lnTo>
                    <a:lnTo>
                      <a:pt x="27" y="90"/>
                    </a:lnTo>
                    <a:lnTo>
                      <a:pt x="28" y="90"/>
                    </a:lnTo>
                    <a:lnTo>
                      <a:pt x="30" y="90"/>
                    </a:lnTo>
                    <a:lnTo>
                      <a:pt x="35" y="90"/>
                    </a:lnTo>
                    <a:lnTo>
                      <a:pt x="37" y="90"/>
                    </a:lnTo>
                    <a:lnTo>
                      <a:pt x="38" y="90"/>
                    </a:lnTo>
                    <a:lnTo>
                      <a:pt x="40" y="91"/>
                    </a:lnTo>
                    <a:lnTo>
                      <a:pt x="42" y="91"/>
                    </a:lnTo>
                    <a:lnTo>
                      <a:pt x="43" y="91"/>
                    </a:lnTo>
                    <a:lnTo>
                      <a:pt x="45" y="90"/>
                    </a:lnTo>
                    <a:lnTo>
                      <a:pt x="47" y="90"/>
                    </a:lnTo>
                    <a:lnTo>
                      <a:pt x="52" y="90"/>
                    </a:lnTo>
                    <a:lnTo>
                      <a:pt x="55" y="90"/>
                    </a:lnTo>
                    <a:lnTo>
                      <a:pt x="57" y="90"/>
                    </a:lnTo>
                    <a:lnTo>
                      <a:pt x="60" y="88"/>
                    </a:lnTo>
                    <a:lnTo>
                      <a:pt x="62" y="88"/>
                    </a:lnTo>
                    <a:lnTo>
                      <a:pt x="64" y="86"/>
                    </a:lnTo>
                    <a:lnTo>
                      <a:pt x="64" y="85"/>
                    </a:lnTo>
                    <a:lnTo>
                      <a:pt x="65" y="85"/>
                    </a:lnTo>
                    <a:lnTo>
                      <a:pt x="69" y="83"/>
                    </a:lnTo>
                    <a:lnTo>
                      <a:pt x="70" y="83"/>
                    </a:lnTo>
                    <a:lnTo>
                      <a:pt x="74" y="81"/>
                    </a:lnTo>
                    <a:lnTo>
                      <a:pt x="75" y="80"/>
                    </a:lnTo>
                    <a:lnTo>
                      <a:pt x="77" y="80"/>
                    </a:lnTo>
                    <a:lnTo>
                      <a:pt x="81" y="80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91" y="80"/>
                    </a:lnTo>
                    <a:lnTo>
                      <a:pt x="94" y="81"/>
                    </a:lnTo>
                    <a:lnTo>
                      <a:pt x="102" y="83"/>
                    </a:lnTo>
                    <a:lnTo>
                      <a:pt x="107" y="85"/>
                    </a:lnTo>
                    <a:lnTo>
                      <a:pt x="111" y="88"/>
                    </a:lnTo>
                    <a:lnTo>
                      <a:pt x="113" y="91"/>
                    </a:lnTo>
                    <a:lnTo>
                      <a:pt x="114" y="97"/>
                    </a:lnTo>
                    <a:lnTo>
                      <a:pt x="118" y="102"/>
                    </a:lnTo>
                    <a:lnTo>
                      <a:pt x="118" y="105"/>
                    </a:lnTo>
                    <a:lnTo>
                      <a:pt x="119" y="108"/>
                    </a:lnTo>
                    <a:lnTo>
                      <a:pt x="119" y="113"/>
                    </a:lnTo>
                    <a:lnTo>
                      <a:pt x="119" y="118"/>
                    </a:lnTo>
                    <a:lnTo>
                      <a:pt x="118" y="118"/>
                    </a:lnTo>
                    <a:lnTo>
                      <a:pt x="116" y="118"/>
                    </a:lnTo>
                    <a:lnTo>
                      <a:pt x="116" y="120"/>
                    </a:lnTo>
                    <a:lnTo>
                      <a:pt x="114" y="120"/>
                    </a:lnTo>
                    <a:lnTo>
                      <a:pt x="113" y="120"/>
                    </a:lnTo>
                    <a:lnTo>
                      <a:pt x="111" y="120"/>
                    </a:lnTo>
                    <a:lnTo>
                      <a:pt x="111" y="122"/>
                    </a:lnTo>
                    <a:lnTo>
                      <a:pt x="109" y="122"/>
                    </a:lnTo>
                    <a:lnTo>
                      <a:pt x="109" y="123"/>
                    </a:lnTo>
                    <a:lnTo>
                      <a:pt x="109" y="125"/>
                    </a:lnTo>
                    <a:lnTo>
                      <a:pt x="109" y="127"/>
                    </a:lnTo>
                    <a:lnTo>
                      <a:pt x="107" y="127"/>
                    </a:lnTo>
                    <a:lnTo>
                      <a:pt x="106" y="127"/>
                    </a:lnTo>
                    <a:lnTo>
                      <a:pt x="106" y="129"/>
                    </a:lnTo>
                    <a:lnTo>
                      <a:pt x="104" y="129"/>
                    </a:lnTo>
                    <a:lnTo>
                      <a:pt x="102" y="129"/>
                    </a:lnTo>
                    <a:lnTo>
                      <a:pt x="101" y="130"/>
                    </a:lnTo>
                    <a:lnTo>
                      <a:pt x="99" y="130"/>
                    </a:lnTo>
                    <a:lnTo>
                      <a:pt x="97" y="132"/>
                    </a:lnTo>
                    <a:lnTo>
                      <a:pt x="94" y="132"/>
                    </a:lnTo>
                    <a:lnTo>
                      <a:pt x="92" y="132"/>
                    </a:lnTo>
                    <a:lnTo>
                      <a:pt x="91" y="134"/>
                    </a:lnTo>
                    <a:lnTo>
                      <a:pt x="91" y="135"/>
                    </a:lnTo>
                    <a:lnTo>
                      <a:pt x="91" y="139"/>
                    </a:lnTo>
                    <a:lnTo>
                      <a:pt x="92" y="140"/>
                    </a:lnTo>
                    <a:lnTo>
                      <a:pt x="94" y="140"/>
                    </a:lnTo>
                    <a:lnTo>
                      <a:pt x="96" y="142"/>
                    </a:lnTo>
                    <a:lnTo>
                      <a:pt x="97" y="142"/>
                    </a:lnTo>
                    <a:lnTo>
                      <a:pt x="99" y="144"/>
                    </a:lnTo>
                    <a:lnTo>
                      <a:pt x="101" y="145"/>
                    </a:lnTo>
                    <a:lnTo>
                      <a:pt x="104" y="145"/>
                    </a:lnTo>
                    <a:lnTo>
                      <a:pt x="106" y="145"/>
                    </a:lnTo>
                    <a:lnTo>
                      <a:pt x="107" y="145"/>
                    </a:lnTo>
                    <a:lnTo>
                      <a:pt x="109" y="145"/>
                    </a:lnTo>
                    <a:lnTo>
                      <a:pt x="111" y="145"/>
                    </a:lnTo>
                    <a:lnTo>
                      <a:pt x="113" y="145"/>
                    </a:lnTo>
                    <a:lnTo>
                      <a:pt x="114" y="145"/>
                    </a:lnTo>
                    <a:lnTo>
                      <a:pt x="116" y="145"/>
                    </a:lnTo>
                    <a:lnTo>
                      <a:pt x="118" y="145"/>
                    </a:lnTo>
                    <a:lnTo>
                      <a:pt x="118" y="144"/>
                    </a:lnTo>
                    <a:lnTo>
                      <a:pt x="118" y="142"/>
                    </a:lnTo>
                    <a:lnTo>
                      <a:pt x="118" y="140"/>
                    </a:lnTo>
                    <a:lnTo>
                      <a:pt x="119" y="139"/>
                    </a:lnTo>
                    <a:lnTo>
                      <a:pt x="119" y="137"/>
                    </a:lnTo>
                    <a:lnTo>
                      <a:pt x="119" y="135"/>
                    </a:lnTo>
                    <a:lnTo>
                      <a:pt x="121" y="134"/>
                    </a:lnTo>
                    <a:lnTo>
                      <a:pt x="123" y="132"/>
                    </a:lnTo>
                    <a:lnTo>
                      <a:pt x="124" y="132"/>
                    </a:lnTo>
                    <a:lnTo>
                      <a:pt x="126" y="132"/>
                    </a:lnTo>
                    <a:lnTo>
                      <a:pt x="126" y="129"/>
                    </a:lnTo>
                    <a:lnTo>
                      <a:pt x="128" y="129"/>
                    </a:lnTo>
                    <a:lnTo>
                      <a:pt x="128" y="127"/>
                    </a:lnTo>
                    <a:lnTo>
                      <a:pt x="126" y="127"/>
                    </a:lnTo>
                    <a:lnTo>
                      <a:pt x="128" y="125"/>
                    </a:lnTo>
                    <a:lnTo>
                      <a:pt x="126" y="125"/>
                    </a:lnTo>
                    <a:lnTo>
                      <a:pt x="128" y="123"/>
                    </a:lnTo>
                    <a:lnTo>
                      <a:pt x="126" y="123"/>
                    </a:lnTo>
                    <a:lnTo>
                      <a:pt x="128" y="123"/>
                    </a:lnTo>
                    <a:lnTo>
                      <a:pt x="129" y="123"/>
                    </a:lnTo>
                    <a:lnTo>
                      <a:pt x="131" y="123"/>
                    </a:lnTo>
                    <a:lnTo>
                      <a:pt x="133" y="123"/>
                    </a:lnTo>
                    <a:lnTo>
                      <a:pt x="133" y="120"/>
                    </a:lnTo>
                    <a:lnTo>
                      <a:pt x="134" y="118"/>
                    </a:lnTo>
                    <a:lnTo>
                      <a:pt x="136" y="118"/>
                    </a:lnTo>
                    <a:lnTo>
                      <a:pt x="138" y="118"/>
                    </a:lnTo>
                    <a:lnTo>
                      <a:pt x="140" y="118"/>
                    </a:lnTo>
                    <a:lnTo>
                      <a:pt x="141" y="118"/>
                    </a:lnTo>
                    <a:lnTo>
                      <a:pt x="143" y="118"/>
                    </a:lnTo>
                    <a:lnTo>
                      <a:pt x="145" y="118"/>
                    </a:lnTo>
                    <a:lnTo>
                      <a:pt x="145" y="117"/>
                    </a:lnTo>
                    <a:lnTo>
                      <a:pt x="146" y="115"/>
                    </a:lnTo>
                    <a:lnTo>
                      <a:pt x="146" y="113"/>
                    </a:lnTo>
                    <a:lnTo>
                      <a:pt x="148" y="113"/>
                    </a:lnTo>
                    <a:lnTo>
                      <a:pt x="148" y="115"/>
                    </a:lnTo>
                    <a:lnTo>
                      <a:pt x="148" y="117"/>
                    </a:lnTo>
                    <a:lnTo>
                      <a:pt x="150" y="117"/>
                    </a:lnTo>
                    <a:lnTo>
                      <a:pt x="151" y="115"/>
                    </a:lnTo>
                    <a:lnTo>
                      <a:pt x="151" y="113"/>
                    </a:lnTo>
                    <a:lnTo>
                      <a:pt x="153" y="112"/>
                    </a:lnTo>
                    <a:lnTo>
                      <a:pt x="153" y="110"/>
                    </a:lnTo>
                    <a:lnTo>
                      <a:pt x="155" y="110"/>
                    </a:lnTo>
                    <a:lnTo>
                      <a:pt x="156" y="110"/>
                    </a:lnTo>
                    <a:lnTo>
                      <a:pt x="156" y="112"/>
                    </a:lnTo>
                    <a:lnTo>
                      <a:pt x="155" y="112"/>
                    </a:lnTo>
                    <a:lnTo>
                      <a:pt x="155" y="113"/>
                    </a:lnTo>
                    <a:lnTo>
                      <a:pt x="155" y="115"/>
                    </a:lnTo>
                    <a:lnTo>
                      <a:pt x="156" y="115"/>
                    </a:lnTo>
                    <a:lnTo>
                      <a:pt x="156" y="117"/>
                    </a:lnTo>
                    <a:lnTo>
                      <a:pt x="156" y="118"/>
                    </a:lnTo>
                    <a:lnTo>
                      <a:pt x="158" y="118"/>
                    </a:lnTo>
                    <a:lnTo>
                      <a:pt x="160" y="118"/>
                    </a:lnTo>
                    <a:lnTo>
                      <a:pt x="160" y="117"/>
                    </a:lnTo>
                    <a:lnTo>
                      <a:pt x="161" y="117"/>
                    </a:lnTo>
                    <a:lnTo>
                      <a:pt x="163" y="118"/>
                    </a:lnTo>
                    <a:lnTo>
                      <a:pt x="161" y="118"/>
                    </a:lnTo>
                    <a:lnTo>
                      <a:pt x="160" y="120"/>
                    </a:lnTo>
                    <a:lnTo>
                      <a:pt x="156" y="120"/>
                    </a:lnTo>
                    <a:lnTo>
                      <a:pt x="155" y="120"/>
                    </a:lnTo>
                    <a:lnTo>
                      <a:pt x="153" y="120"/>
                    </a:lnTo>
                    <a:lnTo>
                      <a:pt x="150" y="120"/>
                    </a:lnTo>
                    <a:lnTo>
                      <a:pt x="151" y="122"/>
                    </a:lnTo>
                    <a:lnTo>
                      <a:pt x="153" y="122"/>
                    </a:lnTo>
                    <a:lnTo>
                      <a:pt x="155" y="123"/>
                    </a:lnTo>
                    <a:lnTo>
                      <a:pt x="155" y="125"/>
                    </a:lnTo>
                    <a:lnTo>
                      <a:pt x="156" y="125"/>
                    </a:lnTo>
                    <a:lnTo>
                      <a:pt x="158" y="127"/>
                    </a:lnTo>
                    <a:lnTo>
                      <a:pt x="161" y="127"/>
                    </a:lnTo>
                    <a:lnTo>
                      <a:pt x="163" y="127"/>
                    </a:lnTo>
                    <a:lnTo>
                      <a:pt x="165" y="129"/>
                    </a:lnTo>
                    <a:lnTo>
                      <a:pt x="170" y="129"/>
                    </a:lnTo>
                    <a:lnTo>
                      <a:pt x="175" y="129"/>
                    </a:lnTo>
                    <a:lnTo>
                      <a:pt x="175" y="130"/>
                    </a:lnTo>
                    <a:lnTo>
                      <a:pt x="177" y="130"/>
                    </a:lnTo>
                    <a:lnTo>
                      <a:pt x="177" y="132"/>
                    </a:lnTo>
                    <a:lnTo>
                      <a:pt x="175" y="134"/>
                    </a:lnTo>
                    <a:lnTo>
                      <a:pt x="172" y="135"/>
                    </a:lnTo>
                    <a:lnTo>
                      <a:pt x="170" y="135"/>
                    </a:lnTo>
                    <a:lnTo>
                      <a:pt x="167" y="139"/>
                    </a:lnTo>
                    <a:lnTo>
                      <a:pt x="163" y="140"/>
                    </a:lnTo>
                    <a:lnTo>
                      <a:pt x="163" y="144"/>
                    </a:lnTo>
                    <a:lnTo>
                      <a:pt x="165" y="144"/>
                    </a:lnTo>
                    <a:lnTo>
                      <a:pt x="167" y="145"/>
                    </a:lnTo>
                    <a:lnTo>
                      <a:pt x="168" y="147"/>
                    </a:lnTo>
                    <a:lnTo>
                      <a:pt x="172" y="147"/>
                    </a:lnTo>
                    <a:lnTo>
                      <a:pt x="175" y="147"/>
                    </a:lnTo>
                    <a:lnTo>
                      <a:pt x="177" y="149"/>
                    </a:lnTo>
                    <a:lnTo>
                      <a:pt x="178" y="149"/>
                    </a:lnTo>
                    <a:lnTo>
                      <a:pt x="178" y="150"/>
                    </a:lnTo>
                    <a:lnTo>
                      <a:pt x="177" y="152"/>
                    </a:lnTo>
                    <a:lnTo>
                      <a:pt x="177" y="154"/>
                    </a:lnTo>
                    <a:lnTo>
                      <a:pt x="177" y="156"/>
                    </a:lnTo>
                    <a:lnTo>
                      <a:pt x="177" y="157"/>
                    </a:lnTo>
                    <a:lnTo>
                      <a:pt x="177" y="161"/>
                    </a:lnTo>
                    <a:lnTo>
                      <a:pt x="178" y="161"/>
                    </a:lnTo>
                    <a:lnTo>
                      <a:pt x="180" y="161"/>
                    </a:lnTo>
                    <a:lnTo>
                      <a:pt x="182" y="161"/>
                    </a:lnTo>
                    <a:lnTo>
                      <a:pt x="183" y="161"/>
                    </a:lnTo>
                    <a:lnTo>
                      <a:pt x="185" y="161"/>
                    </a:lnTo>
                    <a:lnTo>
                      <a:pt x="187" y="161"/>
                    </a:lnTo>
                    <a:lnTo>
                      <a:pt x="187" y="159"/>
                    </a:lnTo>
                    <a:lnTo>
                      <a:pt x="188" y="159"/>
                    </a:lnTo>
                    <a:lnTo>
                      <a:pt x="190" y="157"/>
                    </a:lnTo>
                    <a:lnTo>
                      <a:pt x="192" y="156"/>
                    </a:lnTo>
                    <a:lnTo>
                      <a:pt x="192" y="154"/>
                    </a:lnTo>
                    <a:lnTo>
                      <a:pt x="190" y="154"/>
                    </a:lnTo>
                    <a:lnTo>
                      <a:pt x="192" y="154"/>
                    </a:lnTo>
                    <a:lnTo>
                      <a:pt x="192" y="152"/>
                    </a:lnTo>
                    <a:lnTo>
                      <a:pt x="193" y="154"/>
                    </a:lnTo>
                    <a:lnTo>
                      <a:pt x="195" y="154"/>
                    </a:lnTo>
                    <a:lnTo>
                      <a:pt x="195" y="152"/>
                    </a:lnTo>
                    <a:lnTo>
                      <a:pt x="197" y="152"/>
                    </a:lnTo>
                    <a:lnTo>
                      <a:pt x="199" y="152"/>
                    </a:lnTo>
                    <a:lnTo>
                      <a:pt x="200" y="152"/>
                    </a:lnTo>
                    <a:lnTo>
                      <a:pt x="202" y="152"/>
                    </a:lnTo>
                    <a:lnTo>
                      <a:pt x="204" y="152"/>
                    </a:lnTo>
                    <a:lnTo>
                      <a:pt x="204" y="150"/>
                    </a:lnTo>
                    <a:lnTo>
                      <a:pt x="205" y="150"/>
                    </a:lnTo>
                    <a:lnTo>
                      <a:pt x="207" y="149"/>
                    </a:lnTo>
                    <a:lnTo>
                      <a:pt x="209" y="149"/>
                    </a:lnTo>
                    <a:lnTo>
                      <a:pt x="210" y="147"/>
                    </a:lnTo>
                    <a:lnTo>
                      <a:pt x="212" y="149"/>
                    </a:lnTo>
                    <a:lnTo>
                      <a:pt x="214" y="149"/>
                    </a:lnTo>
                    <a:lnTo>
                      <a:pt x="217" y="149"/>
                    </a:lnTo>
                    <a:lnTo>
                      <a:pt x="219" y="149"/>
                    </a:lnTo>
                    <a:lnTo>
                      <a:pt x="220" y="147"/>
                    </a:lnTo>
                    <a:lnTo>
                      <a:pt x="222" y="144"/>
                    </a:lnTo>
                    <a:lnTo>
                      <a:pt x="224" y="142"/>
                    </a:lnTo>
                    <a:lnTo>
                      <a:pt x="222" y="142"/>
                    </a:lnTo>
                    <a:lnTo>
                      <a:pt x="224" y="140"/>
                    </a:lnTo>
                    <a:lnTo>
                      <a:pt x="222" y="140"/>
                    </a:lnTo>
                    <a:lnTo>
                      <a:pt x="220" y="140"/>
                    </a:lnTo>
                    <a:lnTo>
                      <a:pt x="219" y="140"/>
                    </a:lnTo>
                    <a:lnTo>
                      <a:pt x="217" y="140"/>
                    </a:lnTo>
                    <a:lnTo>
                      <a:pt x="214" y="142"/>
                    </a:lnTo>
                    <a:lnTo>
                      <a:pt x="210" y="144"/>
                    </a:lnTo>
                    <a:lnTo>
                      <a:pt x="205" y="144"/>
                    </a:lnTo>
                    <a:lnTo>
                      <a:pt x="202" y="144"/>
                    </a:lnTo>
                    <a:lnTo>
                      <a:pt x="199" y="140"/>
                    </a:lnTo>
                    <a:lnTo>
                      <a:pt x="197" y="137"/>
                    </a:lnTo>
                    <a:lnTo>
                      <a:pt x="195" y="137"/>
                    </a:lnTo>
                    <a:lnTo>
                      <a:pt x="195" y="135"/>
                    </a:lnTo>
                    <a:lnTo>
                      <a:pt x="193" y="134"/>
                    </a:lnTo>
                    <a:lnTo>
                      <a:pt x="192" y="132"/>
                    </a:lnTo>
                    <a:lnTo>
                      <a:pt x="190" y="132"/>
                    </a:lnTo>
                    <a:lnTo>
                      <a:pt x="187" y="130"/>
                    </a:lnTo>
                    <a:lnTo>
                      <a:pt x="185" y="130"/>
                    </a:lnTo>
                    <a:lnTo>
                      <a:pt x="183" y="130"/>
                    </a:lnTo>
                    <a:lnTo>
                      <a:pt x="183" y="129"/>
                    </a:lnTo>
                    <a:lnTo>
                      <a:pt x="182" y="127"/>
                    </a:lnTo>
                    <a:lnTo>
                      <a:pt x="182" y="125"/>
                    </a:lnTo>
                    <a:lnTo>
                      <a:pt x="183" y="125"/>
                    </a:lnTo>
                    <a:lnTo>
                      <a:pt x="185" y="125"/>
                    </a:lnTo>
                    <a:lnTo>
                      <a:pt x="187" y="127"/>
                    </a:lnTo>
                    <a:lnTo>
                      <a:pt x="188" y="127"/>
                    </a:lnTo>
                    <a:lnTo>
                      <a:pt x="188" y="125"/>
                    </a:lnTo>
                    <a:lnTo>
                      <a:pt x="190" y="125"/>
                    </a:lnTo>
                    <a:lnTo>
                      <a:pt x="192" y="127"/>
                    </a:lnTo>
                    <a:lnTo>
                      <a:pt x="192" y="129"/>
                    </a:lnTo>
                    <a:lnTo>
                      <a:pt x="193" y="129"/>
                    </a:lnTo>
                    <a:lnTo>
                      <a:pt x="195" y="129"/>
                    </a:lnTo>
                    <a:lnTo>
                      <a:pt x="197" y="129"/>
                    </a:lnTo>
                    <a:lnTo>
                      <a:pt x="199" y="127"/>
                    </a:lnTo>
                    <a:lnTo>
                      <a:pt x="200" y="125"/>
                    </a:lnTo>
                    <a:lnTo>
                      <a:pt x="200" y="122"/>
                    </a:lnTo>
                    <a:lnTo>
                      <a:pt x="202" y="122"/>
                    </a:lnTo>
                    <a:lnTo>
                      <a:pt x="205" y="122"/>
                    </a:lnTo>
                    <a:lnTo>
                      <a:pt x="209" y="120"/>
                    </a:lnTo>
                    <a:lnTo>
                      <a:pt x="210" y="118"/>
                    </a:lnTo>
                    <a:lnTo>
                      <a:pt x="219" y="118"/>
                    </a:lnTo>
                    <a:lnTo>
                      <a:pt x="224" y="117"/>
                    </a:lnTo>
                    <a:lnTo>
                      <a:pt x="229" y="115"/>
                    </a:lnTo>
                    <a:lnTo>
                      <a:pt x="231" y="113"/>
                    </a:lnTo>
                    <a:lnTo>
                      <a:pt x="236" y="112"/>
                    </a:lnTo>
                    <a:lnTo>
                      <a:pt x="239" y="110"/>
                    </a:lnTo>
                    <a:lnTo>
                      <a:pt x="242" y="108"/>
                    </a:lnTo>
                    <a:lnTo>
                      <a:pt x="247" y="108"/>
                    </a:lnTo>
                    <a:lnTo>
                      <a:pt x="256" y="108"/>
                    </a:lnTo>
                    <a:lnTo>
                      <a:pt x="256" y="107"/>
                    </a:lnTo>
                    <a:lnTo>
                      <a:pt x="258" y="107"/>
                    </a:lnTo>
                    <a:lnTo>
                      <a:pt x="258" y="105"/>
                    </a:lnTo>
                    <a:lnTo>
                      <a:pt x="256" y="105"/>
                    </a:lnTo>
                    <a:lnTo>
                      <a:pt x="254" y="105"/>
                    </a:lnTo>
                    <a:lnTo>
                      <a:pt x="254" y="103"/>
                    </a:lnTo>
                    <a:lnTo>
                      <a:pt x="252" y="103"/>
                    </a:lnTo>
                    <a:lnTo>
                      <a:pt x="252" y="102"/>
                    </a:lnTo>
                    <a:lnTo>
                      <a:pt x="252" y="100"/>
                    </a:lnTo>
                    <a:lnTo>
                      <a:pt x="252" y="98"/>
                    </a:lnTo>
                    <a:lnTo>
                      <a:pt x="254" y="98"/>
                    </a:lnTo>
                    <a:lnTo>
                      <a:pt x="256" y="98"/>
                    </a:lnTo>
                    <a:lnTo>
                      <a:pt x="258" y="98"/>
                    </a:lnTo>
                    <a:lnTo>
                      <a:pt x="259" y="97"/>
                    </a:lnTo>
                    <a:lnTo>
                      <a:pt x="259" y="95"/>
                    </a:lnTo>
                    <a:lnTo>
                      <a:pt x="261" y="93"/>
                    </a:lnTo>
                    <a:lnTo>
                      <a:pt x="263" y="93"/>
                    </a:lnTo>
                    <a:lnTo>
                      <a:pt x="264" y="93"/>
                    </a:lnTo>
                    <a:lnTo>
                      <a:pt x="266" y="93"/>
                    </a:lnTo>
                    <a:lnTo>
                      <a:pt x="268" y="93"/>
                    </a:lnTo>
                    <a:lnTo>
                      <a:pt x="269" y="91"/>
                    </a:lnTo>
                    <a:lnTo>
                      <a:pt x="273" y="91"/>
                    </a:lnTo>
                    <a:lnTo>
                      <a:pt x="273" y="93"/>
                    </a:lnTo>
                    <a:lnTo>
                      <a:pt x="276" y="93"/>
                    </a:lnTo>
                    <a:lnTo>
                      <a:pt x="276" y="91"/>
                    </a:lnTo>
                    <a:lnTo>
                      <a:pt x="278" y="90"/>
                    </a:lnTo>
                    <a:lnTo>
                      <a:pt x="278" y="88"/>
                    </a:lnTo>
                    <a:lnTo>
                      <a:pt x="278" y="86"/>
                    </a:lnTo>
                    <a:lnTo>
                      <a:pt x="279" y="86"/>
                    </a:lnTo>
                    <a:lnTo>
                      <a:pt x="279" y="85"/>
                    </a:lnTo>
                    <a:lnTo>
                      <a:pt x="279" y="83"/>
                    </a:lnTo>
                    <a:lnTo>
                      <a:pt x="278" y="81"/>
                    </a:lnTo>
                    <a:lnTo>
                      <a:pt x="276" y="80"/>
                    </a:lnTo>
                    <a:lnTo>
                      <a:pt x="274" y="80"/>
                    </a:lnTo>
                    <a:lnTo>
                      <a:pt x="274" y="78"/>
                    </a:lnTo>
                    <a:lnTo>
                      <a:pt x="274" y="76"/>
                    </a:lnTo>
                    <a:lnTo>
                      <a:pt x="274" y="75"/>
                    </a:lnTo>
                    <a:lnTo>
                      <a:pt x="276" y="75"/>
                    </a:lnTo>
                    <a:lnTo>
                      <a:pt x="278" y="75"/>
                    </a:lnTo>
                    <a:lnTo>
                      <a:pt x="279" y="75"/>
                    </a:lnTo>
                    <a:lnTo>
                      <a:pt x="281" y="75"/>
                    </a:lnTo>
                    <a:lnTo>
                      <a:pt x="281" y="73"/>
                    </a:lnTo>
                    <a:lnTo>
                      <a:pt x="279" y="73"/>
                    </a:lnTo>
                    <a:lnTo>
                      <a:pt x="278" y="73"/>
                    </a:lnTo>
                    <a:lnTo>
                      <a:pt x="276" y="71"/>
                    </a:lnTo>
                    <a:lnTo>
                      <a:pt x="274" y="70"/>
                    </a:lnTo>
                    <a:lnTo>
                      <a:pt x="276" y="68"/>
                    </a:lnTo>
                    <a:lnTo>
                      <a:pt x="279" y="68"/>
                    </a:lnTo>
                    <a:lnTo>
                      <a:pt x="281" y="68"/>
                    </a:lnTo>
                    <a:lnTo>
                      <a:pt x="283" y="66"/>
                    </a:lnTo>
                    <a:lnTo>
                      <a:pt x="283" y="64"/>
                    </a:lnTo>
                    <a:lnTo>
                      <a:pt x="283" y="63"/>
                    </a:lnTo>
                    <a:lnTo>
                      <a:pt x="283" y="61"/>
                    </a:lnTo>
                    <a:lnTo>
                      <a:pt x="281" y="61"/>
                    </a:lnTo>
                    <a:lnTo>
                      <a:pt x="281" y="59"/>
                    </a:lnTo>
                    <a:lnTo>
                      <a:pt x="283" y="59"/>
                    </a:lnTo>
                    <a:lnTo>
                      <a:pt x="283" y="58"/>
                    </a:lnTo>
                    <a:lnTo>
                      <a:pt x="281" y="58"/>
                    </a:lnTo>
                    <a:lnTo>
                      <a:pt x="279" y="58"/>
                    </a:lnTo>
                    <a:lnTo>
                      <a:pt x="278" y="58"/>
                    </a:lnTo>
                    <a:lnTo>
                      <a:pt x="276" y="58"/>
                    </a:lnTo>
                    <a:lnTo>
                      <a:pt x="274" y="56"/>
                    </a:lnTo>
                    <a:lnTo>
                      <a:pt x="273" y="54"/>
                    </a:lnTo>
                    <a:lnTo>
                      <a:pt x="271" y="54"/>
                    </a:lnTo>
                    <a:lnTo>
                      <a:pt x="269" y="53"/>
                    </a:lnTo>
                    <a:lnTo>
                      <a:pt x="268" y="53"/>
                    </a:lnTo>
                    <a:lnTo>
                      <a:pt x="266" y="53"/>
                    </a:lnTo>
                    <a:lnTo>
                      <a:pt x="263" y="53"/>
                    </a:lnTo>
                    <a:lnTo>
                      <a:pt x="263" y="51"/>
                    </a:lnTo>
                    <a:lnTo>
                      <a:pt x="261" y="51"/>
                    </a:lnTo>
                    <a:lnTo>
                      <a:pt x="261" y="49"/>
                    </a:lnTo>
                    <a:lnTo>
                      <a:pt x="259" y="49"/>
                    </a:lnTo>
                    <a:lnTo>
                      <a:pt x="259" y="51"/>
                    </a:lnTo>
                    <a:lnTo>
                      <a:pt x="258" y="51"/>
                    </a:lnTo>
                    <a:lnTo>
                      <a:pt x="256" y="51"/>
                    </a:lnTo>
                    <a:lnTo>
                      <a:pt x="254" y="49"/>
                    </a:lnTo>
                    <a:lnTo>
                      <a:pt x="254" y="48"/>
                    </a:lnTo>
                    <a:lnTo>
                      <a:pt x="252" y="48"/>
                    </a:lnTo>
                    <a:lnTo>
                      <a:pt x="251" y="49"/>
                    </a:lnTo>
                    <a:lnTo>
                      <a:pt x="251" y="51"/>
                    </a:lnTo>
                    <a:lnTo>
                      <a:pt x="249" y="51"/>
                    </a:lnTo>
                    <a:lnTo>
                      <a:pt x="246" y="51"/>
                    </a:lnTo>
                    <a:lnTo>
                      <a:pt x="244" y="51"/>
                    </a:lnTo>
                    <a:lnTo>
                      <a:pt x="242" y="49"/>
                    </a:lnTo>
                    <a:lnTo>
                      <a:pt x="242" y="48"/>
                    </a:lnTo>
                    <a:lnTo>
                      <a:pt x="242" y="46"/>
                    </a:lnTo>
                    <a:lnTo>
                      <a:pt x="242" y="44"/>
                    </a:lnTo>
                    <a:lnTo>
                      <a:pt x="242" y="43"/>
                    </a:lnTo>
                    <a:lnTo>
                      <a:pt x="241" y="43"/>
                    </a:lnTo>
                    <a:lnTo>
                      <a:pt x="239" y="41"/>
                    </a:lnTo>
                    <a:lnTo>
                      <a:pt x="237" y="41"/>
                    </a:lnTo>
                    <a:lnTo>
                      <a:pt x="236" y="41"/>
                    </a:lnTo>
                    <a:lnTo>
                      <a:pt x="234" y="41"/>
                    </a:lnTo>
                    <a:lnTo>
                      <a:pt x="232" y="43"/>
                    </a:lnTo>
                    <a:lnTo>
                      <a:pt x="231" y="44"/>
                    </a:lnTo>
                    <a:lnTo>
                      <a:pt x="227" y="44"/>
                    </a:lnTo>
                    <a:lnTo>
                      <a:pt x="226" y="44"/>
                    </a:lnTo>
                    <a:lnTo>
                      <a:pt x="224" y="43"/>
                    </a:lnTo>
                    <a:lnTo>
                      <a:pt x="220" y="44"/>
                    </a:lnTo>
                    <a:lnTo>
                      <a:pt x="220" y="43"/>
                    </a:lnTo>
                    <a:lnTo>
                      <a:pt x="219" y="41"/>
                    </a:lnTo>
                    <a:lnTo>
                      <a:pt x="217" y="41"/>
                    </a:lnTo>
                    <a:lnTo>
                      <a:pt x="215" y="41"/>
                    </a:lnTo>
                    <a:lnTo>
                      <a:pt x="215" y="43"/>
                    </a:lnTo>
                    <a:lnTo>
                      <a:pt x="214" y="43"/>
                    </a:lnTo>
                    <a:lnTo>
                      <a:pt x="210" y="43"/>
                    </a:lnTo>
                    <a:lnTo>
                      <a:pt x="210" y="41"/>
                    </a:lnTo>
                    <a:lnTo>
                      <a:pt x="207" y="38"/>
                    </a:lnTo>
                    <a:lnTo>
                      <a:pt x="209" y="34"/>
                    </a:lnTo>
                    <a:lnTo>
                      <a:pt x="207" y="32"/>
                    </a:lnTo>
                    <a:lnTo>
                      <a:pt x="205" y="31"/>
                    </a:lnTo>
                    <a:lnTo>
                      <a:pt x="204" y="29"/>
                    </a:lnTo>
                    <a:lnTo>
                      <a:pt x="204" y="27"/>
                    </a:lnTo>
                    <a:lnTo>
                      <a:pt x="204" y="26"/>
                    </a:lnTo>
                    <a:lnTo>
                      <a:pt x="202" y="26"/>
                    </a:lnTo>
                    <a:lnTo>
                      <a:pt x="199" y="26"/>
                    </a:lnTo>
                    <a:lnTo>
                      <a:pt x="195" y="26"/>
                    </a:lnTo>
                    <a:lnTo>
                      <a:pt x="193" y="26"/>
                    </a:lnTo>
                    <a:lnTo>
                      <a:pt x="190" y="24"/>
                    </a:lnTo>
                    <a:lnTo>
                      <a:pt x="190" y="21"/>
                    </a:lnTo>
                    <a:lnTo>
                      <a:pt x="188" y="19"/>
                    </a:lnTo>
                    <a:lnTo>
                      <a:pt x="188" y="17"/>
                    </a:lnTo>
                    <a:lnTo>
                      <a:pt x="190" y="16"/>
                    </a:lnTo>
                    <a:lnTo>
                      <a:pt x="192" y="14"/>
                    </a:lnTo>
                    <a:lnTo>
                      <a:pt x="193" y="14"/>
                    </a:lnTo>
                    <a:lnTo>
                      <a:pt x="193" y="12"/>
                    </a:lnTo>
                    <a:lnTo>
                      <a:pt x="192" y="12"/>
                    </a:lnTo>
                    <a:lnTo>
                      <a:pt x="190" y="12"/>
                    </a:lnTo>
                    <a:lnTo>
                      <a:pt x="188" y="11"/>
                    </a:lnTo>
                    <a:lnTo>
                      <a:pt x="187" y="9"/>
                    </a:lnTo>
                    <a:lnTo>
                      <a:pt x="187" y="5"/>
                    </a:lnTo>
                    <a:lnTo>
                      <a:pt x="185" y="4"/>
                    </a:lnTo>
                    <a:lnTo>
                      <a:pt x="183" y="2"/>
                    </a:lnTo>
                    <a:lnTo>
                      <a:pt x="180" y="2"/>
                    </a:lnTo>
                    <a:lnTo>
                      <a:pt x="175" y="0"/>
                    </a:lnTo>
                    <a:lnTo>
                      <a:pt x="173" y="0"/>
                    </a:lnTo>
                    <a:lnTo>
                      <a:pt x="170" y="2"/>
                    </a:lnTo>
                    <a:lnTo>
                      <a:pt x="168" y="4"/>
                    </a:lnTo>
                    <a:lnTo>
                      <a:pt x="165" y="2"/>
                    </a:lnTo>
                    <a:lnTo>
                      <a:pt x="161" y="2"/>
                    </a:lnTo>
                    <a:lnTo>
                      <a:pt x="160" y="2"/>
                    </a:lnTo>
                    <a:lnTo>
                      <a:pt x="158" y="4"/>
                    </a:lnTo>
                    <a:lnTo>
                      <a:pt x="158" y="7"/>
                    </a:lnTo>
                    <a:lnTo>
                      <a:pt x="155" y="7"/>
                    </a:lnTo>
                    <a:lnTo>
                      <a:pt x="151" y="7"/>
                    </a:lnTo>
                    <a:lnTo>
                      <a:pt x="150" y="5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70" name="Group 1669">
              <a:extLst>
                <a:ext uri="{FF2B5EF4-FFF2-40B4-BE49-F238E27FC236}">
                  <a16:creationId xmlns:a16="http://schemas.microsoft.com/office/drawing/2014/main" id="{EC26FE6F-9E24-5E47-A1F1-CA1DDF741B7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8" y="411"/>
              <a:ext cx="7" cy="8"/>
              <a:chOff x="88" y="411"/>
              <a:chExt cx="7" cy="8"/>
            </a:xfrm>
          </p:grpSpPr>
          <p:sp>
            <p:nvSpPr>
              <p:cNvPr id="1743" name="Freeform 117">
                <a:extLst>
                  <a:ext uri="{FF2B5EF4-FFF2-40B4-BE49-F238E27FC236}">
                    <a16:creationId xmlns:a16="http://schemas.microsoft.com/office/drawing/2014/main" id="{068A3C80-D593-7343-9550-400245303D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" y="411"/>
                <a:ext cx="7" cy="8"/>
              </a:xfrm>
              <a:custGeom>
                <a:avLst/>
                <a:gdLst>
                  <a:gd name="T0" fmla="*/ 7 w 7"/>
                  <a:gd name="T1" fmla="*/ 2 h 8"/>
                  <a:gd name="T2" fmla="*/ 7 w 7"/>
                  <a:gd name="T3" fmla="*/ 3 h 8"/>
                  <a:gd name="T4" fmla="*/ 5 w 7"/>
                  <a:gd name="T5" fmla="*/ 7 h 8"/>
                  <a:gd name="T6" fmla="*/ 1 w 7"/>
                  <a:gd name="T7" fmla="*/ 7 h 8"/>
                  <a:gd name="T8" fmla="*/ 0 w 7"/>
                  <a:gd name="T9" fmla="*/ 8 h 8"/>
                  <a:gd name="T10" fmla="*/ 1 w 7"/>
                  <a:gd name="T11" fmla="*/ 7 h 8"/>
                  <a:gd name="T12" fmla="*/ 3 w 7"/>
                  <a:gd name="T13" fmla="*/ 3 h 8"/>
                  <a:gd name="T14" fmla="*/ 5 w 7"/>
                  <a:gd name="T15" fmla="*/ 2 h 8"/>
                  <a:gd name="T16" fmla="*/ 5 w 7"/>
                  <a:gd name="T17" fmla="*/ 0 h 8"/>
                  <a:gd name="T18" fmla="*/ 7 w 7"/>
                  <a:gd name="T1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8">
                    <a:moveTo>
                      <a:pt x="7" y="2"/>
                    </a:moveTo>
                    <a:lnTo>
                      <a:pt x="7" y="3"/>
                    </a:lnTo>
                    <a:lnTo>
                      <a:pt x="5" y="7"/>
                    </a:lnTo>
                    <a:lnTo>
                      <a:pt x="1" y="7"/>
                    </a:lnTo>
                    <a:lnTo>
                      <a:pt x="0" y="8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7" y="2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744" name="Freeform 118">
                <a:extLst>
                  <a:ext uri="{FF2B5EF4-FFF2-40B4-BE49-F238E27FC236}">
                    <a16:creationId xmlns:a16="http://schemas.microsoft.com/office/drawing/2014/main" id="{1D4E6EAB-3732-584E-9B99-7E502A5900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" y="411"/>
                <a:ext cx="7" cy="8"/>
              </a:xfrm>
              <a:custGeom>
                <a:avLst/>
                <a:gdLst>
                  <a:gd name="T0" fmla="*/ 7 w 7"/>
                  <a:gd name="T1" fmla="*/ 2 h 8"/>
                  <a:gd name="T2" fmla="*/ 7 w 7"/>
                  <a:gd name="T3" fmla="*/ 3 h 8"/>
                  <a:gd name="T4" fmla="*/ 5 w 7"/>
                  <a:gd name="T5" fmla="*/ 7 h 8"/>
                  <a:gd name="T6" fmla="*/ 1 w 7"/>
                  <a:gd name="T7" fmla="*/ 7 h 8"/>
                  <a:gd name="T8" fmla="*/ 0 w 7"/>
                  <a:gd name="T9" fmla="*/ 8 h 8"/>
                  <a:gd name="T10" fmla="*/ 1 w 7"/>
                  <a:gd name="T11" fmla="*/ 7 h 8"/>
                  <a:gd name="T12" fmla="*/ 3 w 7"/>
                  <a:gd name="T13" fmla="*/ 3 h 8"/>
                  <a:gd name="T14" fmla="*/ 5 w 7"/>
                  <a:gd name="T15" fmla="*/ 2 h 8"/>
                  <a:gd name="T16" fmla="*/ 5 w 7"/>
                  <a:gd name="T17" fmla="*/ 0 h 8"/>
                  <a:gd name="T18" fmla="*/ 7 w 7"/>
                  <a:gd name="T1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8">
                    <a:moveTo>
                      <a:pt x="7" y="2"/>
                    </a:moveTo>
                    <a:lnTo>
                      <a:pt x="7" y="3"/>
                    </a:lnTo>
                    <a:lnTo>
                      <a:pt x="5" y="7"/>
                    </a:lnTo>
                    <a:lnTo>
                      <a:pt x="1" y="7"/>
                    </a:lnTo>
                    <a:lnTo>
                      <a:pt x="0" y="8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7" y="2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71" name="Group 1670">
              <a:extLst>
                <a:ext uri="{FF2B5EF4-FFF2-40B4-BE49-F238E27FC236}">
                  <a16:creationId xmlns:a16="http://schemas.microsoft.com/office/drawing/2014/main" id="{86E7F6F3-243C-5F41-8886-CE74E5EB0A7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" y="271"/>
              <a:ext cx="153" cy="233"/>
              <a:chOff x="36" y="271"/>
              <a:chExt cx="153" cy="233"/>
            </a:xfrm>
          </p:grpSpPr>
          <p:grpSp>
            <p:nvGrpSpPr>
              <p:cNvPr id="1701" name="Group 1700">
                <a:extLst>
                  <a:ext uri="{FF2B5EF4-FFF2-40B4-BE49-F238E27FC236}">
                    <a16:creationId xmlns:a16="http://schemas.microsoft.com/office/drawing/2014/main" id="{F7693BBC-1E49-F048-AC65-BF1C3CF4BC1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37" y="271"/>
                <a:ext cx="8" cy="17"/>
                <a:chOff x="137" y="271"/>
                <a:chExt cx="8" cy="17"/>
              </a:xfrm>
            </p:grpSpPr>
            <p:sp>
              <p:nvSpPr>
                <p:cNvPr id="1741" name="Freeform 115">
                  <a:extLst>
                    <a:ext uri="{FF2B5EF4-FFF2-40B4-BE49-F238E27FC236}">
                      <a16:creationId xmlns:a16="http://schemas.microsoft.com/office/drawing/2014/main" id="{42D9B0C3-67B5-0A4E-927D-DC6A90B148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" y="271"/>
                  <a:ext cx="8" cy="17"/>
                </a:xfrm>
                <a:custGeom>
                  <a:avLst/>
                  <a:gdLst>
                    <a:gd name="T0" fmla="*/ 5 w 8"/>
                    <a:gd name="T1" fmla="*/ 0 h 17"/>
                    <a:gd name="T2" fmla="*/ 5 w 8"/>
                    <a:gd name="T3" fmla="*/ 2 h 17"/>
                    <a:gd name="T4" fmla="*/ 5 w 8"/>
                    <a:gd name="T5" fmla="*/ 3 h 17"/>
                    <a:gd name="T6" fmla="*/ 6 w 8"/>
                    <a:gd name="T7" fmla="*/ 3 h 17"/>
                    <a:gd name="T8" fmla="*/ 6 w 8"/>
                    <a:gd name="T9" fmla="*/ 5 h 17"/>
                    <a:gd name="T10" fmla="*/ 8 w 8"/>
                    <a:gd name="T11" fmla="*/ 5 h 17"/>
                    <a:gd name="T12" fmla="*/ 8 w 8"/>
                    <a:gd name="T13" fmla="*/ 7 h 17"/>
                    <a:gd name="T14" fmla="*/ 8 w 8"/>
                    <a:gd name="T15" fmla="*/ 8 h 17"/>
                    <a:gd name="T16" fmla="*/ 6 w 8"/>
                    <a:gd name="T17" fmla="*/ 8 h 17"/>
                    <a:gd name="T18" fmla="*/ 6 w 8"/>
                    <a:gd name="T19" fmla="*/ 10 h 17"/>
                    <a:gd name="T20" fmla="*/ 8 w 8"/>
                    <a:gd name="T21" fmla="*/ 10 h 17"/>
                    <a:gd name="T22" fmla="*/ 6 w 8"/>
                    <a:gd name="T23" fmla="*/ 12 h 17"/>
                    <a:gd name="T24" fmla="*/ 6 w 8"/>
                    <a:gd name="T25" fmla="*/ 14 h 17"/>
                    <a:gd name="T26" fmla="*/ 6 w 8"/>
                    <a:gd name="T27" fmla="*/ 15 h 17"/>
                    <a:gd name="T28" fmla="*/ 5 w 8"/>
                    <a:gd name="T29" fmla="*/ 17 h 17"/>
                    <a:gd name="T30" fmla="*/ 3 w 8"/>
                    <a:gd name="T31" fmla="*/ 17 h 17"/>
                    <a:gd name="T32" fmla="*/ 5 w 8"/>
                    <a:gd name="T33" fmla="*/ 15 h 17"/>
                    <a:gd name="T34" fmla="*/ 5 w 8"/>
                    <a:gd name="T35" fmla="*/ 12 h 17"/>
                    <a:gd name="T36" fmla="*/ 5 w 8"/>
                    <a:gd name="T37" fmla="*/ 10 h 17"/>
                    <a:gd name="T38" fmla="*/ 3 w 8"/>
                    <a:gd name="T39" fmla="*/ 10 h 17"/>
                    <a:gd name="T40" fmla="*/ 1 w 8"/>
                    <a:gd name="T41" fmla="*/ 10 h 17"/>
                    <a:gd name="T42" fmla="*/ 0 w 8"/>
                    <a:gd name="T43" fmla="*/ 10 h 17"/>
                    <a:gd name="T44" fmla="*/ 0 w 8"/>
                    <a:gd name="T45" fmla="*/ 8 h 17"/>
                    <a:gd name="T46" fmla="*/ 1 w 8"/>
                    <a:gd name="T47" fmla="*/ 7 h 17"/>
                    <a:gd name="T48" fmla="*/ 3 w 8"/>
                    <a:gd name="T49" fmla="*/ 7 h 17"/>
                    <a:gd name="T50" fmla="*/ 1 w 8"/>
                    <a:gd name="T51" fmla="*/ 5 h 17"/>
                    <a:gd name="T52" fmla="*/ 1 w 8"/>
                    <a:gd name="T53" fmla="*/ 3 h 17"/>
                    <a:gd name="T54" fmla="*/ 1 w 8"/>
                    <a:gd name="T55" fmla="*/ 2 h 17"/>
                    <a:gd name="T56" fmla="*/ 3 w 8"/>
                    <a:gd name="T57" fmla="*/ 0 h 17"/>
                    <a:gd name="T58" fmla="*/ 5 w 8"/>
                    <a:gd name="T59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8" h="17">
                      <a:moveTo>
                        <a:pt x="5" y="0"/>
                      </a:move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3"/>
                      </a:lnTo>
                      <a:lnTo>
                        <a:pt x="6" y="5"/>
                      </a:lnTo>
                      <a:lnTo>
                        <a:pt x="8" y="5"/>
                      </a:lnTo>
                      <a:lnTo>
                        <a:pt x="8" y="7"/>
                      </a:lnTo>
                      <a:lnTo>
                        <a:pt x="8" y="8"/>
                      </a:lnTo>
                      <a:lnTo>
                        <a:pt x="6" y="8"/>
                      </a:lnTo>
                      <a:lnTo>
                        <a:pt x="6" y="10"/>
                      </a:lnTo>
                      <a:lnTo>
                        <a:pt x="8" y="10"/>
                      </a:lnTo>
                      <a:lnTo>
                        <a:pt x="6" y="12"/>
                      </a:lnTo>
                      <a:lnTo>
                        <a:pt x="6" y="14"/>
                      </a:lnTo>
                      <a:lnTo>
                        <a:pt x="6" y="15"/>
                      </a:lnTo>
                      <a:lnTo>
                        <a:pt x="5" y="17"/>
                      </a:lnTo>
                      <a:lnTo>
                        <a:pt x="3" y="17"/>
                      </a:lnTo>
                      <a:lnTo>
                        <a:pt x="5" y="15"/>
                      </a:lnTo>
                      <a:lnTo>
                        <a:pt x="5" y="12"/>
                      </a:lnTo>
                      <a:lnTo>
                        <a:pt x="5" y="10"/>
                      </a:lnTo>
                      <a:lnTo>
                        <a:pt x="3" y="10"/>
                      </a:lnTo>
                      <a:lnTo>
                        <a:pt x="1" y="10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1" y="7"/>
                      </a:lnTo>
                      <a:lnTo>
                        <a:pt x="3" y="7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3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2" name="Freeform 116">
                  <a:extLst>
                    <a:ext uri="{FF2B5EF4-FFF2-40B4-BE49-F238E27FC236}">
                      <a16:creationId xmlns:a16="http://schemas.microsoft.com/office/drawing/2014/main" id="{639E7C37-1C31-5749-8707-48DF052EAB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" y="271"/>
                  <a:ext cx="8" cy="17"/>
                </a:xfrm>
                <a:custGeom>
                  <a:avLst/>
                  <a:gdLst>
                    <a:gd name="T0" fmla="*/ 5 w 8"/>
                    <a:gd name="T1" fmla="*/ 0 h 17"/>
                    <a:gd name="T2" fmla="*/ 5 w 8"/>
                    <a:gd name="T3" fmla="*/ 2 h 17"/>
                    <a:gd name="T4" fmla="*/ 5 w 8"/>
                    <a:gd name="T5" fmla="*/ 3 h 17"/>
                    <a:gd name="T6" fmla="*/ 6 w 8"/>
                    <a:gd name="T7" fmla="*/ 3 h 17"/>
                    <a:gd name="T8" fmla="*/ 6 w 8"/>
                    <a:gd name="T9" fmla="*/ 5 h 17"/>
                    <a:gd name="T10" fmla="*/ 8 w 8"/>
                    <a:gd name="T11" fmla="*/ 5 h 17"/>
                    <a:gd name="T12" fmla="*/ 8 w 8"/>
                    <a:gd name="T13" fmla="*/ 7 h 17"/>
                    <a:gd name="T14" fmla="*/ 8 w 8"/>
                    <a:gd name="T15" fmla="*/ 8 h 17"/>
                    <a:gd name="T16" fmla="*/ 6 w 8"/>
                    <a:gd name="T17" fmla="*/ 8 h 17"/>
                    <a:gd name="T18" fmla="*/ 6 w 8"/>
                    <a:gd name="T19" fmla="*/ 10 h 17"/>
                    <a:gd name="T20" fmla="*/ 8 w 8"/>
                    <a:gd name="T21" fmla="*/ 10 h 17"/>
                    <a:gd name="T22" fmla="*/ 6 w 8"/>
                    <a:gd name="T23" fmla="*/ 12 h 17"/>
                    <a:gd name="T24" fmla="*/ 6 w 8"/>
                    <a:gd name="T25" fmla="*/ 14 h 17"/>
                    <a:gd name="T26" fmla="*/ 6 w 8"/>
                    <a:gd name="T27" fmla="*/ 15 h 17"/>
                    <a:gd name="T28" fmla="*/ 5 w 8"/>
                    <a:gd name="T29" fmla="*/ 17 h 17"/>
                    <a:gd name="T30" fmla="*/ 3 w 8"/>
                    <a:gd name="T31" fmla="*/ 17 h 17"/>
                    <a:gd name="T32" fmla="*/ 5 w 8"/>
                    <a:gd name="T33" fmla="*/ 15 h 17"/>
                    <a:gd name="T34" fmla="*/ 5 w 8"/>
                    <a:gd name="T35" fmla="*/ 12 h 17"/>
                    <a:gd name="T36" fmla="*/ 5 w 8"/>
                    <a:gd name="T37" fmla="*/ 10 h 17"/>
                    <a:gd name="T38" fmla="*/ 3 w 8"/>
                    <a:gd name="T39" fmla="*/ 10 h 17"/>
                    <a:gd name="T40" fmla="*/ 1 w 8"/>
                    <a:gd name="T41" fmla="*/ 10 h 17"/>
                    <a:gd name="T42" fmla="*/ 0 w 8"/>
                    <a:gd name="T43" fmla="*/ 10 h 17"/>
                    <a:gd name="T44" fmla="*/ 0 w 8"/>
                    <a:gd name="T45" fmla="*/ 8 h 17"/>
                    <a:gd name="T46" fmla="*/ 1 w 8"/>
                    <a:gd name="T47" fmla="*/ 7 h 17"/>
                    <a:gd name="T48" fmla="*/ 3 w 8"/>
                    <a:gd name="T49" fmla="*/ 7 h 17"/>
                    <a:gd name="T50" fmla="*/ 1 w 8"/>
                    <a:gd name="T51" fmla="*/ 5 h 17"/>
                    <a:gd name="T52" fmla="*/ 1 w 8"/>
                    <a:gd name="T53" fmla="*/ 3 h 17"/>
                    <a:gd name="T54" fmla="*/ 1 w 8"/>
                    <a:gd name="T55" fmla="*/ 2 h 17"/>
                    <a:gd name="T56" fmla="*/ 3 w 8"/>
                    <a:gd name="T57" fmla="*/ 0 h 17"/>
                    <a:gd name="T58" fmla="*/ 5 w 8"/>
                    <a:gd name="T59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8" h="17">
                      <a:moveTo>
                        <a:pt x="5" y="0"/>
                      </a:move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3"/>
                      </a:lnTo>
                      <a:lnTo>
                        <a:pt x="6" y="5"/>
                      </a:lnTo>
                      <a:lnTo>
                        <a:pt x="8" y="5"/>
                      </a:lnTo>
                      <a:lnTo>
                        <a:pt x="8" y="7"/>
                      </a:lnTo>
                      <a:lnTo>
                        <a:pt x="8" y="8"/>
                      </a:lnTo>
                      <a:lnTo>
                        <a:pt x="6" y="8"/>
                      </a:lnTo>
                      <a:lnTo>
                        <a:pt x="6" y="10"/>
                      </a:lnTo>
                      <a:lnTo>
                        <a:pt x="8" y="10"/>
                      </a:lnTo>
                      <a:lnTo>
                        <a:pt x="6" y="12"/>
                      </a:lnTo>
                      <a:lnTo>
                        <a:pt x="6" y="14"/>
                      </a:lnTo>
                      <a:lnTo>
                        <a:pt x="6" y="15"/>
                      </a:lnTo>
                      <a:lnTo>
                        <a:pt x="5" y="17"/>
                      </a:lnTo>
                      <a:lnTo>
                        <a:pt x="3" y="17"/>
                      </a:lnTo>
                      <a:lnTo>
                        <a:pt x="5" y="15"/>
                      </a:lnTo>
                      <a:lnTo>
                        <a:pt x="5" y="12"/>
                      </a:lnTo>
                      <a:lnTo>
                        <a:pt x="5" y="10"/>
                      </a:lnTo>
                      <a:lnTo>
                        <a:pt x="3" y="10"/>
                      </a:lnTo>
                      <a:lnTo>
                        <a:pt x="1" y="10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1" y="7"/>
                      </a:lnTo>
                      <a:lnTo>
                        <a:pt x="3" y="7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3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2" name="Group 1701">
                <a:extLst>
                  <a:ext uri="{FF2B5EF4-FFF2-40B4-BE49-F238E27FC236}">
                    <a16:creationId xmlns:a16="http://schemas.microsoft.com/office/drawing/2014/main" id="{626CCC99-EF88-CF46-8BAF-FDE988EEA47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2" y="322"/>
                <a:ext cx="14" cy="15"/>
                <a:chOff x="52" y="322"/>
                <a:chExt cx="14" cy="15"/>
              </a:xfrm>
            </p:grpSpPr>
            <p:sp>
              <p:nvSpPr>
                <p:cNvPr id="1739" name="Freeform 113">
                  <a:extLst>
                    <a:ext uri="{FF2B5EF4-FFF2-40B4-BE49-F238E27FC236}">
                      <a16:creationId xmlns:a16="http://schemas.microsoft.com/office/drawing/2014/main" id="{BF42FF93-4530-1D4A-8455-C6BE71F7A3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" y="322"/>
                  <a:ext cx="14" cy="15"/>
                </a:xfrm>
                <a:custGeom>
                  <a:avLst/>
                  <a:gdLst>
                    <a:gd name="T0" fmla="*/ 12 w 14"/>
                    <a:gd name="T1" fmla="*/ 0 h 15"/>
                    <a:gd name="T2" fmla="*/ 12 w 14"/>
                    <a:gd name="T3" fmla="*/ 1 h 15"/>
                    <a:gd name="T4" fmla="*/ 12 w 14"/>
                    <a:gd name="T5" fmla="*/ 3 h 15"/>
                    <a:gd name="T6" fmla="*/ 12 w 14"/>
                    <a:gd name="T7" fmla="*/ 5 h 15"/>
                    <a:gd name="T8" fmla="*/ 14 w 14"/>
                    <a:gd name="T9" fmla="*/ 5 h 15"/>
                    <a:gd name="T10" fmla="*/ 12 w 14"/>
                    <a:gd name="T11" fmla="*/ 6 h 15"/>
                    <a:gd name="T12" fmla="*/ 11 w 14"/>
                    <a:gd name="T13" fmla="*/ 6 h 15"/>
                    <a:gd name="T14" fmla="*/ 9 w 14"/>
                    <a:gd name="T15" fmla="*/ 6 h 15"/>
                    <a:gd name="T16" fmla="*/ 9 w 14"/>
                    <a:gd name="T17" fmla="*/ 8 h 15"/>
                    <a:gd name="T18" fmla="*/ 11 w 14"/>
                    <a:gd name="T19" fmla="*/ 8 h 15"/>
                    <a:gd name="T20" fmla="*/ 11 w 14"/>
                    <a:gd name="T21" fmla="*/ 10 h 15"/>
                    <a:gd name="T22" fmla="*/ 9 w 14"/>
                    <a:gd name="T23" fmla="*/ 11 h 15"/>
                    <a:gd name="T24" fmla="*/ 5 w 14"/>
                    <a:gd name="T25" fmla="*/ 11 h 15"/>
                    <a:gd name="T26" fmla="*/ 5 w 14"/>
                    <a:gd name="T27" fmla="*/ 13 h 15"/>
                    <a:gd name="T28" fmla="*/ 4 w 14"/>
                    <a:gd name="T29" fmla="*/ 13 h 15"/>
                    <a:gd name="T30" fmla="*/ 4 w 14"/>
                    <a:gd name="T31" fmla="*/ 15 h 15"/>
                    <a:gd name="T32" fmla="*/ 2 w 14"/>
                    <a:gd name="T33" fmla="*/ 15 h 15"/>
                    <a:gd name="T34" fmla="*/ 0 w 14"/>
                    <a:gd name="T35" fmla="*/ 15 h 15"/>
                    <a:gd name="T36" fmla="*/ 0 w 14"/>
                    <a:gd name="T37" fmla="*/ 13 h 15"/>
                    <a:gd name="T38" fmla="*/ 2 w 14"/>
                    <a:gd name="T39" fmla="*/ 11 h 15"/>
                    <a:gd name="T40" fmla="*/ 0 w 14"/>
                    <a:gd name="T41" fmla="*/ 11 h 15"/>
                    <a:gd name="T42" fmla="*/ 0 w 14"/>
                    <a:gd name="T43" fmla="*/ 10 h 15"/>
                    <a:gd name="T44" fmla="*/ 0 w 14"/>
                    <a:gd name="T45" fmla="*/ 8 h 15"/>
                    <a:gd name="T46" fmla="*/ 0 w 14"/>
                    <a:gd name="T47" fmla="*/ 5 h 15"/>
                    <a:gd name="T48" fmla="*/ 2 w 14"/>
                    <a:gd name="T49" fmla="*/ 6 h 15"/>
                    <a:gd name="T50" fmla="*/ 5 w 14"/>
                    <a:gd name="T51" fmla="*/ 6 h 15"/>
                    <a:gd name="T52" fmla="*/ 4 w 14"/>
                    <a:gd name="T53" fmla="*/ 5 h 15"/>
                    <a:gd name="T54" fmla="*/ 4 w 14"/>
                    <a:gd name="T55" fmla="*/ 3 h 15"/>
                    <a:gd name="T56" fmla="*/ 5 w 14"/>
                    <a:gd name="T57" fmla="*/ 3 h 15"/>
                    <a:gd name="T58" fmla="*/ 9 w 14"/>
                    <a:gd name="T59" fmla="*/ 1 h 15"/>
                    <a:gd name="T60" fmla="*/ 11 w 14"/>
                    <a:gd name="T61" fmla="*/ 0 h 15"/>
                    <a:gd name="T62" fmla="*/ 12 w 14"/>
                    <a:gd name="T6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4" h="15">
                      <a:moveTo>
                        <a:pt x="12" y="0"/>
                      </a:moveTo>
                      <a:lnTo>
                        <a:pt x="12" y="1"/>
                      </a:lnTo>
                      <a:lnTo>
                        <a:pt x="12" y="3"/>
                      </a:lnTo>
                      <a:lnTo>
                        <a:pt x="12" y="5"/>
                      </a:lnTo>
                      <a:lnTo>
                        <a:pt x="14" y="5"/>
                      </a:lnTo>
                      <a:lnTo>
                        <a:pt x="12" y="6"/>
                      </a:lnTo>
                      <a:lnTo>
                        <a:pt x="11" y="6"/>
                      </a:lnTo>
                      <a:lnTo>
                        <a:pt x="9" y="6"/>
                      </a:lnTo>
                      <a:lnTo>
                        <a:pt x="9" y="8"/>
                      </a:lnTo>
                      <a:lnTo>
                        <a:pt x="11" y="8"/>
                      </a:lnTo>
                      <a:lnTo>
                        <a:pt x="11" y="10"/>
                      </a:lnTo>
                      <a:lnTo>
                        <a:pt x="9" y="11"/>
                      </a:lnTo>
                      <a:lnTo>
                        <a:pt x="5" y="11"/>
                      </a:lnTo>
                      <a:lnTo>
                        <a:pt x="5" y="13"/>
                      </a:lnTo>
                      <a:lnTo>
                        <a:pt x="4" y="13"/>
                      </a:lnTo>
                      <a:lnTo>
                        <a:pt x="4" y="15"/>
                      </a:lnTo>
                      <a:lnTo>
                        <a:pt x="2" y="15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2" y="11"/>
                      </a:lnTo>
                      <a:lnTo>
                        <a:pt x="0" y="11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2" y="6"/>
                      </a:lnTo>
                      <a:lnTo>
                        <a:pt x="5" y="6"/>
                      </a:lnTo>
                      <a:lnTo>
                        <a:pt x="4" y="5"/>
                      </a:lnTo>
                      <a:lnTo>
                        <a:pt x="4" y="3"/>
                      </a:lnTo>
                      <a:lnTo>
                        <a:pt x="5" y="3"/>
                      </a:lnTo>
                      <a:lnTo>
                        <a:pt x="9" y="1"/>
                      </a:lnTo>
                      <a:lnTo>
                        <a:pt x="11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0" name="Freeform 114">
                  <a:extLst>
                    <a:ext uri="{FF2B5EF4-FFF2-40B4-BE49-F238E27FC236}">
                      <a16:creationId xmlns:a16="http://schemas.microsoft.com/office/drawing/2014/main" id="{80B495D8-478D-5849-8078-D456AA7D19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" y="322"/>
                  <a:ext cx="14" cy="15"/>
                </a:xfrm>
                <a:custGeom>
                  <a:avLst/>
                  <a:gdLst>
                    <a:gd name="T0" fmla="*/ 12 w 14"/>
                    <a:gd name="T1" fmla="*/ 0 h 15"/>
                    <a:gd name="T2" fmla="*/ 12 w 14"/>
                    <a:gd name="T3" fmla="*/ 1 h 15"/>
                    <a:gd name="T4" fmla="*/ 12 w 14"/>
                    <a:gd name="T5" fmla="*/ 3 h 15"/>
                    <a:gd name="T6" fmla="*/ 12 w 14"/>
                    <a:gd name="T7" fmla="*/ 5 h 15"/>
                    <a:gd name="T8" fmla="*/ 14 w 14"/>
                    <a:gd name="T9" fmla="*/ 5 h 15"/>
                    <a:gd name="T10" fmla="*/ 12 w 14"/>
                    <a:gd name="T11" fmla="*/ 6 h 15"/>
                    <a:gd name="T12" fmla="*/ 11 w 14"/>
                    <a:gd name="T13" fmla="*/ 6 h 15"/>
                    <a:gd name="T14" fmla="*/ 9 w 14"/>
                    <a:gd name="T15" fmla="*/ 6 h 15"/>
                    <a:gd name="T16" fmla="*/ 9 w 14"/>
                    <a:gd name="T17" fmla="*/ 8 h 15"/>
                    <a:gd name="T18" fmla="*/ 11 w 14"/>
                    <a:gd name="T19" fmla="*/ 8 h 15"/>
                    <a:gd name="T20" fmla="*/ 11 w 14"/>
                    <a:gd name="T21" fmla="*/ 10 h 15"/>
                    <a:gd name="T22" fmla="*/ 9 w 14"/>
                    <a:gd name="T23" fmla="*/ 11 h 15"/>
                    <a:gd name="T24" fmla="*/ 5 w 14"/>
                    <a:gd name="T25" fmla="*/ 11 h 15"/>
                    <a:gd name="T26" fmla="*/ 5 w 14"/>
                    <a:gd name="T27" fmla="*/ 13 h 15"/>
                    <a:gd name="T28" fmla="*/ 4 w 14"/>
                    <a:gd name="T29" fmla="*/ 13 h 15"/>
                    <a:gd name="T30" fmla="*/ 4 w 14"/>
                    <a:gd name="T31" fmla="*/ 15 h 15"/>
                    <a:gd name="T32" fmla="*/ 2 w 14"/>
                    <a:gd name="T33" fmla="*/ 15 h 15"/>
                    <a:gd name="T34" fmla="*/ 0 w 14"/>
                    <a:gd name="T35" fmla="*/ 15 h 15"/>
                    <a:gd name="T36" fmla="*/ 0 w 14"/>
                    <a:gd name="T37" fmla="*/ 13 h 15"/>
                    <a:gd name="T38" fmla="*/ 2 w 14"/>
                    <a:gd name="T39" fmla="*/ 11 h 15"/>
                    <a:gd name="T40" fmla="*/ 0 w 14"/>
                    <a:gd name="T41" fmla="*/ 11 h 15"/>
                    <a:gd name="T42" fmla="*/ 0 w 14"/>
                    <a:gd name="T43" fmla="*/ 10 h 15"/>
                    <a:gd name="T44" fmla="*/ 0 w 14"/>
                    <a:gd name="T45" fmla="*/ 8 h 15"/>
                    <a:gd name="T46" fmla="*/ 0 w 14"/>
                    <a:gd name="T47" fmla="*/ 5 h 15"/>
                    <a:gd name="T48" fmla="*/ 2 w 14"/>
                    <a:gd name="T49" fmla="*/ 6 h 15"/>
                    <a:gd name="T50" fmla="*/ 5 w 14"/>
                    <a:gd name="T51" fmla="*/ 6 h 15"/>
                    <a:gd name="T52" fmla="*/ 4 w 14"/>
                    <a:gd name="T53" fmla="*/ 5 h 15"/>
                    <a:gd name="T54" fmla="*/ 4 w 14"/>
                    <a:gd name="T55" fmla="*/ 3 h 15"/>
                    <a:gd name="T56" fmla="*/ 5 w 14"/>
                    <a:gd name="T57" fmla="*/ 3 h 15"/>
                    <a:gd name="T58" fmla="*/ 9 w 14"/>
                    <a:gd name="T59" fmla="*/ 1 h 15"/>
                    <a:gd name="T60" fmla="*/ 11 w 14"/>
                    <a:gd name="T61" fmla="*/ 0 h 15"/>
                    <a:gd name="T62" fmla="*/ 12 w 14"/>
                    <a:gd name="T6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4" h="15">
                      <a:moveTo>
                        <a:pt x="12" y="0"/>
                      </a:moveTo>
                      <a:lnTo>
                        <a:pt x="12" y="1"/>
                      </a:lnTo>
                      <a:lnTo>
                        <a:pt x="12" y="3"/>
                      </a:lnTo>
                      <a:lnTo>
                        <a:pt x="12" y="5"/>
                      </a:lnTo>
                      <a:lnTo>
                        <a:pt x="14" y="5"/>
                      </a:lnTo>
                      <a:lnTo>
                        <a:pt x="12" y="6"/>
                      </a:lnTo>
                      <a:lnTo>
                        <a:pt x="11" y="6"/>
                      </a:lnTo>
                      <a:lnTo>
                        <a:pt x="9" y="6"/>
                      </a:lnTo>
                      <a:lnTo>
                        <a:pt x="9" y="8"/>
                      </a:lnTo>
                      <a:lnTo>
                        <a:pt x="11" y="8"/>
                      </a:lnTo>
                      <a:lnTo>
                        <a:pt x="11" y="10"/>
                      </a:lnTo>
                      <a:lnTo>
                        <a:pt x="9" y="11"/>
                      </a:lnTo>
                      <a:lnTo>
                        <a:pt x="5" y="11"/>
                      </a:lnTo>
                      <a:lnTo>
                        <a:pt x="5" y="13"/>
                      </a:lnTo>
                      <a:lnTo>
                        <a:pt x="4" y="13"/>
                      </a:lnTo>
                      <a:lnTo>
                        <a:pt x="4" y="15"/>
                      </a:lnTo>
                      <a:lnTo>
                        <a:pt x="2" y="15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2" y="11"/>
                      </a:lnTo>
                      <a:lnTo>
                        <a:pt x="0" y="11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2" y="6"/>
                      </a:lnTo>
                      <a:lnTo>
                        <a:pt x="5" y="6"/>
                      </a:lnTo>
                      <a:lnTo>
                        <a:pt x="4" y="5"/>
                      </a:lnTo>
                      <a:lnTo>
                        <a:pt x="4" y="3"/>
                      </a:lnTo>
                      <a:lnTo>
                        <a:pt x="5" y="3"/>
                      </a:lnTo>
                      <a:lnTo>
                        <a:pt x="9" y="1"/>
                      </a:lnTo>
                      <a:lnTo>
                        <a:pt x="11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3" name="Group 1702">
                <a:extLst>
                  <a:ext uri="{FF2B5EF4-FFF2-40B4-BE49-F238E27FC236}">
                    <a16:creationId xmlns:a16="http://schemas.microsoft.com/office/drawing/2014/main" id="{A4CAF981-59AE-224A-BC09-9F4757A4682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6" y="340"/>
                <a:ext cx="6" cy="2"/>
                <a:chOff x="46" y="340"/>
                <a:chExt cx="6" cy="2"/>
              </a:xfrm>
            </p:grpSpPr>
            <p:sp>
              <p:nvSpPr>
                <p:cNvPr id="1737" name="Freeform 111">
                  <a:extLst>
                    <a:ext uri="{FF2B5EF4-FFF2-40B4-BE49-F238E27FC236}">
                      <a16:creationId xmlns:a16="http://schemas.microsoft.com/office/drawing/2014/main" id="{4D104CAB-2963-9943-87A7-D6E2CC8BB1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" y="340"/>
                  <a:ext cx="6" cy="2"/>
                </a:xfrm>
                <a:custGeom>
                  <a:avLst/>
                  <a:gdLst>
                    <a:gd name="T0" fmla="*/ 5 w 6"/>
                    <a:gd name="T1" fmla="*/ 2 h 2"/>
                    <a:gd name="T2" fmla="*/ 3 w 6"/>
                    <a:gd name="T3" fmla="*/ 2 h 2"/>
                    <a:gd name="T4" fmla="*/ 1 w 6"/>
                    <a:gd name="T5" fmla="*/ 2 h 2"/>
                    <a:gd name="T6" fmla="*/ 0 w 6"/>
                    <a:gd name="T7" fmla="*/ 2 h 2"/>
                    <a:gd name="T8" fmla="*/ 0 w 6"/>
                    <a:gd name="T9" fmla="*/ 0 h 2"/>
                    <a:gd name="T10" fmla="*/ 1 w 6"/>
                    <a:gd name="T11" fmla="*/ 0 h 2"/>
                    <a:gd name="T12" fmla="*/ 5 w 6"/>
                    <a:gd name="T13" fmla="*/ 0 h 2"/>
                    <a:gd name="T14" fmla="*/ 6 w 6"/>
                    <a:gd name="T15" fmla="*/ 0 h 2"/>
                    <a:gd name="T16" fmla="*/ 5 w 6"/>
                    <a:gd name="T17" fmla="*/ 0 h 2"/>
                    <a:gd name="T18" fmla="*/ 5 w 6"/>
                    <a:gd name="T1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2">
                      <a:moveTo>
                        <a:pt x="5" y="2"/>
                      </a:move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8" name="Freeform 112">
                  <a:extLst>
                    <a:ext uri="{FF2B5EF4-FFF2-40B4-BE49-F238E27FC236}">
                      <a16:creationId xmlns:a16="http://schemas.microsoft.com/office/drawing/2014/main" id="{B56AF683-33B4-0445-A1C2-9E682E173F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" y="340"/>
                  <a:ext cx="6" cy="2"/>
                </a:xfrm>
                <a:custGeom>
                  <a:avLst/>
                  <a:gdLst>
                    <a:gd name="T0" fmla="*/ 5 w 6"/>
                    <a:gd name="T1" fmla="*/ 2 h 2"/>
                    <a:gd name="T2" fmla="*/ 3 w 6"/>
                    <a:gd name="T3" fmla="*/ 2 h 2"/>
                    <a:gd name="T4" fmla="*/ 1 w 6"/>
                    <a:gd name="T5" fmla="*/ 2 h 2"/>
                    <a:gd name="T6" fmla="*/ 0 w 6"/>
                    <a:gd name="T7" fmla="*/ 2 h 2"/>
                    <a:gd name="T8" fmla="*/ 0 w 6"/>
                    <a:gd name="T9" fmla="*/ 0 h 2"/>
                    <a:gd name="T10" fmla="*/ 1 w 6"/>
                    <a:gd name="T11" fmla="*/ 0 h 2"/>
                    <a:gd name="T12" fmla="*/ 5 w 6"/>
                    <a:gd name="T13" fmla="*/ 0 h 2"/>
                    <a:gd name="T14" fmla="*/ 6 w 6"/>
                    <a:gd name="T15" fmla="*/ 0 h 2"/>
                    <a:gd name="T16" fmla="*/ 5 w 6"/>
                    <a:gd name="T17" fmla="*/ 0 h 2"/>
                    <a:gd name="T18" fmla="*/ 5 w 6"/>
                    <a:gd name="T1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2">
                      <a:moveTo>
                        <a:pt x="5" y="2"/>
                      </a:move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4" name="Group 1703">
                <a:extLst>
                  <a:ext uri="{FF2B5EF4-FFF2-40B4-BE49-F238E27FC236}">
                    <a16:creationId xmlns:a16="http://schemas.microsoft.com/office/drawing/2014/main" id="{A26CBA0B-74F2-BA46-8963-93897E7618A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10" y="305"/>
                <a:ext cx="10" cy="5"/>
                <a:chOff x="110" y="305"/>
                <a:chExt cx="10" cy="5"/>
              </a:xfrm>
            </p:grpSpPr>
            <p:sp>
              <p:nvSpPr>
                <p:cNvPr id="1735" name="Freeform 109">
                  <a:extLst>
                    <a:ext uri="{FF2B5EF4-FFF2-40B4-BE49-F238E27FC236}">
                      <a16:creationId xmlns:a16="http://schemas.microsoft.com/office/drawing/2014/main" id="{D52A5F34-D9A6-3F43-93C1-DF8AD8EC3B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" y="305"/>
                  <a:ext cx="10" cy="5"/>
                </a:xfrm>
                <a:custGeom>
                  <a:avLst/>
                  <a:gdLst>
                    <a:gd name="T0" fmla="*/ 8 w 10"/>
                    <a:gd name="T1" fmla="*/ 5 h 5"/>
                    <a:gd name="T2" fmla="*/ 6 w 10"/>
                    <a:gd name="T3" fmla="*/ 5 h 5"/>
                    <a:gd name="T4" fmla="*/ 5 w 10"/>
                    <a:gd name="T5" fmla="*/ 5 h 5"/>
                    <a:gd name="T6" fmla="*/ 1 w 10"/>
                    <a:gd name="T7" fmla="*/ 5 h 5"/>
                    <a:gd name="T8" fmla="*/ 0 w 10"/>
                    <a:gd name="T9" fmla="*/ 5 h 5"/>
                    <a:gd name="T10" fmla="*/ 0 w 10"/>
                    <a:gd name="T11" fmla="*/ 3 h 5"/>
                    <a:gd name="T12" fmla="*/ 1 w 10"/>
                    <a:gd name="T13" fmla="*/ 0 h 5"/>
                    <a:gd name="T14" fmla="*/ 3 w 10"/>
                    <a:gd name="T15" fmla="*/ 1 h 5"/>
                    <a:gd name="T16" fmla="*/ 5 w 10"/>
                    <a:gd name="T17" fmla="*/ 3 h 5"/>
                    <a:gd name="T18" fmla="*/ 6 w 10"/>
                    <a:gd name="T19" fmla="*/ 3 h 5"/>
                    <a:gd name="T20" fmla="*/ 8 w 10"/>
                    <a:gd name="T21" fmla="*/ 5 h 5"/>
                    <a:gd name="T22" fmla="*/ 10 w 10"/>
                    <a:gd name="T23" fmla="*/ 5 h 5"/>
                    <a:gd name="T24" fmla="*/ 8 w 10"/>
                    <a:gd name="T2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0" h="5">
                      <a:moveTo>
                        <a:pt x="8" y="5"/>
                      </a:moveTo>
                      <a:lnTo>
                        <a:pt x="6" y="5"/>
                      </a:lnTo>
                      <a:lnTo>
                        <a:pt x="5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5" y="3"/>
                      </a:lnTo>
                      <a:lnTo>
                        <a:pt x="6" y="3"/>
                      </a:lnTo>
                      <a:lnTo>
                        <a:pt x="8" y="5"/>
                      </a:lnTo>
                      <a:lnTo>
                        <a:pt x="10" y="5"/>
                      </a:lnTo>
                      <a:lnTo>
                        <a:pt x="8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6" name="Freeform 110">
                  <a:extLst>
                    <a:ext uri="{FF2B5EF4-FFF2-40B4-BE49-F238E27FC236}">
                      <a16:creationId xmlns:a16="http://schemas.microsoft.com/office/drawing/2014/main" id="{13847469-BFEF-1343-8C12-99F258E10B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" y="305"/>
                  <a:ext cx="10" cy="5"/>
                </a:xfrm>
                <a:custGeom>
                  <a:avLst/>
                  <a:gdLst>
                    <a:gd name="T0" fmla="*/ 8 w 10"/>
                    <a:gd name="T1" fmla="*/ 5 h 5"/>
                    <a:gd name="T2" fmla="*/ 6 w 10"/>
                    <a:gd name="T3" fmla="*/ 5 h 5"/>
                    <a:gd name="T4" fmla="*/ 5 w 10"/>
                    <a:gd name="T5" fmla="*/ 5 h 5"/>
                    <a:gd name="T6" fmla="*/ 1 w 10"/>
                    <a:gd name="T7" fmla="*/ 5 h 5"/>
                    <a:gd name="T8" fmla="*/ 0 w 10"/>
                    <a:gd name="T9" fmla="*/ 5 h 5"/>
                    <a:gd name="T10" fmla="*/ 0 w 10"/>
                    <a:gd name="T11" fmla="*/ 3 h 5"/>
                    <a:gd name="T12" fmla="*/ 1 w 10"/>
                    <a:gd name="T13" fmla="*/ 0 h 5"/>
                    <a:gd name="T14" fmla="*/ 3 w 10"/>
                    <a:gd name="T15" fmla="*/ 1 h 5"/>
                    <a:gd name="T16" fmla="*/ 5 w 10"/>
                    <a:gd name="T17" fmla="*/ 3 h 5"/>
                    <a:gd name="T18" fmla="*/ 6 w 10"/>
                    <a:gd name="T19" fmla="*/ 3 h 5"/>
                    <a:gd name="T20" fmla="*/ 8 w 10"/>
                    <a:gd name="T21" fmla="*/ 5 h 5"/>
                    <a:gd name="T22" fmla="*/ 10 w 10"/>
                    <a:gd name="T23" fmla="*/ 5 h 5"/>
                    <a:gd name="T24" fmla="*/ 8 w 10"/>
                    <a:gd name="T2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0" h="5">
                      <a:moveTo>
                        <a:pt x="8" y="5"/>
                      </a:moveTo>
                      <a:lnTo>
                        <a:pt x="6" y="5"/>
                      </a:lnTo>
                      <a:lnTo>
                        <a:pt x="5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5" y="3"/>
                      </a:lnTo>
                      <a:lnTo>
                        <a:pt x="6" y="3"/>
                      </a:lnTo>
                      <a:lnTo>
                        <a:pt x="8" y="5"/>
                      </a:lnTo>
                      <a:lnTo>
                        <a:pt x="10" y="5"/>
                      </a:lnTo>
                      <a:lnTo>
                        <a:pt x="8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5" name="Group 1704">
                <a:extLst>
                  <a:ext uri="{FF2B5EF4-FFF2-40B4-BE49-F238E27FC236}">
                    <a16:creationId xmlns:a16="http://schemas.microsoft.com/office/drawing/2014/main" id="{C4B9B56E-6934-6B44-9973-603E06403B2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10" y="311"/>
                <a:ext cx="3" cy="2"/>
                <a:chOff x="110" y="311"/>
                <a:chExt cx="3" cy="2"/>
              </a:xfrm>
            </p:grpSpPr>
            <p:sp>
              <p:nvSpPr>
                <p:cNvPr id="1733" name="Freeform 107">
                  <a:extLst>
                    <a:ext uri="{FF2B5EF4-FFF2-40B4-BE49-F238E27FC236}">
                      <a16:creationId xmlns:a16="http://schemas.microsoft.com/office/drawing/2014/main" id="{4DDE2AF3-8C3E-C640-8CDB-15003B64A6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" y="311"/>
                  <a:ext cx="3" cy="2"/>
                </a:xfrm>
                <a:custGeom>
                  <a:avLst/>
                  <a:gdLst>
                    <a:gd name="T0" fmla="*/ 1 w 3"/>
                    <a:gd name="T1" fmla="*/ 2 h 2"/>
                    <a:gd name="T2" fmla="*/ 0 w 3"/>
                    <a:gd name="T3" fmla="*/ 2 h 2"/>
                    <a:gd name="T4" fmla="*/ 0 w 3"/>
                    <a:gd name="T5" fmla="*/ 0 h 2"/>
                    <a:gd name="T6" fmla="*/ 1 w 3"/>
                    <a:gd name="T7" fmla="*/ 0 h 2"/>
                    <a:gd name="T8" fmla="*/ 3 w 3"/>
                    <a:gd name="T9" fmla="*/ 0 h 2"/>
                    <a:gd name="T10" fmla="*/ 3 w 3"/>
                    <a:gd name="T11" fmla="*/ 2 h 2"/>
                    <a:gd name="T12" fmla="*/ 1 w 3"/>
                    <a:gd name="T1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2">
                      <a:moveTo>
                        <a:pt x="1" y="2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4" name="Freeform 108">
                  <a:extLst>
                    <a:ext uri="{FF2B5EF4-FFF2-40B4-BE49-F238E27FC236}">
                      <a16:creationId xmlns:a16="http://schemas.microsoft.com/office/drawing/2014/main" id="{5BB4A919-9D36-6647-B852-129D597074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" y="311"/>
                  <a:ext cx="3" cy="2"/>
                </a:xfrm>
                <a:custGeom>
                  <a:avLst/>
                  <a:gdLst>
                    <a:gd name="T0" fmla="*/ 1 w 3"/>
                    <a:gd name="T1" fmla="*/ 2 h 2"/>
                    <a:gd name="T2" fmla="*/ 0 w 3"/>
                    <a:gd name="T3" fmla="*/ 2 h 2"/>
                    <a:gd name="T4" fmla="*/ 0 w 3"/>
                    <a:gd name="T5" fmla="*/ 0 h 2"/>
                    <a:gd name="T6" fmla="*/ 1 w 3"/>
                    <a:gd name="T7" fmla="*/ 0 h 2"/>
                    <a:gd name="T8" fmla="*/ 3 w 3"/>
                    <a:gd name="T9" fmla="*/ 0 h 2"/>
                    <a:gd name="T10" fmla="*/ 3 w 3"/>
                    <a:gd name="T11" fmla="*/ 2 h 2"/>
                    <a:gd name="T12" fmla="*/ 1 w 3"/>
                    <a:gd name="T1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2">
                      <a:moveTo>
                        <a:pt x="1" y="2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6" name="Group 1705">
                <a:extLst>
                  <a:ext uri="{FF2B5EF4-FFF2-40B4-BE49-F238E27FC236}">
                    <a16:creationId xmlns:a16="http://schemas.microsoft.com/office/drawing/2014/main" id="{DBD21EE2-7C3C-C848-ADDE-464F4251765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8" y="318"/>
                <a:ext cx="121" cy="186"/>
                <a:chOff x="68" y="318"/>
                <a:chExt cx="121" cy="186"/>
              </a:xfrm>
            </p:grpSpPr>
            <p:sp>
              <p:nvSpPr>
                <p:cNvPr id="1731" name="Freeform 105">
                  <a:extLst>
                    <a:ext uri="{FF2B5EF4-FFF2-40B4-BE49-F238E27FC236}">
                      <a16:creationId xmlns:a16="http://schemas.microsoft.com/office/drawing/2014/main" id="{FA034239-28B2-0B48-B315-15FAB45029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" y="318"/>
                  <a:ext cx="121" cy="186"/>
                </a:xfrm>
                <a:custGeom>
                  <a:avLst/>
                  <a:gdLst>
                    <a:gd name="T0" fmla="*/ 16 w 121"/>
                    <a:gd name="T1" fmla="*/ 2 h 186"/>
                    <a:gd name="T2" fmla="*/ 32 w 121"/>
                    <a:gd name="T3" fmla="*/ 2 h 186"/>
                    <a:gd name="T4" fmla="*/ 45 w 121"/>
                    <a:gd name="T5" fmla="*/ 5 h 186"/>
                    <a:gd name="T6" fmla="*/ 33 w 121"/>
                    <a:gd name="T7" fmla="*/ 19 h 186"/>
                    <a:gd name="T8" fmla="*/ 32 w 121"/>
                    <a:gd name="T9" fmla="*/ 24 h 186"/>
                    <a:gd name="T10" fmla="*/ 55 w 121"/>
                    <a:gd name="T11" fmla="*/ 22 h 186"/>
                    <a:gd name="T12" fmla="*/ 64 w 121"/>
                    <a:gd name="T13" fmla="*/ 29 h 186"/>
                    <a:gd name="T14" fmla="*/ 59 w 121"/>
                    <a:gd name="T15" fmla="*/ 41 h 186"/>
                    <a:gd name="T16" fmla="*/ 48 w 121"/>
                    <a:gd name="T17" fmla="*/ 49 h 186"/>
                    <a:gd name="T18" fmla="*/ 43 w 121"/>
                    <a:gd name="T19" fmla="*/ 56 h 186"/>
                    <a:gd name="T20" fmla="*/ 54 w 121"/>
                    <a:gd name="T21" fmla="*/ 58 h 186"/>
                    <a:gd name="T22" fmla="*/ 70 w 121"/>
                    <a:gd name="T23" fmla="*/ 71 h 186"/>
                    <a:gd name="T24" fmla="*/ 77 w 121"/>
                    <a:gd name="T25" fmla="*/ 88 h 186"/>
                    <a:gd name="T26" fmla="*/ 92 w 121"/>
                    <a:gd name="T27" fmla="*/ 103 h 186"/>
                    <a:gd name="T28" fmla="*/ 91 w 121"/>
                    <a:gd name="T29" fmla="*/ 108 h 186"/>
                    <a:gd name="T30" fmla="*/ 99 w 121"/>
                    <a:gd name="T31" fmla="*/ 117 h 186"/>
                    <a:gd name="T32" fmla="*/ 96 w 121"/>
                    <a:gd name="T33" fmla="*/ 127 h 186"/>
                    <a:gd name="T34" fmla="*/ 109 w 121"/>
                    <a:gd name="T35" fmla="*/ 123 h 186"/>
                    <a:gd name="T36" fmla="*/ 119 w 121"/>
                    <a:gd name="T37" fmla="*/ 142 h 186"/>
                    <a:gd name="T38" fmla="*/ 107 w 121"/>
                    <a:gd name="T39" fmla="*/ 149 h 186"/>
                    <a:gd name="T40" fmla="*/ 106 w 121"/>
                    <a:gd name="T41" fmla="*/ 155 h 186"/>
                    <a:gd name="T42" fmla="*/ 109 w 121"/>
                    <a:gd name="T43" fmla="*/ 165 h 186"/>
                    <a:gd name="T44" fmla="*/ 84 w 121"/>
                    <a:gd name="T45" fmla="*/ 171 h 186"/>
                    <a:gd name="T46" fmla="*/ 74 w 121"/>
                    <a:gd name="T47" fmla="*/ 169 h 186"/>
                    <a:gd name="T48" fmla="*/ 59 w 121"/>
                    <a:gd name="T49" fmla="*/ 172 h 186"/>
                    <a:gd name="T50" fmla="*/ 43 w 121"/>
                    <a:gd name="T51" fmla="*/ 172 h 186"/>
                    <a:gd name="T52" fmla="*/ 33 w 121"/>
                    <a:gd name="T53" fmla="*/ 179 h 186"/>
                    <a:gd name="T54" fmla="*/ 20 w 121"/>
                    <a:gd name="T55" fmla="*/ 181 h 186"/>
                    <a:gd name="T56" fmla="*/ 6 w 121"/>
                    <a:gd name="T57" fmla="*/ 186 h 186"/>
                    <a:gd name="T58" fmla="*/ 20 w 121"/>
                    <a:gd name="T59" fmla="*/ 172 h 186"/>
                    <a:gd name="T60" fmla="*/ 43 w 121"/>
                    <a:gd name="T61" fmla="*/ 160 h 186"/>
                    <a:gd name="T62" fmla="*/ 54 w 121"/>
                    <a:gd name="T63" fmla="*/ 150 h 186"/>
                    <a:gd name="T64" fmla="*/ 40 w 121"/>
                    <a:gd name="T65" fmla="*/ 157 h 186"/>
                    <a:gd name="T66" fmla="*/ 28 w 121"/>
                    <a:gd name="T67" fmla="*/ 154 h 186"/>
                    <a:gd name="T68" fmla="*/ 18 w 121"/>
                    <a:gd name="T69" fmla="*/ 152 h 186"/>
                    <a:gd name="T70" fmla="*/ 18 w 121"/>
                    <a:gd name="T71" fmla="*/ 145 h 186"/>
                    <a:gd name="T72" fmla="*/ 32 w 121"/>
                    <a:gd name="T73" fmla="*/ 132 h 186"/>
                    <a:gd name="T74" fmla="*/ 21 w 121"/>
                    <a:gd name="T75" fmla="*/ 127 h 186"/>
                    <a:gd name="T76" fmla="*/ 47 w 121"/>
                    <a:gd name="T77" fmla="*/ 117 h 186"/>
                    <a:gd name="T78" fmla="*/ 48 w 121"/>
                    <a:gd name="T79" fmla="*/ 106 h 186"/>
                    <a:gd name="T80" fmla="*/ 50 w 121"/>
                    <a:gd name="T81" fmla="*/ 96 h 186"/>
                    <a:gd name="T82" fmla="*/ 42 w 121"/>
                    <a:gd name="T83" fmla="*/ 98 h 186"/>
                    <a:gd name="T84" fmla="*/ 40 w 121"/>
                    <a:gd name="T85" fmla="*/ 86 h 186"/>
                    <a:gd name="T86" fmla="*/ 40 w 121"/>
                    <a:gd name="T87" fmla="*/ 81 h 186"/>
                    <a:gd name="T88" fmla="*/ 28 w 121"/>
                    <a:gd name="T89" fmla="*/ 85 h 186"/>
                    <a:gd name="T90" fmla="*/ 18 w 121"/>
                    <a:gd name="T91" fmla="*/ 88 h 186"/>
                    <a:gd name="T92" fmla="*/ 16 w 121"/>
                    <a:gd name="T93" fmla="*/ 78 h 186"/>
                    <a:gd name="T94" fmla="*/ 18 w 121"/>
                    <a:gd name="T95" fmla="*/ 64 h 186"/>
                    <a:gd name="T96" fmla="*/ 16 w 121"/>
                    <a:gd name="T97" fmla="*/ 58 h 186"/>
                    <a:gd name="T98" fmla="*/ 11 w 121"/>
                    <a:gd name="T99" fmla="*/ 59 h 186"/>
                    <a:gd name="T100" fmla="*/ 10 w 121"/>
                    <a:gd name="T101" fmla="*/ 58 h 186"/>
                    <a:gd name="T102" fmla="*/ 8 w 121"/>
                    <a:gd name="T103" fmla="*/ 69 h 186"/>
                    <a:gd name="T104" fmla="*/ 6 w 121"/>
                    <a:gd name="T105" fmla="*/ 68 h 186"/>
                    <a:gd name="T106" fmla="*/ 6 w 121"/>
                    <a:gd name="T107" fmla="*/ 58 h 186"/>
                    <a:gd name="T108" fmla="*/ 11 w 121"/>
                    <a:gd name="T109" fmla="*/ 46 h 186"/>
                    <a:gd name="T110" fmla="*/ 3 w 121"/>
                    <a:gd name="T111" fmla="*/ 47 h 186"/>
                    <a:gd name="T112" fmla="*/ 3 w 121"/>
                    <a:gd name="T113" fmla="*/ 41 h 186"/>
                    <a:gd name="T114" fmla="*/ 8 w 121"/>
                    <a:gd name="T115" fmla="*/ 29 h 186"/>
                    <a:gd name="T116" fmla="*/ 3 w 121"/>
                    <a:gd name="T117" fmla="*/ 26 h 186"/>
                    <a:gd name="T118" fmla="*/ 6 w 121"/>
                    <a:gd name="T119" fmla="*/ 19 h 186"/>
                    <a:gd name="T120" fmla="*/ 10 w 121"/>
                    <a:gd name="T121" fmla="*/ 14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21" h="186">
                      <a:moveTo>
                        <a:pt x="11" y="9"/>
                      </a:moveTo>
                      <a:lnTo>
                        <a:pt x="13" y="9"/>
                      </a:lnTo>
                      <a:lnTo>
                        <a:pt x="15" y="9"/>
                      </a:lnTo>
                      <a:lnTo>
                        <a:pt x="15" y="7"/>
                      </a:lnTo>
                      <a:lnTo>
                        <a:pt x="15" y="5"/>
                      </a:lnTo>
                      <a:lnTo>
                        <a:pt x="15" y="4"/>
                      </a:lnTo>
                      <a:lnTo>
                        <a:pt x="16" y="2"/>
                      </a:lnTo>
                      <a:lnTo>
                        <a:pt x="20" y="2"/>
                      </a:lnTo>
                      <a:lnTo>
                        <a:pt x="20" y="0"/>
                      </a:lnTo>
                      <a:lnTo>
                        <a:pt x="21" y="2"/>
                      </a:lnTo>
                      <a:lnTo>
                        <a:pt x="23" y="2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32" y="2"/>
                      </a:lnTo>
                      <a:lnTo>
                        <a:pt x="33" y="2"/>
                      </a:lnTo>
                      <a:lnTo>
                        <a:pt x="38" y="0"/>
                      </a:lnTo>
                      <a:lnTo>
                        <a:pt x="40" y="0"/>
                      </a:lnTo>
                      <a:lnTo>
                        <a:pt x="42" y="0"/>
                      </a:lnTo>
                      <a:lnTo>
                        <a:pt x="45" y="0"/>
                      </a:lnTo>
                      <a:lnTo>
                        <a:pt x="45" y="4"/>
                      </a:lnTo>
                      <a:lnTo>
                        <a:pt x="45" y="5"/>
                      </a:lnTo>
                      <a:lnTo>
                        <a:pt x="40" y="9"/>
                      </a:lnTo>
                      <a:lnTo>
                        <a:pt x="38" y="10"/>
                      </a:lnTo>
                      <a:lnTo>
                        <a:pt x="33" y="14"/>
                      </a:lnTo>
                      <a:lnTo>
                        <a:pt x="30" y="17"/>
                      </a:lnTo>
                      <a:lnTo>
                        <a:pt x="30" y="15"/>
                      </a:lnTo>
                      <a:lnTo>
                        <a:pt x="30" y="19"/>
                      </a:lnTo>
                      <a:lnTo>
                        <a:pt x="33" y="19"/>
                      </a:lnTo>
                      <a:lnTo>
                        <a:pt x="32" y="20"/>
                      </a:lnTo>
                      <a:lnTo>
                        <a:pt x="27" y="20"/>
                      </a:lnTo>
                      <a:lnTo>
                        <a:pt x="27" y="22"/>
                      </a:lnTo>
                      <a:lnTo>
                        <a:pt x="30" y="22"/>
                      </a:lnTo>
                      <a:lnTo>
                        <a:pt x="30" y="24"/>
                      </a:lnTo>
                      <a:lnTo>
                        <a:pt x="30" y="26"/>
                      </a:lnTo>
                      <a:lnTo>
                        <a:pt x="32" y="24"/>
                      </a:lnTo>
                      <a:lnTo>
                        <a:pt x="35" y="22"/>
                      </a:lnTo>
                      <a:lnTo>
                        <a:pt x="40" y="20"/>
                      </a:lnTo>
                      <a:lnTo>
                        <a:pt x="43" y="20"/>
                      </a:lnTo>
                      <a:lnTo>
                        <a:pt x="47" y="22"/>
                      </a:lnTo>
                      <a:lnTo>
                        <a:pt x="50" y="20"/>
                      </a:lnTo>
                      <a:lnTo>
                        <a:pt x="52" y="20"/>
                      </a:lnTo>
                      <a:lnTo>
                        <a:pt x="55" y="22"/>
                      </a:lnTo>
                      <a:lnTo>
                        <a:pt x="60" y="20"/>
                      </a:lnTo>
                      <a:lnTo>
                        <a:pt x="64" y="20"/>
                      </a:lnTo>
                      <a:lnTo>
                        <a:pt x="64" y="22"/>
                      </a:lnTo>
                      <a:lnTo>
                        <a:pt x="65" y="24"/>
                      </a:lnTo>
                      <a:lnTo>
                        <a:pt x="65" y="26"/>
                      </a:lnTo>
                      <a:lnTo>
                        <a:pt x="65" y="27"/>
                      </a:lnTo>
                      <a:lnTo>
                        <a:pt x="64" y="29"/>
                      </a:lnTo>
                      <a:lnTo>
                        <a:pt x="64" y="31"/>
                      </a:lnTo>
                      <a:lnTo>
                        <a:pt x="62" y="31"/>
                      </a:lnTo>
                      <a:lnTo>
                        <a:pt x="60" y="34"/>
                      </a:lnTo>
                      <a:lnTo>
                        <a:pt x="60" y="36"/>
                      </a:lnTo>
                      <a:lnTo>
                        <a:pt x="59" y="37"/>
                      </a:lnTo>
                      <a:lnTo>
                        <a:pt x="59" y="39"/>
                      </a:lnTo>
                      <a:lnTo>
                        <a:pt x="59" y="41"/>
                      </a:lnTo>
                      <a:lnTo>
                        <a:pt x="57" y="41"/>
                      </a:lnTo>
                      <a:lnTo>
                        <a:pt x="57" y="42"/>
                      </a:lnTo>
                      <a:lnTo>
                        <a:pt x="55" y="44"/>
                      </a:lnTo>
                      <a:lnTo>
                        <a:pt x="55" y="46"/>
                      </a:lnTo>
                      <a:lnTo>
                        <a:pt x="54" y="47"/>
                      </a:lnTo>
                      <a:lnTo>
                        <a:pt x="52" y="49"/>
                      </a:lnTo>
                      <a:lnTo>
                        <a:pt x="48" y="49"/>
                      </a:lnTo>
                      <a:lnTo>
                        <a:pt x="50" y="51"/>
                      </a:lnTo>
                      <a:lnTo>
                        <a:pt x="52" y="53"/>
                      </a:lnTo>
                      <a:lnTo>
                        <a:pt x="54" y="54"/>
                      </a:lnTo>
                      <a:lnTo>
                        <a:pt x="50" y="54"/>
                      </a:lnTo>
                      <a:lnTo>
                        <a:pt x="48" y="54"/>
                      </a:lnTo>
                      <a:lnTo>
                        <a:pt x="45" y="56"/>
                      </a:lnTo>
                      <a:lnTo>
                        <a:pt x="43" y="56"/>
                      </a:lnTo>
                      <a:lnTo>
                        <a:pt x="43" y="58"/>
                      </a:lnTo>
                      <a:lnTo>
                        <a:pt x="43" y="59"/>
                      </a:lnTo>
                      <a:lnTo>
                        <a:pt x="45" y="59"/>
                      </a:lnTo>
                      <a:lnTo>
                        <a:pt x="47" y="59"/>
                      </a:lnTo>
                      <a:lnTo>
                        <a:pt x="50" y="59"/>
                      </a:lnTo>
                      <a:lnTo>
                        <a:pt x="52" y="58"/>
                      </a:lnTo>
                      <a:lnTo>
                        <a:pt x="54" y="58"/>
                      </a:lnTo>
                      <a:lnTo>
                        <a:pt x="57" y="59"/>
                      </a:lnTo>
                      <a:lnTo>
                        <a:pt x="59" y="61"/>
                      </a:lnTo>
                      <a:lnTo>
                        <a:pt x="62" y="63"/>
                      </a:lnTo>
                      <a:lnTo>
                        <a:pt x="64" y="64"/>
                      </a:lnTo>
                      <a:lnTo>
                        <a:pt x="67" y="68"/>
                      </a:lnTo>
                      <a:lnTo>
                        <a:pt x="70" y="69"/>
                      </a:lnTo>
                      <a:lnTo>
                        <a:pt x="70" y="71"/>
                      </a:lnTo>
                      <a:lnTo>
                        <a:pt x="70" y="73"/>
                      </a:lnTo>
                      <a:lnTo>
                        <a:pt x="70" y="74"/>
                      </a:lnTo>
                      <a:lnTo>
                        <a:pt x="70" y="78"/>
                      </a:lnTo>
                      <a:lnTo>
                        <a:pt x="72" y="79"/>
                      </a:lnTo>
                      <a:lnTo>
                        <a:pt x="74" y="83"/>
                      </a:lnTo>
                      <a:lnTo>
                        <a:pt x="75" y="86"/>
                      </a:lnTo>
                      <a:lnTo>
                        <a:pt x="77" y="88"/>
                      </a:lnTo>
                      <a:lnTo>
                        <a:pt x="77" y="90"/>
                      </a:lnTo>
                      <a:lnTo>
                        <a:pt x="82" y="90"/>
                      </a:lnTo>
                      <a:lnTo>
                        <a:pt x="84" y="91"/>
                      </a:lnTo>
                      <a:lnTo>
                        <a:pt x="87" y="95"/>
                      </a:lnTo>
                      <a:lnTo>
                        <a:pt x="89" y="96"/>
                      </a:lnTo>
                      <a:lnTo>
                        <a:pt x="91" y="100"/>
                      </a:lnTo>
                      <a:lnTo>
                        <a:pt x="92" y="103"/>
                      </a:lnTo>
                      <a:lnTo>
                        <a:pt x="94" y="105"/>
                      </a:lnTo>
                      <a:lnTo>
                        <a:pt x="96" y="106"/>
                      </a:lnTo>
                      <a:lnTo>
                        <a:pt x="97" y="110"/>
                      </a:lnTo>
                      <a:lnTo>
                        <a:pt x="96" y="110"/>
                      </a:lnTo>
                      <a:lnTo>
                        <a:pt x="94" y="110"/>
                      </a:lnTo>
                      <a:lnTo>
                        <a:pt x="92" y="110"/>
                      </a:lnTo>
                      <a:lnTo>
                        <a:pt x="91" y="108"/>
                      </a:lnTo>
                      <a:lnTo>
                        <a:pt x="89" y="108"/>
                      </a:lnTo>
                      <a:lnTo>
                        <a:pt x="91" y="110"/>
                      </a:lnTo>
                      <a:lnTo>
                        <a:pt x="92" y="112"/>
                      </a:lnTo>
                      <a:lnTo>
                        <a:pt x="94" y="112"/>
                      </a:lnTo>
                      <a:lnTo>
                        <a:pt x="96" y="113"/>
                      </a:lnTo>
                      <a:lnTo>
                        <a:pt x="97" y="115"/>
                      </a:lnTo>
                      <a:lnTo>
                        <a:pt x="99" y="117"/>
                      </a:lnTo>
                      <a:lnTo>
                        <a:pt x="99" y="118"/>
                      </a:lnTo>
                      <a:lnTo>
                        <a:pt x="99" y="120"/>
                      </a:lnTo>
                      <a:lnTo>
                        <a:pt x="99" y="122"/>
                      </a:lnTo>
                      <a:lnTo>
                        <a:pt x="97" y="123"/>
                      </a:lnTo>
                      <a:lnTo>
                        <a:pt x="96" y="125"/>
                      </a:lnTo>
                      <a:lnTo>
                        <a:pt x="94" y="127"/>
                      </a:lnTo>
                      <a:lnTo>
                        <a:pt x="96" y="127"/>
                      </a:lnTo>
                      <a:lnTo>
                        <a:pt x="97" y="127"/>
                      </a:lnTo>
                      <a:lnTo>
                        <a:pt x="99" y="127"/>
                      </a:lnTo>
                      <a:lnTo>
                        <a:pt x="99" y="128"/>
                      </a:lnTo>
                      <a:lnTo>
                        <a:pt x="101" y="127"/>
                      </a:lnTo>
                      <a:lnTo>
                        <a:pt x="102" y="125"/>
                      </a:lnTo>
                      <a:lnTo>
                        <a:pt x="106" y="125"/>
                      </a:lnTo>
                      <a:lnTo>
                        <a:pt x="109" y="123"/>
                      </a:lnTo>
                      <a:lnTo>
                        <a:pt x="113" y="125"/>
                      </a:lnTo>
                      <a:lnTo>
                        <a:pt x="114" y="125"/>
                      </a:lnTo>
                      <a:lnTo>
                        <a:pt x="118" y="127"/>
                      </a:lnTo>
                      <a:lnTo>
                        <a:pt x="121" y="130"/>
                      </a:lnTo>
                      <a:lnTo>
                        <a:pt x="121" y="133"/>
                      </a:lnTo>
                      <a:lnTo>
                        <a:pt x="121" y="137"/>
                      </a:lnTo>
                      <a:lnTo>
                        <a:pt x="119" y="142"/>
                      </a:lnTo>
                      <a:lnTo>
                        <a:pt x="118" y="144"/>
                      </a:lnTo>
                      <a:lnTo>
                        <a:pt x="114" y="145"/>
                      </a:lnTo>
                      <a:lnTo>
                        <a:pt x="114" y="147"/>
                      </a:lnTo>
                      <a:lnTo>
                        <a:pt x="114" y="149"/>
                      </a:lnTo>
                      <a:lnTo>
                        <a:pt x="111" y="149"/>
                      </a:lnTo>
                      <a:lnTo>
                        <a:pt x="109" y="149"/>
                      </a:lnTo>
                      <a:lnTo>
                        <a:pt x="107" y="149"/>
                      </a:lnTo>
                      <a:lnTo>
                        <a:pt x="106" y="150"/>
                      </a:lnTo>
                      <a:lnTo>
                        <a:pt x="107" y="150"/>
                      </a:lnTo>
                      <a:lnTo>
                        <a:pt x="109" y="150"/>
                      </a:lnTo>
                      <a:lnTo>
                        <a:pt x="107" y="152"/>
                      </a:lnTo>
                      <a:lnTo>
                        <a:pt x="107" y="154"/>
                      </a:lnTo>
                      <a:lnTo>
                        <a:pt x="104" y="154"/>
                      </a:lnTo>
                      <a:lnTo>
                        <a:pt x="106" y="155"/>
                      </a:lnTo>
                      <a:lnTo>
                        <a:pt x="106" y="159"/>
                      </a:lnTo>
                      <a:lnTo>
                        <a:pt x="109" y="159"/>
                      </a:lnTo>
                      <a:lnTo>
                        <a:pt x="113" y="159"/>
                      </a:lnTo>
                      <a:lnTo>
                        <a:pt x="116" y="159"/>
                      </a:lnTo>
                      <a:lnTo>
                        <a:pt x="116" y="162"/>
                      </a:lnTo>
                      <a:lnTo>
                        <a:pt x="113" y="164"/>
                      </a:lnTo>
                      <a:lnTo>
                        <a:pt x="109" y="165"/>
                      </a:lnTo>
                      <a:lnTo>
                        <a:pt x="107" y="167"/>
                      </a:lnTo>
                      <a:lnTo>
                        <a:pt x="104" y="167"/>
                      </a:lnTo>
                      <a:lnTo>
                        <a:pt x="99" y="169"/>
                      </a:lnTo>
                      <a:lnTo>
                        <a:pt x="96" y="169"/>
                      </a:lnTo>
                      <a:lnTo>
                        <a:pt x="92" y="169"/>
                      </a:lnTo>
                      <a:lnTo>
                        <a:pt x="91" y="169"/>
                      </a:lnTo>
                      <a:lnTo>
                        <a:pt x="84" y="171"/>
                      </a:lnTo>
                      <a:lnTo>
                        <a:pt x="82" y="171"/>
                      </a:lnTo>
                      <a:lnTo>
                        <a:pt x="80" y="169"/>
                      </a:lnTo>
                      <a:lnTo>
                        <a:pt x="79" y="169"/>
                      </a:lnTo>
                      <a:lnTo>
                        <a:pt x="77" y="169"/>
                      </a:lnTo>
                      <a:lnTo>
                        <a:pt x="75" y="169"/>
                      </a:lnTo>
                      <a:lnTo>
                        <a:pt x="74" y="167"/>
                      </a:lnTo>
                      <a:lnTo>
                        <a:pt x="74" y="169"/>
                      </a:lnTo>
                      <a:lnTo>
                        <a:pt x="72" y="171"/>
                      </a:lnTo>
                      <a:lnTo>
                        <a:pt x="70" y="171"/>
                      </a:lnTo>
                      <a:lnTo>
                        <a:pt x="67" y="171"/>
                      </a:lnTo>
                      <a:lnTo>
                        <a:pt x="64" y="171"/>
                      </a:lnTo>
                      <a:lnTo>
                        <a:pt x="64" y="172"/>
                      </a:lnTo>
                      <a:lnTo>
                        <a:pt x="62" y="174"/>
                      </a:lnTo>
                      <a:lnTo>
                        <a:pt x="59" y="172"/>
                      </a:lnTo>
                      <a:lnTo>
                        <a:pt x="57" y="174"/>
                      </a:lnTo>
                      <a:lnTo>
                        <a:pt x="55" y="174"/>
                      </a:lnTo>
                      <a:lnTo>
                        <a:pt x="54" y="172"/>
                      </a:lnTo>
                      <a:lnTo>
                        <a:pt x="52" y="172"/>
                      </a:lnTo>
                      <a:lnTo>
                        <a:pt x="50" y="171"/>
                      </a:lnTo>
                      <a:lnTo>
                        <a:pt x="47" y="172"/>
                      </a:lnTo>
                      <a:lnTo>
                        <a:pt x="43" y="172"/>
                      </a:lnTo>
                      <a:lnTo>
                        <a:pt x="42" y="172"/>
                      </a:lnTo>
                      <a:lnTo>
                        <a:pt x="40" y="172"/>
                      </a:lnTo>
                      <a:lnTo>
                        <a:pt x="40" y="176"/>
                      </a:lnTo>
                      <a:lnTo>
                        <a:pt x="38" y="179"/>
                      </a:lnTo>
                      <a:lnTo>
                        <a:pt x="37" y="181"/>
                      </a:lnTo>
                      <a:lnTo>
                        <a:pt x="35" y="181"/>
                      </a:lnTo>
                      <a:lnTo>
                        <a:pt x="33" y="179"/>
                      </a:lnTo>
                      <a:lnTo>
                        <a:pt x="32" y="179"/>
                      </a:lnTo>
                      <a:lnTo>
                        <a:pt x="30" y="179"/>
                      </a:lnTo>
                      <a:lnTo>
                        <a:pt x="28" y="179"/>
                      </a:lnTo>
                      <a:lnTo>
                        <a:pt x="27" y="179"/>
                      </a:lnTo>
                      <a:lnTo>
                        <a:pt x="23" y="179"/>
                      </a:lnTo>
                      <a:lnTo>
                        <a:pt x="21" y="179"/>
                      </a:lnTo>
                      <a:lnTo>
                        <a:pt x="20" y="181"/>
                      </a:lnTo>
                      <a:lnTo>
                        <a:pt x="16" y="182"/>
                      </a:lnTo>
                      <a:lnTo>
                        <a:pt x="15" y="184"/>
                      </a:lnTo>
                      <a:lnTo>
                        <a:pt x="15" y="186"/>
                      </a:lnTo>
                      <a:lnTo>
                        <a:pt x="13" y="184"/>
                      </a:lnTo>
                      <a:lnTo>
                        <a:pt x="11" y="184"/>
                      </a:lnTo>
                      <a:lnTo>
                        <a:pt x="8" y="184"/>
                      </a:lnTo>
                      <a:lnTo>
                        <a:pt x="6" y="186"/>
                      </a:lnTo>
                      <a:lnTo>
                        <a:pt x="6" y="184"/>
                      </a:lnTo>
                      <a:lnTo>
                        <a:pt x="8" y="182"/>
                      </a:lnTo>
                      <a:lnTo>
                        <a:pt x="10" y="181"/>
                      </a:lnTo>
                      <a:lnTo>
                        <a:pt x="13" y="181"/>
                      </a:lnTo>
                      <a:lnTo>
                        <a:pt x="15" y="177"/>
                      </a:lnTo>
                      <a:lnTo>
                        <a:pt x="16" y="176"/>
                      </a:lnTo>
                      <a:lnTo>
                        <a:pt x="20" y="172"/>
                      </a:lnTo>
                      <a:lnTo>
                        <a:pt x="23" y="169"/>
                      </a:lnTo>
                      <a:lnTo>
                        <a:pt x="27" y="165"/>
                      </a:lnTo>
                      <a:lnTo>
                        <a:pt x="28" y="164"/>
                      </a:lnTo>
                      <a:lnTo>
                        <a:pt x="30" y="162"/>
                      </a:lnTo>
                      <a:lnTo>
                        <a:pt x="35" y="160"/>
                      </a:lnTo>
                      <a:lnTo>
                        <a:pt x="38" y="160"/>
                      </a:lnTo>
                      <a:lnTo>
                        <a:pt x="43" y="160"/>
                      </a:lnTo>
                      <a:lnTo>
                        <a:pt x="47" y="160"/>
                      </a:lnTo>
                      <a:lnTo>
                        <a:pt x="48" y="159"/>
                      </a:lnTo>
                      <a:lnTo>
                        <a:pt x="48" y="157"/>
                      </a:lnTo>
                      <a:lnTo>
                        <a:pt x="50" y="155"/>
                      </a:lnTo>
                      <a:lnTo>
                        <a:pt x="54" y="154"/>
                      </a:lnTo>
                      <a:lnTo>
                        <a:pt x="55" y="152"/>
                      </a:lnTo>
                      <a:lnTo>
                        <a:pt x="54" y="150"/>
                      </a:lnTo>
                      <a:lnTo>
                        <a:pt x="52" y="150"/>
                      </a:lnTo>
                      <a:lnTo>
                        <a:pt x="50" y="152"/>
                      </a:lnTo>
                      <a:lnTo>
                        <a:pt x="48" y="154"/>
                      </a:lnTo>
                      <a:lnTo>
                        <a:pt x="47" y="154"/>
                      </a:lnTo>
                      <a:lnTo>
                        <a:pt x="45" y="155"/>
                      </a:lnTo>
                      <a:lnTo>
                        <a:pt x="43" y="157"/>
                      </a:lnTo>
                      <a:lnTo>
                        <a:pt x="40" y="157"/>
                      </a:lnTo>
                      <a:lnTo>
                        <a:pt x="38" y="157"/>
                      </a:lnTo>
                      <a:lnTo>
                        <a:pt x="38" y="155"/>
                      </a:lnTo>
                      <a:lnTo>
                        <a:pt x="35" y="154"/>
                      </a:lnTo>
                      <a:lnTo>
                        <a:pt x="35" y="152"/>
                      </a:lnTo>
                      <a:lnTo>
                        <a:pt x="33" y="152"/>
                      </a:lnTo>
                      <a:lnTo>
                        <a:pt x="32" y="154"/>
                      </a:lnTo>
                      <a:lnTo>
                        <a:pt x="28" y="154"/>
                      </a:lnTo>
                      <a:lnTo>
                        <a:pt x="27" y="152"/>
                      </a:lnTo>
                      <a:lnTo>
                        <a:pt x="27" y="150"/>
                      </a:lnTo>
                      <a:lnTo>
                        <a:pt x="27" y="149"/>
                      </a:lnTo>
                      <a:lnTo>
                        <a:pt x="25" y="149"/>
                      </a:lnTo>
                      <a:lnTo>
                        <a:pt x="21" y="150"/>
                      </a:lnTo>
                      <a:lnTo>
                        <a:pt x="20" y="152"/>
                      </a:lnTo>
                      <a:lnTo>
                        <a:pt x="18" y="152"/>
                      </a:lnTo>
                      <a:lnTo>
                        <a:pt x="16" y="152"/>
                      </a:lnTo>
                      <a:lnTo>
                        <a:pt x="15" y="152"/>
                      </a:lnTo>
                      <a:lnTo>
                        <a:pt x="15" y="150"/>
                      </a:lnTo>
                      <a:lnTo>
                        <a:pt x="13" y="149"/>
                      </a:lnTo>
                      <a:lnTo>
                        <a:pt x="13" y="147"/>
                      </a:lnTo>
                      <a:lnTo>
                        <a:pt x="15" y="147"/>
                      </a:lnTo>
                      <a:lnTo>
                        <a:pt x="18" y="145"/>
                      </a:lnTo>
                      <a:lnTo>
                        <a:pt x="21" y="144"/>
                      </a:lnTo>
                      <a:lnTo>
                        <a:pt x="23" y="142"/>
                      </a:lnTo>
                      <a:lnTo>
                        <a:pt x="27" y="140"/>
                      </a:lnTo>
                      <a:lnTo>
                        <a:pt x="30" y="138"/>
                      </a:lnTo>
                      <a:lnTo>
                        <a:pt x="32" y="135"/>
                      </a:lnTo>
                      <a:lnTo>
                        <a:pt x="33" y="133"/>
                      </a:lnTo>
                      <a:lnTo>
                        <a:pt x="32" y="132"/>
                      </a:lnTo>
                      <a:lnTo>
                        <a:pt x="30" y="132"/>
                      </a:lnTo>
                      <a:lnTo>
                        <a:pt x="30" y="130"/>
                      </a:lnTo>
                      <a:lnTo>
                        <a:pt x="30" y="127"/>
                      </a:lnTo>
                      <a:lnTo>
                        <a:pt x="30" y="125"/>
                      </a:lnTo>
                      <a:lnTo>
                        <a:pt x="27" y="125"/>
                      </a:lnTo>
                      <a:lnTo>
                        <a:pt x="23" y="127"/>
                      </a:lnTo>
                      <a:lnTo>
                        <a:pt x="21" y="127"/>
                      </a:lnTo>
                      <a:lnTo>
                        <a:pt x="25" y="123"/>
                      </a:lnTo>
                      <a:lnTo>
                        <a:pt x="28" y="122"/>
                      </a:lnTo>
                      <a:lnTo>
                        <a:pt x="32" y="118"/>
                      </a:lnTo>
                      <a:lnTo>
                        <a:pt x="35" y="117"/>
                      </a:lnTo>
                      <a:lnTo>
                        <a:pt x="40" y="117"/>
                      </a:lnTo>
                      <a:lnTo>
                        <a:pt x="43" y="117"/>
                      </a:lnTo>
                      <a:lnTo>
                        <a:pt x="47" y="117"/>
                      </a:lnTo>
                      <a:lnTo>
                        <a:pt x="48" y="115"/>
                      </a:lnTo>
                      <a:lnTo>
                        <a:pt x="48" y="113"/>
                      </a:lnTo>
                      <a:lnTo>
                        <a:pt x="47" y="113"/>
                      </a:lnTo>
                      <a:lnTo>
                        <a:pt x="47" y="112"/>
                      </a:lnTo>
                      <a:lnTo>
                        <a:pt x="48" y="110"/>
                      </a:lnTo>
                      <a:lnTo>
                        <a:pt x="50" y="108"/>
                      </a:lnTo>
                      <a:lnTo>
                        <a:pt x="48" y="106"/>
                      </a:lnTo>
                      <a:lnTo>
                        <a:pt x="47" y="106"/>
                      </a:lnTo>
                      <a:lnTo>
                        <a:pt x="48" y="105"/>
                      </a:lnTo>
                      <a:lnTo>
                        <a:pt x="50" y="103"/>
                      </a:lnTo>
                      <a:lnTo>
                        <a:pt x="50" y="101"/>
                      </a:lnTo>
                      <a:lnTo>
                        <a:pt x="50" y="98"/>
                      </a:lnTo>
                      <a:lnTo>
                        <a:pt x="52" y="98"/>
                      </a:lnTo>
                      <a:lnTo>
                        <a:pt x="50" y="96"/>
                      </a:lnTo>
                      <a:lnTo>
                        <a:pt x="48" y="100"/>
                      </a:lnTo>
                      <a:lnTo>
                        <a:pt x="45" y="100"/>
                      </a:lnTo>
                      <a:lnTo>
                        <a:pt x="43" y="100"/>
                      </a:lnTo>
                      <a:lnTo>
                        <a:pt x="43" y="98"/>
                      </a:lnTo>
                      <a:lnTo>
                        <a:pt x="42" y="98"/>
                      </a:lnTo>
                      <a:lnTo>
                        <a:pt x="42" y="96"/>
                      </a:lnTo>
                      <a:lnTo>
                        <a:pt x="42" y="98"/>
                      </a:lnTo>
                      <a:lnTo>
                        <a:pt x="40" y="96"/>
                      </a:lnTo>
                      <a:lnTo>
                        <a:pt x="40" y="95"/>
                      </a:lnTo>
                      <a:lnTo>
                        <a:pt x="38" y="93"/>
                      </a:lnTo>
                      <a:lnTo>
                        <a:pt x="38" y="91"/>
                      </a:lnTo>
                      <a:lnTo>
                        <a:pt x="38" y="90"/>
                      </a:lnTo>
                      <a:lnTo>
                        <a:pt x="40" y="88"/>
                      </a:lnTo>
                      <a:lnTo>
                        <a:pt x="40" y="86"/>
                      </a:lnTo>
                      <a:lnTo>
                        <a:pt x="42" y="85"/>
                      </a:lnTo>
                      <a:lnTo>
                        <a:pt x="43" y="83"/>
                      </a:lnTo>
                      <a:lnTo>
                        <a:pt x="45" y="83"/>
                      </a:lnTo>
                      <a:lnTo>
                        <a:pt x="47" y="81"/>
                      </a:lnTo>
                      <a:lnTo>
                        <a:pt x="43" y="81"/>
                      </a:lnTo>
                      <a:lnTo>
                        <a:pt x="42" y="81"/>
                      </a:lnTo>
                      <a:lnTo>
                        <a:pt x="40" y="81"/>
                      </a:lnTo>
                      <a:lnTo>
                        <a:pt x="38" y="83"/>
                      </a:lnTo>
                      <a:lnTo>
                        <a:pt x="37" y="83"/>
                      </a:lnTo>
                      <a:lnTo>
                        <a:pt x="35" y="83"/>
                      </a:lnTo>
                      <a:lnTo>
                        <a:pt x="35" y="85"/>
                      </a:lnTo>
                      <a:lnTo>
                        <a:pt x="33" y="85"/>
                      </a:lnTo>
                      <a:lnTo>
                        <a:pt x="30" y="85"/>
                      </a:lnTo>
                      <a:lnTo>
                        <a:pt x="28" y="85"/>
                      </a:lnTo>
                      <a:lnTo>
                        <a:pt x="27" y="85"/>
                      </a:lnTo>
                      <a:lnTo>
                        <a:pt x="27" y="86"/>
                      </a:lnTo>
                      <a:lnTo>
                        <a:pt x="25" y="88"/>
                      </a:lnTo>
                      <a:lnTo>
                        <a:pt x="23" y="86"/>
                      </a:lnTo>
                      <a:lnTo>
                        <a:pt x="21" y="85"/>
                      </a:lnTo>
                      <a:lnTo>
                        <a:pt x="18" y="85"/>
                      </a:lnTo>
                      <a:lnTo>
                        <a:pt x="18" y="88"/>
                      </a:lnTo>
                      <a:lnTo>
                        <a:pt x="16" y="88"/>
                      </a:lnTo>
                      <a:lnTo>
                        <a:pt x="15" y="85"/>
                      </a:lnTo>
                      <a:lnTo>
                        <a:pt x="13" y="83"/>
                      </a:lnTo>
                      <a:lnTo>
                        <a:pt x="15" y="81"/>
                      </a:lnTo>
                      <a:lnTo>
                        <a:pt x="16" y="83"/>
                      </a:lnTo>
                      <a:lnTo>
                        <a:pt x="16" y="79"/>
                      </a:lnTo>
                      <a:lnTo>
                        <a:pt x="16" y="78"/>
                      </a:lnTo>
                      <a:lnTo>
                        <a:pt x="18" y="74"/>
                      </a:lnTo>
                      <a:lnTo>
                        <a:pt x="20" y="73"/>
                      </a:lnTo>
                      <a:lnTo>
                        <a:pt x="21" y="69"/>
                      </a:lnTo>
                      <a:lnTo>
                        <a:pt x="21" y="68"/>
                      </a:lnTo>
                      <a:lnTo>
                        <a:pt x="20" y="66"/>
                      </a:lnTo>
                      <a:lnTo>
                        <a:pt x="18" y="66"/>
                      </a:lnTo>
                      <a:lnTo>
                        <a:pt x="18" y="64"/>
                      </a:lnTo>
                      <a:lnTo>
                        <a:pt x="18" y="63"/>
                      </a:lnTo>
                      <a:lnTo>
                        <a:pt x="20" y="61"/>
                      </a:lnTo>
                      <a:lnTo>
                        <a:pt x="20" y="59"/>
                      </a:lnTo>
                      <a:lnTo>
                        <a:pt x="21" y="59"/>
                      </a:lnTo>
                      <a:lnTo>
                        <a:pt x="20" y="58"/>
                      </a:lnTo>
                      <a:lnTo>
                        <a:pt x="18" y="58"/>
                      </a:lnTo>
                      <a:lnTo>
                        <a:pt x="16" y="58"/>
                      </a:lnTo>
                      <a:lnTo>
                        <a:pt x="16" y="59"/>
                      </a:lnTo>
                      <a:lnTo>
                        <a:pt x="16" y="61"/>
                      </a:lnTo>
                      <a:lnTo>
                        <a:pt x="15" y="59"/>
                      </a:lnTo>
                      <a:lnTo>
                        <a:pt x="13" y="61"/>
                      </a:lnTo>
                      <a:lnTo>
                        <a:pt x="11" y="63"/>
                      </a:lnTo>
                      <a:lnTo>
                        <a:pt x="11" y="61"/>
                      </a:lnTo>
                      <a:lnTo>
                        <a:pt x="11" y="59"/>
                      </a:lnTo>
                      <a:lnTo>
                        <a:pt x="13" y="58"/>
                      </a:lnTo>
                      <a:lnTo>
                        <a:pt x="15" y="56"/>
                      </a:lnTo>
                      <a:lnTo>
                        <a:pt x="15" y="54"/>
                      </a:lnTo>
                      <a:lnTo>
                        <a:pt x="13" y="54"/>
                      </a:lnTo>
                      <a:lnTo>
                        <a:pt x="11" y="56"/>
                      </a:lnTo>
                      <a:lnTo>
                        <a:pt x="11" y="58"/>
                      </a:lnTo>
                      <a:lnTo>
                        <a:pt x="10" y="58"/>
                      </a:lnTo>
                      <a:lnTo>
                        <a:pt x="10" y="59"/>
                      </a:lnTo>
                      <a:lnTo>
                        <a:pt x="11" y="61"/>
                      </a:lnTo>
                      <a:lnTo>
                        <a:pt x="11" y="63"/>
                      </a:lnTo>
                      <a:lnTo>
                        <a:pt x="11" y="64"/>
                      </a:lnTo>
                      <a:lnTo>
                        <a:pt x="10" y="66"/>
                      </a:lnTo>
                      <a:lnTo>
                        <a:pt x="10" y="68"/>
                      </a:lnTo>
                      <a:lnTo>
                        <a:pt x="8" y="69"/>
                      </a:lnTo>
                      <a:lnTo>
                        <a:pt x="6" y="73"/>
                      </a:lnTo>
                      <a:lnTo>
                        <a:pt x="6" y="74"/>
                      </a:lnTo>
                      <a:lnTo>
                        <a:pt x="5" y="74"/>
                      </a:lnTo>
                      <a:lnTo>
                        <a:pt x="5" y="73"/>
                      </a:lnTo>
                      <a:lnTo>
                        <a:pt x="5" y="71"/>
                      </a:lnTo>
                      <a:lnTo>
                        <a:pt x="5" y="69"/>
                      </a:lnTo>
                      <a:lnTo>
                        <a:pt x="6" y="68"/>
                      </a:lnTo>
                      <a:lnTo>
                        <a:pt x="8" y="66"/>
                      </a:lnTo>
                      <a:lnTo>
                        <a:pt x="8" y="64"/>
                      </a:lnTo>
                      <a:lnTo>
                        <a:pt x="8" y="63"/>
                      </a:lnTo>
                      <a:lnTo>
                        <a:pt x="6" y="63"/>
                      </a:lnTo>
                      <a:lnTo>
                        <a:pt x="6" y="61"/>
                      </a:lnTo>
                      <a:lnTo>
                        <a:pt x="6" y="59"/>
                      </a:lnTo>
                      <a:lnTo>
                        <a:pt x="6" y="58"/>
                      </a:lnTo>
                      <a:lnTo>
                        <a:pt x="8" y="56"/>
                      </a:lnTo>
                      <a:lnTo>
                        <a:pt x="8" y="54"/>
                      </a:lnTo>
                      <a:lnTo>
                        <a:pt x="8" y="53"/>
                      </a:lnTo>
                      <a:lnTo>
                        <a:pt x="10" y="51"/>
                      </a:lnTo>
                      <a:lnTo>
                        <a:pt x="10" y="49"/>
                      </a:lnTo>
                      <a:lnTo>
                        <a:pt x="11" y="47"/>
                      </a:lnTo>
                      <a:lnTo>
                        <a:pt x="11" y="46"/>
                      </a:lnTo>
                      <a:lnTo>
                        <a:pt x="11" y="44"/>
                      </a:lnTo>
                      <a:lnTo>
                        <a:pt x="10" y="46"/>
                      </a:lnTo>
                      <a:lnTo>
                        <a:pt x="8" y="47"/>
                      </a:lnTo>
                      <a:lnTo>
                        <a:pt x="6" y="47"/>
                      </a:lnTo>
                      <a:lnTo>
                        <a:pt x="6" y="49"/>
                      </a:lnTo>
                      <a:lnTo>
                        <a:pt x="5" y="47"/>
                      </a:lnTo>
                      <a:lnTo>
                        <a:pt x="3" y="47"/>
                      </a:lnTo>
                      <a:lnTo>
                        <a:pt x="1" y="46"/>
                      </a:lnTo>
                      <a:lnTo>
                        <a:pt x="1" y="44"/>
                      </a:lnTo>
                      <a:lnTo>
                        <a:pt x="0" y="44"/>
                      </a:lnTo>
                      <a:lnTo>
                        <a:pt x="0" y="42"/>
                      </a:lnTo>
                      <a:lnTo>
                        <a:pt x="1" y="42"/>
                      </a:lnTo>
                      <a:lnTo>
                        <a:pt x="3" y="42"/>
                      </a:lnTo>
                      <a:lnTo>
                        <a:pt x="3" y="41"/>
                      </a:lnTo>
                      <a:lnTo>
                        <a:pt x="3" y="39"/>
                      </a:lnTo>
                      <a:lnTo>
                        <a:pt x="5" y="37"/>
                      </a:lnTo>
                      <a:lnTo>
                        <a:pt x="5" y="36"/>
                      </a:lnTo>
                      <a:lnTo>
                        <a:pt x="6" y="34"/>
                      </a:lnTo>
                      <a:lnTo>
                        <a:pt x="6" y="32"/>
                      </a:lnTo>
                      <a:lnTo>
                        <a:pt x="8" y="31"/>
                      </a:lnTo>
                      <a:lnTo>
                        <a:pt x="8" y="29"/>
                      </a:lnTo>
                      <a:lnTo>
                        <a:pt x="6" y="29"/>
                      </a:lnTo>
                      <a:lnTo>
                        <a:pt x="8" y="29"/>
                      </a:lnTo>
                      <a:lnTo>
                        <a:pt x="8" y="27"/>
                      </a:lnTo>
                      <a:lnTo>
                        <a:pt x="5" y="29"/>
                      </a:lnTo>
                      <a:lnTo>
                        <a:pt x="3" y="29"/>
                      </a:lnTo>
                      <a:lnTo>
                        <a:pt x="3" y="27"/>
                      </a:lnTo>
                      <a:lnTo>
                        <a:pt x="3" y="26"/>
                      </a:lnTo>
                      <a:lnTo>
                        <a:pt x="5" y="24"/>
                      </a:lnTo>
                      <a:lnTo>
                        <a:pt x="6" y="24"/>
                      </a:lnTo>
                      <a:lnTo>
                        <a:pt x="5" y="24"/>
                      </a:lnTo>
                      <a:lnTo>
                        <a:pt x="5" y="22"/>
                      </a:lnTo>
                      <a:lnTo>
                        <a:pt x="5" y="20"/>
                      </a:lnTo>
                      <a:lnTo>
                        <a:pt x="5" y="19"/>
                      </a:lnTo>
                      <a:lnTo>
                        <a:pt x="6" y="19"/>
                      </a:lnTo>
                      <a:lnTo>
                        <a:pt x="6" y="17"/>
                      </a:lnTo>
                      <a:lnTo>
                        <a:pt x="8" y="17"/>
                      </a:lnTo>
                      <a:lnTo>
                        <a:pt x="10" y="17"/>
                      </a:lnTo>
                      <a:lnTo>
                        <a:pt x="11" y="15"/>
                      </a:lnTo>
                      <a:lnTo>
                        <a:pt x="13" y="15"/>
                      </a:lnTo>
                      <a:lnTo>
                        <a:pt x="11" y="14"/>
                      </a:lnTo>
                      <a:lnTo>
                        <a:pt x="10" y="14"/>
                      </a:lnTo>
                      <a:lnTo>
                        <a:pt x="10" y="12"/>
                      </a:lnTo>
                      <a:lnTo>
                        <a:pt x="11" y="12"/>
                      </a:lnTo>
                      <a:lnTo>
                        <a:pt x="11" y="10"/>
                      </a:lnTo>
                      <a:lnTo>
                        <a:pt x="11" y="9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2" name="Freeform 106">
                  <a:extLst>
                    <a:ext uri="{FF2B5EF4-FFF2-40B4-BE49-F238E27FC236}">
                      <a16:creationId xmlns:a16="http://schemas.microsoft.com/office/drawing/2014/main" id="{D3D68FE7-3343-E641-9976-9D477FC7B2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" y="318"/>
                  <a:ext cx="121" cy="186"/>
                </a:xfrm>
                <a:custGeom>
                  <a:avLst/>
                  <a:gdLst>
                    <a:gd name="T0" fmla="*/ 16 w 121"/>
                    <a:gd name="T1" fmla="*/ 2 h 186"/>
                    <a:gd name="T2" fmla="*/ 32 w 121"/>
                    <a:gd name="T3" fmla="*/ 2 h 186"/>
                    <a:gd name="T4" fmla="*/ 45 w 121"/>
                    <a:gd name="T5" fmla="*/ 5 h 186"/>
                    <a:gd name="T6" fmla="*/ 33 w 121"/>
                    <a:gd name="T7" fmla="*/ 19 h 186"/>
                    <a:gd name="T8" fmla="*/ 32 w 121"/>
                    <a:gd name="T9" fmla="*/ 24 h 186"/>
                    <a:gd name="T10" fmla="*/ 55 w 121"/>
                    <a:gd name="T11" fmla="*/ 22 h 186"/>
                    <a:gd name="T12" fmla="*/ 64 w 121"/>
                    <a:gd name="T13" fmla="*/ 29 h 186"/>
                    <a:gd name="T14" fmla="*/ 59 w 121"/>
                    <a:gd name="T15" fmla="*/ 41 h 186"/>
                    <a:gd name="T16" fmla="*/ 48 w 121"/>
                    <a:gd name="T17" fmla="*/ 49 h 186"/>
                    <a:gd name="T18" fmla="*/ 43 w 121"/>
                    <a:gd name="T19" fmla="*/ 56 h 186"/>
                    <a:gd name="T20" fmla="*/ 54 w 121"/>
                    <a:gd name="T21" fmla="*/ 58 h 186"/>
                    <a:gd name="T22" fmla="*/ 70 w 121"/>
                    <a:gd name="T23" fmla="*/ 71 h 186"/>
                    <a:gd name="T24" fmla="*/ 77 w 121"/>
                    <a:gd name="T25" fmla="*/ 88 h 186"/>
                    <a:gd name="T26" fmla="*/ 92 w 121"/>
                    <a:gd name="T27" fmla="*/ 103 h 186"/>
                    <a:gd name="T28" fmla="*/ 91 w 121"/>
                    <a:gd name="T29" fmla="*/ 108 h 186"/>
                    <a:gd name="T30" fmla="*/ 99 w 121"/>
                    <a:gd name="T31" fmla="*/ 117 h 186"/>
                    <a:gd name="T32" fmla="*/ 96 w 121"/>
                    <a:gd name="T33" fmla="*/ 127 h 186"/>
                    <a:gd name="T34" fmla="*/ 109 w 121"/>
                    <a:gd name="T35" fmla="*/ 123 h 186"/>
                    <a:gd name="T36" fmla="*/ 119 w 121"/>
                    <a:gd name="T37" fmla="*/ 142 h 186"/>
                    <a:gd name="T38" fmla="*/ 107 w 121"/>
                    <a:gd name="T39" fmla="*/ 149 h 186"/>
                    <a:gd name="T40" fmla="*/ 106 w 121"/>
                    <a:gd name="T41" fmla="*/ 155 h 186"/>
                    <a:gd name="T42" fmla="*/ 109 w 121"/>
                    <a:gd name="T43" fmla="*/ 165 h 186"/>
                    <a:gd name="T44" fmla="*/ 84 w 121"/>
                    <a:gd name="T45" fmla="*/ 171 h 186"/>
                    <a:gd name="T46" fmla="*/ 74 w 121"/>
                    <a:gd name="T47" fmla="*/ 169 h 186"/>
                    <a:gd name="T48" fmla="*/ 59 w 121"/>
                    <a:gd name="T49" fmla="*/ 172 h 186"/>
                    <a:gd name="T50" fmla="*/ 43 w 121"/>
                    <a:gd name="T51" fmla="*/ 172 h 186"/>
                    <a:gd name="T52" fmla="*/ 33 w 121"/>
                    <a:gd name="T53" fmla="*/ 179 h 186"/>
                    <a:gd name="T54" fmla="*/ 20 w 121"/>
                    <a:gd name="T55" fmla="*/ 181 h 186"/>
                    <a:gd name="T56" fmla="*/ 6 w 121"/>
                    <a:gd name="T57" fmla="*/ 186 h 186"/>
                    <a:gd name="T58" fmla="*/ 20 w 121"/>
                    <a:gd name="T59" fmla="*/ 172 h 186"/>
                    <a:gd name="T60" fmla="*/ 43 w 121"/>
                    <a:gd name="T61" fmla="*/ 160 h 186"/>
                    <a:gd name="T62" fmla="*/ 54 w 121"/>
                    <a:gd name="T63" fmla="*/ 150 h 186"/>
                    <a:gd name="T64" fmla="*/ 40 w 121"/>
                    <a:gd name="T65" fmla="*/ 157 h 186"/>
                    <a:gd name="T66" fmla="*/ 28 w 121"/>
                    <a:gd name="T67" fmla="*/ 154 h 186"/>
                    <a:gd name="T68" fmla="*/ 18 w 121"/>
                    <a:gd name="T69" fmla="*/ 152 h 186"/>
                    <a:gd name="T70" fmla="*/ 18 w 121"/>
                    <a:gd name="T71" fmla="*/ 145 h 186"/>
                    <a:gd name="T72" fmla="*/ 32 w 121"/>
                    <a:gd name="T73" fmla="*/ 132 h 186"/>
                    <a:gd name="T74" fmla="*/ 21 w 121"/>
                    <a:gd name="T75" fmla="*/ 127 h 186"/>
                    <a:gd name="T76" fmla="*/ 47 w 121"/>
                    <a:gd name="T77" fmla="*/ 117 h 186"/>
                    <a:gd name="T78" fmla="*/ 48 w 121"/>
                    <a:gd name="T79" fmla="*/ 106 h 186"/>
                    <a:gd name="T80" fmla="*/ 50 w 121"/>
                    <a:gd name="T81" fmla="*/ 96 h 186"/>
                    <a:gd name="T82" fmla="*/ 42 w 121"/>
                    <a:gd name="T83" fmla="*/ 98 h 186"/>
                    <a:gd name="T84" fmla="*/ 40 w 121"/>
                    <a:gd name="T85" fmla="*/ 86 h 186"/>
                    <a:gd name="T86" fmla="*/ 40 w 121"/>
                    <a:gd name="T87" fmla="*/ 81 h 186"/>
                    <a:gd name="T88" fmla="*/ 28 w 121"/>
                    <a:gd name="T89" fmla="*/ 85 h 186"/>
                    <a:gd name="T90" fmla="*/ 18 w 121"/>
                    <a:gd name="T91" fmla="*/ 88 h 186"/>
                    <a:gd name="T92" fmla="*/ 16 w 121"/>
                    <a:gd name="T93" fmla="*/ 78 h 186"/>
                    <a:gd name="T94" fmla="*/ 18 w 121"/>
                    <a:gd name="T95" fmla="*/ 64 h 186"/>
                    <a:gd name="T96" fmla="*/ 16 w 121"/>
                    <a:gd name="T97" fmla="*/ 58 h 186"/>
                    <a:gd name="T98" fmla="*/ 11 w 121"/>
                    <a:gd name="T99" fmla="*/ 59 h 186"/>
                    <a:gd name="T100" fmla="*/ 10 w 121"/>
                    <a:gd name="T101" fmla="*/ 58 h 186"/>
                    <a:gd name="T102" fmla="*/ 8 w 121"/>
                    <a:gd name="T103" fmla="*/ 69 h 186"/>
                    <a:gd name="T104" fmla="*/ 6 w 121"/>
                    <a:gd name="T105" fmla="*/ 68 h 186"/>
                    <a:gd name="T106" fmla="*/ 6 w 121"/>
                    <a:gd name="T107" fmla="*/ 58 h 186"/>
                    <a:gd name="T108" fmla="*/ 11 w 121"/>
                    <a:gd name="T109" fmla="*/ 46 h 186"/>
                    <a:gd name="T110" fmla="*/ 3 w 121"/>
                    <a:gd name="T111" fmla="*/ 47 h 186"/>
                    <a:gd name="T112" fmla="*/ 3 w 121"/>
                    <a:gd name="T113" fmla="*/ 41 h 186"/>
                    <a:gd name="T114" fmla="*/ 8 w 121"/>
                    <a:gd name="T115" fmla="*/ 29 h 186"/>
                    <a:gd name="T116" fmla="*/ 3 w 121"/>
                    <a:gd name="T117" fmla="*/ 26 h 186"/>
                    <a:gd name="T118" fmla="*/ 6 w 121"/>
                    <a:gd name="T119" fmla="*/ 19 h 186"/>
                    <a:gd name="T120" fmla="*/ 10 w 121"/>
                    <a:gd name="T121" fmla="*/ 14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21" h="186">
                      <a:moveTo>
                        <a:pt x="11" y="9"/>
                      </a:moveTo>
                      <a:lnTo>
                        <a:pt x="13" y="9"/>
                      </a:lnTo>
                      <a:lnTo>
                        <a:pt x="15" y="9"/>
                      </a:lnTo>
                      <a:lnTo>
                        <a:pt x="15" y="7"/>
                      </a:lnTo>
                      <a:lnTo>
                        <a:pt x="15" y="5"/>
                      </a:lnTo>
                      <a:lnTo>
                        <a:pt x="15" y="4"/>
                      </a:lnTo>
                      <a:lnTo>
                        <a:pt x="16" y="2"/>
                      </a:lnTo>
                      <a:lnTo>
                        <a:pt x="20" y="2"/>
                      </a:lnTo>
                      <a:lnTo>
                        <a:pt x="20" y="0"/>
                      </a:lnTo>
                      <a:lnTo>
                        <a:pt x="21" y="2"/>
                      </a:lnTo>
                      <a:lnTo>
                        <a:pt x="23" y="2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32" y="2"/>
                      </a:lnTo>
                      <a:lnTo>
                        <a:pt x="33" y="2"/>
                      </a:lnTo>
                      <a:lnTo>
                        <a:pt x="38" y="0"/>
                      </a:lnTo>
                      <a:lnTo>
                        <a:pt x="40" y="0"/>
                      </a:lnTo>
                      <a:lnTo>
                        <a:pt x="42" y="0"/>
                      </a:lnTo>
                      <a:lnTo>
                        <a:pt x="45" y="0"/>
                      </a:lnTo>
                      <a:lnTo>
                        <a:pt x="45" y="4"/>
                      </a:lnTo>
                      <a:lnTo>
                        <a:pt x="45" y="5"/>
                      </a:lnTo>
                      <a:lnTo>
                        <a:pt x="40" y="9"/>
                      </a:lnTo>
                      <a:lnTo>
                        <a:pt x="38" y="10"/>
                      </a:lnTo>
                      <a:lnTo>
                        <a:pt x="33" y="14"/>
                      </a:lnTo>
                      <a:lnTo>
                        <a:pt x="30" y="17"/>
                      </a:lnTo>
                      <a:lnTo>
                        <a:pt x="30" y="15"/>
                      </a:lnTo>
                      <a:lnTo>
                        <a:pt x="30" y="19"/>
                      </a:lnTo>
                      <a:lnTo>
                        <a:pt x="33" y="19"/>
                      </a:lnTo>
                      <a:lnTo>
                        <a:pt x="32" y="20"/>
                      </a:lnTo>
                      <a:lnTo>
                        <a:pt x="27" y="20"/>
                      </a:lnTo>
                      <a:lnTo>
                        <a:pt x="27" y="22"/>
                      </a:lnTo>
                      <a:lnTo>
                        <a:pt x="30" y="22"/>
                      </a:lnTo>
                      <a:lnTo>
                        <a:pt x="30" y="24"/>
                      </a:lnTo>
                      <a:lnTo>
                        <a:pt x="30" y="26"/>
                      </a:lnTo>
                      <a:lnTo>
                        <a:pt x="32" y="24"/>
                      </a:lnTo>
                      <a:lnTo>
                        <a:pt x="35" y="22"/>
                      </a:lnTo>
                      <a:lnTo>
                        <a:pt x="40" y="20"/>
                      </a:lnTo>
                      <a:lnTo>
                        <a:pt x="43" y="20"/>
                      </a:lnTo>
                      <a:lnTo>
                        <a:pt x="47" y="22"/>
                      </a:lnTo>
                      <a:lnTo>
                        <a:pt x="50" y="20"/>
                      </a:lnTo>
                      <a:lnTo>
                        <a:pt x="52" y="20"/>
                      </a:lnTo>
                      <a:lnTo>
                        <a:pt x="55" y="22"/>
                      </a:lnTo>
                      <a:lnTo>
                        <a:pt x="60" y="20"/>
                      </a:lnTo>
                      <a:lnTo>
                        <a:pt x="64" y="20"/>
                      </a:lnTo>
                      <a:lnTo>
                        <a:pt x="64" y="22"/>
                      </a:lnTo>
                      <a:lnTo>
                        <a:pt x="65" y="24"/>
                      </a:lnTo>
                      <a:lnTo>
                        <a:pt x="65" y="26"/>
                      </a:lnTo>
                      <a:lnTo>
                        <a:pt x="65" y="27"/>
                      </a:lnTo>
                      <a:lnTo>
                        <a:pt x="64" y="29"/>
                      </a:lnTo>
                      <a:lnTo>
                        <a:pt x="64" y="31"/>
                      </a:lnTo>
                      <a:lnTo>
                        <a:pt x="62" y="31"/>
                      </a:lnTo>
                      <a:lnTo>
                        <a:pt x="60" y="34"/>
                      </a:lnTo>
                      <a:lnTo>
                        <a:pt x="60" y="36"/>
                      </a:lnTo>
                      <a:lnTo>
                        <a:pt x="59" y="37"/>
                      </a:lnTo>
                      <a:lnTo>
                        <a:pt x="59" y="39"/>
                      </a:lnTo>
                      <a:lnTo>
                        <a:pt x="59" y="41"/>
                      </a:lnTo>
                      <a:lnTo>
                        <a:pt x="57" y="41"/>
                      </a:lnTo>
                      <a:lnTo>
                        <a:pt x="57" y="42"/>
                      </a:lnTo>
                      <a:lnTo>
                        <a:pt x="55" y="44"/>
                      </a:lnTo>
                      <a:lnTo>
                        <a:pt x="55" y="46"/>
                      </a:lnTo>
                      <a:lnTo>
                        <a:pt x="54" y="47"/>
                      </a:lnTo>
                      <a:lnTo>
                        <a:pt x="52" y="49"/>
                      </a:lnTo>
                      <a:lnTo>
                        <a:pt x="48" y="49"/>
                      </a:lnTo>
                      <a:lnTo>
                        <a:pt x="50" y="51"/>
                      </a:lnTo>
                      <a:lnTo>
                        <a:pt x="52" y="53"/>
                      </a:lnTo>
                      <a:lnTo>
                        <a:pt x="54" y="54"/>
                      </a:lnTo>
                      <a:lnTo>
                        <a:pt x="50" y="54"/>
                      </a:lnTo>
                      <a:lnTo>
                        <a:pt x="48" y="54"/>
                      </a:lnTo>
                      <a:lnTo>
                        <a:pt x="45" y="56"/>
                      </a:lnTo>
                      <a:lnTo>
                        <a:pt x="43" y="56"/>
                      </a:lnTo>
                      <a:lnTo>
                        <a:pt x="43" y="58"/>
                      </a:lnTo>
                      <a:lnTo>
                        <a:pt x="43" y="59"/>
                      </a:lnTo>
                      <a:lnTo>
                        <a:pt x="45" y="59"/>
                      </a:lnTo>
                      <a:lnTo>
                        <a:pt x="47" y="59"/>
                      </a:lnTo>
                      <a:lnTo>
                        <a:pt x="50" y="59"/>
                      </a:lnTo>
                      <a:lnTo>
                        <a:pt x="52" y="58"/>
                      </a:lnTo>
                      <a:lnTo>
                        <a:pt x="54" y="58"/>
                      </a:lnTo>
                      <a:lnTo>
                        <a:pt x="57" y="59"/>
                      </a:lnTo>
                      <a:lnTo>
                        <a:pt x="59" y="61"/>
                      </a:lnTo>
                      <a:lnTo>
                        <a:pt x="62" y="63"/>
                      </a:lnTo>
                      <a:lnTo>
                        <a:pt x="64" y="64"/>
                      </a:lnTo>
                      <a:lnTo>
                        <a:pt x="67" y="68"/>
                      </a:lnTo>
                      <a:lnTo>
                        <a:pt x="70" y="69"/>
                      </a:lnTo>
                      <a:lnTo>
                        <a:pt x="70" y="71"/>
                      </a:lnTo>
                      <a:lnTo>
                        <a:pt x="70" y="73"/>
                      </a:lnTo>
                      <a:lnTo>
                        <a:pt x="70" y="74"/>
                      </a:lnTo>
                      <a:lnTo>
                        <a:pt x="70" y="78"/>
                      </a:lnTo>
                      <a:lnTo>
                        <a:pt x="72" y="79"/>
                      </a:lnTo>
                      <a:lnTo>
                        <a:pt x="74" y="83"/>
                      </a:lnTo>
                      <a:lnTo>
                        <a:pt x="75" y="86"/>
                      </a:lnTo>
                      <a:lnTo>
                        <a:pt x="77" y="88"/>
                      </a:lnTo>
                      <a:lnTo>
                        <a:pt x="77" y="90"/>
                      </a:lnTo>
                      <a:lnTo>
                        <a:pt x="82" y="90"/>
                      </a:lnTo>
                      <a:lnTo>
                        <a:pt x="84" y="91"/>
                      </a:lnTo>
                      <a:lnTo>
                        <a:pt x="87" y="95"/>
                      </a:lnTo>
                      <a:lnTo>
                        <a:pt x="89" y="96"/>
                      </a:lnTo>
                      <a:lnTo>
                        <a:pt x="91" y="100"/>
                      </a:lnTo>
                      <a:lnTo>
                        <a:pt x="92" y="103"/>
                      </a:lnTo>
                      <a:lnTo>
                        <a:pt x="94" y="105"/>
                      </a:lnTo>
                      <a:lnTo>
                        <a:pt x="96" y="106"/>
                      </a:lnTo>
                      <a:lnTo>
                        <a:pt x="97" y="110"/>
                      </a:lnTo>
                      <a:lnTo>
                        <a:pt x="96" y="110"/>
                      </a:lnTo>
                      <a:lnTo>
                        <a:pt x="94" y="110"/>
                      </a:lnTo>
                      <a:lnTo>
                        <a:pt x="92" y="110"/>
                      </a:lnTo>
                      <a:lnTo>
                        <a:pt x="91" y="108"/>
                      </a:lnTo>
                      <a:lnTo>
                        <a:pt x="89" y="108"/>
                      </a:lnTo>
                      <a:lnTo>
                        <a:pt x="91" y="110"/>
                      </a:lnTo>
                      <a:lnTo>
                        <a:pt x="92" y="112"/>
                      </a:lnTo>
                      <a:lnTo>
                        <a:pt x="94" y="112"/>
                      </a:lnTo>
                      <a:lnTo>
                        <a:pt x="96" y="113"/>
                      </a:lnTo>
                      <a:lnTo>
                        <a:pt x="97" y="115"/>
                      </a:lnTo>
                      <a:lnTo>
                        <a:pt x="99" y="117"/>
                      </a:lnTo>
                      <a:lnTo>
                        <a:pt x="99" y="118"/>
                      </a:lnTo>
                      <a:lnTo>
                        <a:pt x="99" y="120"/>
                      </a:lnTo>
                      <a:lnTo>
                        <a:pt x="99" y="122"/>
                      </a:lnTo>
                      <a:lnTo>
                        <a:pt x="97" y="123"/>
                      </a:lnTo>
                      <a:lnTo>
                        <a:pt x="96" y="125"/>
                      </a:lnTo>
                      <a:lnTo>
                        <a:pt x="94" y="127"/>
                      </a:lnTo>
                      <a:lnTo>
                        <a:pt x="96" y="127"/>
                      </a:lnTo>
                      <a:lnTo>
                        <a:pt x="97" y="127"/>
                      </a:lnTo>
                      <a:lnTo>
                        <a:pt x="99" y="127"/>
                      </a:lnTo>
                      <a:lnTo>
                        <a:pt x="99" y="128"/>
                      </a:lnTo>
                      <a:lnTo>
                        <a:pt x="101" y="127"/>
                      </a:lnTo>
                      <a:lnTo>
                        <a:pt x="102" y="125"/>
                      </a:lnTo>
                      <a:lnTo>
                        <a:pt x="106" y="125"/>
                      </a:lnTo>
                      <a:lnTo>
                        <a:pt x="109" y="123"/>
                      </a:lnTo>
                      <a:lnTo>
                        <a:pt x="113" y="125"/>
                      </a:lnTo>
                      <a:lnTo>
                        <a:pt x="114" y="125"/>
                      </a:lnTo>
                      <a:lnTo>
                        <a:pt x="118" y="127"/>
                      </a:lnTo>
                      <a:lnTo>
                        <a:pt x="121" y="130"/>
                      </a:lnTo>
                      <a:lnTo>
                        <a:pt x="121" y="133"/>
                      </a:lnTo>
                      <a:lnTo>
                        <a:pt x="121" y="137"/>
                      </a:lnTo>
                      <a:lnTo>
                        <a:pt x="119" y="142"/>
                      </a:lnTo>
                      <a:lnTo>
                        <a:pt x="118" y="144"/>
                      </a:lnTo>
                      <a:lnTo>
                        <a:pt x="114" y="145"/>
                      </a:lnTo>
                      <a:lnTo>
                        <a:pt x="114" y="147"/>
                      </a:lnTo>
                      <a:lnTo>
                        <a:pt x="114" y="149"/>
                      </a:lnTo>
                      <a:lnTo>
                        <a:pt x="111" y="149"/>
                      </a:lnTo>
                      <a:lnTo>
                        <a:pt x="109" y="149"/>
                      </a:lnTo>
                      <a:lnTo>
                        <a:pt x="107" y="149"/>
                      </a:lnTo>
                      <a:lnTo>
                        <a:pt x="106" y="150"/>
                      </a:lnTo>
                      <a:lnTo>
                        <a:pt x="107" y="150"/>
                      </a:lnTo>
                      <a:lnTo>
                        <a:pt x="109" y="150"/>
                      </a:lnTo>
                      <a:lnTo>
                        <a:pt x="107" y="152"/>
                      </a:lnTo>
                      <a:lnTo>
                        <a:pt x="107" y="154"/>
                      </a:lnTo>
                      <a:lnTo>
                        <a:pt x="104" y="154"/>
                      </a:lnTo>
                      <a:lnTo>
                        <a:pt x="106" y="155"/>
                      </a:lnTo>
                      <a:lnTo>
                        <a:pt x="106" y="159"/>
                      </a:lnTo>
                      <a:lnTo>
                        <a:pt x="109" y="159"/>
                      </a:lnTo>
                      <a:lnTo>
                        <a:pt x="113" y="159"/>
                      </a:lnTo>
                      <a:lnTo>
                        <a:pt x="116" y="159"/>
                      </a:lnTo>
                      <a:lnTo>
                        <a:pt x="116" y="162"/>
                      </a:lnTo>
                      <a:lnTo>
                        <a:pt x="113" y="164"/>
                      </a:lnTo>
                      <a:lnTo>
                        <a:pt x="109" y="165"/>
                      </a:lnTo>
                      <a:lnTo>
                        <a:pt x="107" y="167"/>
                      </a:lnTo>
                      <a:lnTo>
                        <a:pt x="104" y="167"/>
                      </a:lnTo>
                      <a:lnTo>
                        <a:pt x="99" y="169"/>
                      </a:lnTo>
                      <a:lnTo>
                        <a:pt x="96" y="169"/>
                      </a:lnTo>
                      <a:lnTo>
                        <a:pt x="92" y="169"/>
                      </a:lnTo>
                      <a:lnTo>
                        <a:pt x="91" y="169"/>
                      </a:lnTo>
                      <a:lnTo>
                        <a:pt x="84" y="171"/>
                      </a:lnTo>
                      <a:lnTo>
                        <a:pt x="82" y="171"/>
                      </a:lnTo>
                      <a:lnTo>
                        <a:pt x="80" y="169"/>
                      </a:lnTo>
                      <a:lnTo>
                        <a:pt x="79" y="169"/>
                      </a:lnTo>
                      <a:lnTo>
                        <a:pt x="77" y="169"/>
                      </a:lnTo>
                      <a:lnTo>
                        <a:pt x="75" y="169"/>
                      </a:lnTo>
                      <a:lnTo>
                        <a:pt x="74" y="167"/>
                      </a:lnTo>
                      <a:lnTo>
                        <a:pt x="74" y="169"/>
                      </a:lnTo>
                      <a:lnTo>
                        <a:pt x="72" y="171"/>
                      </a:lnTo>
                      <a:lnTo>
                        <a:pt x="70" y="171"/>
                      </a:lnTo>
                      <a:lnTo>
                        <a:pt x="67" y="171"/>
                      </a:lnTo>
                      <a:lnTo>
                        <a:pt x="64" y="171"/>
                      </a:lnTo>
                      <a:lnTo>
                        <a:pt x="64" y="172"/>
                      </a:lnTo>
                      <a:lnTo>
                        <a:pt x="62" y="174"/>
                      </a:lnTo>
                      <a:lnTo>
                        <a:pt x="59" y="172"/>
                      </a:lnTo>
                      <a:lnTo>
                        <a:pt x="57" y="174"/>
                      </a:lnTo>
                      <a:lnTo>
                        <a:pt x="55" y="174"/>
                      </a:lnTo>
                      <a:lnTo>
                        <a:pt x="54" y="172"/>
                      </a:lnTo>
                      <a:lnTo>
                        <a:pt x="52" y="172"/>
                      </a:lnTo>
                      <a:lnTo>
                        <a:pt x="50" y="171"/>
                      </a:lnTo>
                      <a:lnTo>
                        <a:pt x="47" y="172"/>
                      </a:lnTo>
                      <a:lnTo>
                        <a:pt x="43" y="172"/>
                      </a:lnTo>
                      <a:lnTo>
                        <a:pt x="42" y="172"/>
                      </a:lnTo>
                      <a:lnTo>
                        <a:pt x="40" y="172"/>
                      </a:lnTo>
                      <a:lnTo>
                        <a:pt x="40" y="176"/>
                      </a:lnTo>
                      <a:lnTo>
                        <a:pt x="38" y="179"/>
                      </a:lnTo>
                      <a:lnTo>
                        <a:pt x="37" y="181"/>
                      </a:lnTo>
                      <a:lnTo>
                        <a:pt x="35" y="181"/>
                      </a:lnTo>
                      <a:lnTo>
                        <a:pt x="33" y="179"/>
                      </a:lnTo>
                      <a:lnTo>
                        <a:pt x="32" y="179"/>
                      </a:lnTo>
                      <a:lnTo>
                        <a:pt x="30" y="179"/>
                      </a:lnTo>
                      <a:lnTo>
                        <a:pt x="28" y="179"/>
                      </a:lnTo>
                      <a:lnTo>
                        <a:pt x="27" y="179"/>
                      </a:lnTo>
                      <a:lnTo>
                        <a:pt x="23" y="179"/>
                      </a:lnTo>
                      <a:lnTo>
                        <a:pt x="21" y="179"/>
                      </a:lnTo>
                      <a:lnTo>
                        <a:pt x="20" y="181"/>
                      </a:lnTo>
                      <a:lnTo>
                        <a:pt x="16" y="182"/>
                      </a:lnTo>
                      <a:lnTo>
                        <a:pt x="15" y="184"/>
                      </a:lnTo>
                      <a:lnTo>
                        <a:pt x="15" y="186"/>
                      </a:lnTo>
                      <a:lnTo>
                        <a:pt x="13" y="184"/>
                      </a:lnTo>
                      <a:lnTo>
                        <a:pt x="11" y="184"/>
                      </a:lnTo>
                      <a:lnTo>
                        <a:pt x="8" y="184"/>
                      </a:lnTo>
                      <a:lnTo>
                        <a:pt x="6" y="186"/>
                      </a:lnTo>
                      <a:lnTo>
                        <a:pt x="6" y="184"/>
                      </a:lnTo>
                      <a:lnTo>
                        <a:pt x="8" y="182"/>
                      </a:lnTo>
                      <a:lnTo>
                        <a:pt x="10" y="181"/>
                      </a:lnTo>
                      <a:lnTo>
                        <a:pt x="13" y="181"/>
                      </a:lnTo>
                      <a:lnTo>
                        <a:pt x="15" y="177"/>
                      </a:lnTo>
                      <a:lnTo>
                        <a:pt x="16" y="176"/>
                      </a:lnTo>
                      <a:lnTo>
                        <a:pt x="20" y="172"/>
                      </a:lnTo>
                      <a:lnTo>
                        <a:pt x="23" y="169"/>
                      </a:lnTo>
                      <a:lnTo>
                        <a:pt x="27" y="165"/>
                      </a:lnTo>
                      <a:lnTo>
                        <a:pt x="28" y="164"/>
                      </a:lnTo>
                      <a:lnTo>
                        <a:pt x="30" y="162"/>
                      </a:lnTo>
                      <a:lnTo>
                        <a:pt x="35" y="160"/>
                      </a:lnTo>
                      <a:lnTo>
                        <a:pt x="38" y="160"/>
                      </a:lnTo>
                      <a:lnTo>
                        <a:pt x="43" y="160"/>
                      </a:lnTo>
                      <a:lnTo>
                        <a:pt x="47" y="160"/>
                      </a:lnTo>
                      <a:lnTo>
                        <a:pt x="48" y="159"/>
                      </a:lnTo>
                      <a:lnTo>
                        <a:pt x="48" y="157"/>
                      </a:lnTo>
                      <a:lnTo>
                        <a:pt x="50" y="155"/>
                      </a:lnTo>
                      <a:lnTo>
                        <a:pt x="54" y="154"/>
                      </a:lnTo>
                      <a:lnTo>
                        <a:pt x="55" y="152"/>
                      </a:lnTo>
                      <a:lnTo>
                        <a:pt x="54" y="150"/>
                      </a:lnTo>
                      <a:lnTo>
                        <a:pt x="52" y="150"/>
                      </a:lnTo>
                      <a:lnTo>
                        <a:pt x="50" y="152"/>
                      </a:lnTo>
                      <a:lnTo>
                        <a:pt x="48" y="154"/>
                      </a:lnTo>
                      <a:lnTo>
                        <a:pt x="47" y="154"/>
                      </a:lnTo>
                      <a:lnTo>
                        <a:pt x="45" y="155"/>
                      </a:lnTo>
                      <a:lnTo>
                        <a:pt x="43" y="157"/>
                      </a:lnTo>
                      <a:lnTo>
                        <a:pt x="40" y="157"/>
                      </a:lnTo>
                      <a:lnTo>
                        <a:pt x="38" y="157"/>
                      </a:lnTo>
                      <a:lnTo>
                        <a:pt x="38" y="155"/>
                      </a:lnTo>
                      <a:lnTo>
                        <a:pt x="35" y="154"/>
                      </a:lnTo>
                      <a:lnTo>
                        <a:pt x="35" y="152"/>
                      </a:lnTo>
                      <a:lnTo>
                        <a:pt x="33" y="152"/>
                      </a:lnTo>
                      <a:lnTo>
                        <a:pt x="32" y="154"/>
                      </a:lnTo>
                      <a:lnTo>
                        <a:pt x="28" y="154"/>
                      </a:lnTo>
                      <a:lnTo>
                        <a:pt x="27" y="152"/>
                      </a:lnTo>
                      <a:lnTo>
                        <a:pt x="27" y="150"/>
                      </a:lnTo>
                      <a:lnTo>
                        <a:pt x="27" y="149"/>
                      </a:lnTo>
                      <a:lnTo>
                        <a:pt x="25" y="149"/>
                      </a:lnTo>
                      <a:lnTo>
                        <a:pt x="21" y="150"/>
                      </a:lnTo>
                      <a:lnTo>
                        <a:pt x="20" y="152"/>
                      </a:lnTo>
                      <a:lnTo>
                        <a:pt x="18" y="152"/>
                      </a:lnTo>
                      <a:lnTo>
                        <a:pt x="16" y="152"/>
                      </a:lnTo>
                      <a:lnTo>
                        <a:pt x="15" y="152"/>
                      </a:lnTo>
                      <a:lnTo>
                        <a:pt x="15" y="150"/>
                      </a:lnTo>
                      <a:lnTo>
                        <a:pt x="13" y="149"/>
                      </a:lnTo>
                      <a:lnTo>
                        <a:pt x="13" y="147"/>
                      </a:lnTo>
                      <a:lnTo>
                        <a:pt x="15" y="147"/>
                      </a:lnTo>
                      <a:lnTo>
                        <a:pt x="18" y="145"/>
                      </a:lnTo>
                      <a:lnTo>
                        <a:pt x="21" y="144"/>
                      </a:lnTo>
                      <a:lnTo>
                        <a:pt x="23" y="142"/>
                      </a:lnTo>
                      <a:lnTo>
                        <a:pt x="27" y="140"/>
                      </a:lnTo>
                      <a:lnTo>
                        <a:pt x="30" y="138"/>
                      </a:lnTo>
                      <a:lnTo>
                        <a:pt x="32" y="135"/>
                      </a:lnTo>
                      <a:lnTo>
                        <a:pt x="33" y="133"/>
                      </a:lnTo>
                      <a:lnTo>
                        <a:pt x="32" y="132"/>
                      </a:lnTo>
                      <a:lnTo>
                        <a:pt x="30" y="132"/>
                      </a:lnTo>
                      <a:lnTo>
                        <a:pt x="30" y="130"/>
                      </a:lnTo>
                      <a:lnTo>
                        <a:pt x="30" y="127"/>
                      </a:lnTo>
                      <a:lnTo>
                        <a:pt x="30" y="125"/>
                      </a:lnTo>
                      <a:lnTo>
                        <a:pt x="27" y="125"/>
                      </a:lnTo>
                      <a:lnTo>
                        <a:pt x="23" y="127"/>
                      </a:lnTo>
                      <a:lnTo>
                        <a:pt x="21" y="127"/>
                      </a:lnTo>
                      <a:lnTo>
                        <a:pt x="25" y="123"/>
                      </a:lnTo>
                      <a:lnTo>
                        <a:pt x="28" y="122"/>
                      </a:lnTo>
                      <a:lnTo>
                        <a:pt x="32" y="118"/>
                      </a:lnTo>
                      <a:lnTo>
                        <a:pt x="35" y="117"/>
                      </a:lnTo>
                      <a:lnTo>
                        <a:pt x="40" y="117"/>
                      </a:lnTo>
                      <a:lnTo>
                        <a:pt x="43" y="117"/>
                      </a:lnTo>
                      <a:lnTo>
                        <a:pt x="47" y="117"/>
                      </a:lnTo>
                      <a:lnTo>
                        <a:pt x="48" y="115"/>
                      </a:lnTo>
                      <a:lnTo>
                        <a:pt x="48" y="113"/>
                      </a:lnTo>
                      <a:lnTo>
                        <a:pt x="47" y="113"/>
                      </a:lnTo>
                      <a:lnTo>
                        <a:pt x="47" y="112"/>
                      </a:lnTo>
                      <a:lnTo>
                        <a:pt x="48" y="110"/>
                      </a:lnTo>
                      <a:lnTo>
                        <a:pt x="50" y="108"/>
                      </a:lnTo>
                      <a:lnTo>
                        <a:pt x="48" y="106"/>
                      </a:lnTo>
                      <a:lnTo>
                        <a:pt x="47" y="106"/>
                      </a:lnTo>
                      <a:lnTo>
                        <a:pt x="48" y="105"/>
                      </a:lnTo>
                      <a:lnTo>
                        <a:pt x="50" y="103"/>
                      </a:lnTo>
                      <a:lnTo>
                        <a:pt x="50" y="101"/>
                      </a:lnTo>
                      <a:lnTo>
                        <a:pt x="50" y="98"/>
                      </a:lnTo>
                      <a:lnTo>
                        <a:pt x="52" y="98"/>
                      </a:lnTo>
                      <a:lnTo>
                        <a:pt x="50" y="96"/>
                      </a:lnTo>
                      <a:lnTo>
                        <a:pt x="48" y="100"/>
                      </a:lnTo>
                      <a:lnTo>
                        <a:pt x="45" y="100"/>
                      </a:lnTo>
                      <a:lnTo>
                        <a:pt x="43" y="100"/>
                      </a:lnTo>
                      <a:lnTo>
                        <a:pt x="43" y="98"/>
                      </a:lnTo>
                      <a:lnTo>
                        <a:pt x="42" y="98"/>
                      </a:lnTo>
                      <a:lnTo>
                        <a:pt x="42" y="96"/>
                      </a:lnTo>
                      <a:lnTo>
                        <a:pt x="42" y="98"/>
                      </a:lnTo>
                      <a:lnTo>
                        <a:pt x="40" y="96"/>
                      </a:lnTo>
                      <a:lnTo>
                        <a:pt x="40" y="95"/>
                      </a:lnTo>
                      <a:lnTo>
                        <a:pt x="38" y="93"/>
                      </a:lnTo>
                      <a:lnTo>
                        <a:pt x="38" y="91"/>
                      </a:lnTo>
                      <a:lnTo>
                        <a:pt x="38" y="90"/>
                      </a:lnTo>
                      <a:lnTo>
                        <a:pt x="40" y="88"/>
                      </a:lnTo>
                      <a:lnTo>
                        <a:pt x="40" y="86"/>
                      </a:lnTo>
                      <a:lnTo>
                        <a:pt x="42" y="85"/>
                      </a:lnTo>
                      <a:lnTo>
                        <a:pt x="43" y="83"/>
                      </a:lnTo>
                      <a:lnTo>
                        <a:pt x="45" y="83"/>
                      </a:lnTo>
                      <a:lnTo>
                        <a:pt x="47" y="81"/>
                      </a:lnTo>
                      <a:lnTo>
                        <a:pt x="43" y="81"/>
                      </a:lnTo>
                      <a:lnTo>
                        <a:pt x="42" y="81"/>
                      </a:lnTo>
                      <a:lnTo>
                        <a:pt x="40" y="81"/>
                      </a:lnTo>
                      <a:lnTo>
                        <a:pt x="38" y="83"/>
                      </a:lnTo>
                      <a:lnTo>
                        <a:pt x="37" y="83"/>
                      </a:lnTo>
                      <a:lnTo>
                        <a:pt x="35" y="83"/>
                      </a:lnTo>
                      <a:lnTo>
                        <a:pt x="35" y="85"/>
                      </a:lnTo>
                      <a:lnTo>
                        <a:pt x="33" y="85"/>
                      </a:lnTo>
                      <a:lnTo>
                        <a:pt x="30" y="85"/>
                      </a:lnTo>
                      <a:lnTo>
                        <a:pt x="28" y="85"/>
                      </a:lnTo>
                      <a:lnTo>
                        <a:pt x="27" y="85"/>
                      </a:lnTo>
                      <a:lnTo>
                        <a:pt x="27" y="86"/>
                      </a:lnTo>
                      <a:lnTo>
                        <a:pt x="25" y="88"/>
                      </a:lnTo>
                      <a:lnTo>
                        <a:pt x="23" y="86"/>
                      </a:lnTo>
                      <a:lnTo>
                        <a:pt x="21" y="85"/>
                      </a:lnTo>
                      <a:lnTo>
                        <a:pt x="18" y="85"/>
                      </a:lnTo>
                      <a:lnTo>
                        <a:pt x="18" y="88"/>
                      </a:lnTo>
                      <a:lnTo>
                        <a:pt x="16" y="88"/>
                      </a:lnTo>
                      <a:lnTo>
                        <a:pt x="15" y="85"/>
                      </a:lnTo>
                      <a:lnTo>
                        <a:pt x="13" y="83"/>
                      </a:lnTo>
                      <a:lnTo>
                        <a:pt x="15" y="81"/>
                      </a:lnTo>
                      <a:lnTo>
                        <a:pt x="16" y="83"/>
                      </a:lnTo>
                      <a:lnTo>
                        <a:pt x="16" y="79"/>
                      </a:lnTo>
                      <a:lnTo>
                        <a:pt x="16" y="78"/>
                      </a:lnTo>
                      <a:lnTo>
                        <a:pt x="18" y="74"/>
                      </a:lnTo>
                      <a:lnTo>
                        <a:pt x="20" y="73"/>
                      </a:lnTo>
                      <a:lnTo>
                        <a:pt x="21" y="69"/>
                      </a:lnTo>
                      <a:lnTo>
                        <a:pt x="21" y="68"/>
                      </a:lnTo>
                      <a:lnTo>
                        <a:pt x="20" y="66"/>
                      </a:lnTo>
                      <a:lnTo>
                        <a:pt x="18" y="66"/>
                      </a:lnTo>
                      <a:lnTo>
                        <a:pt x="18" y="64"/>
                      </a:lnTo>
                      <a:lnTo>
                        <a:pt x="18" y="63"/>
                      </a:lnTo>
                      <a:lnTo>
                        <a:pt x="20" y="61"/>
                      </a:lnTo>
                      <a:lnTo>
                        <a:pt x="20" y="59"/>
                      </a:lnTo>
                      <a:lnTo>
                        <a:pt x="21" y="59"/>
                      </a:lnTo>
                      <a:lnTo>
                        <a:pt x="20" y="58"/>
                      </a:lnTo>
                      <a:lnTo>
                        <a:pt x="18" y="58"/>
                      </a:lnTo>
                      <a:lnTo>
                        <a:pt x="16" y="58"/>
                      </a:lnTo>
                      <a:lnTo>
                        <a:pt x="16" y="59"/>
                      </a:lnTo>
                      <a:lnTo>
                        <a:pt x="16" y="61"/>
                      </a:lnTo>
                      <a:lnTo>
                        <a:pt x="15" y="59"/>
                      </a:lnTo>
                      <a:lnTo>
                        <a:pt x="13" y="61"/>
                      </a:lnTo>
                      <a:lnTo>
                        <a:pt x="11" y="63"/>
                      </a:lnTo>
                      <a:lnTo>
                        <a:pt x="11" y="61"/>
                      </a:lnTo>
                      <a:lnTo>
                        <a:pt x="11" y="59"/>
                      </a:lnTo>
                      <a:lnTo>
                        <a:pt x="13" y="58"/>
                      </a:lnTo>
                      <a:lnTo>
                        <a:pt x="15" y="56"/>
                      </a:lnTo>
                      <a:lnTo>
                        <a:pt x="15" y="54"/>
                      </a:lnTo>
                      <a:lnTo>
                        <a:pt x="13" y="54"/>
                      </a:lnTo>
                      <a:lnTo>
                        <a:pt x="11" y="56"/>
                      </a:lnTo>
                      <a:lnTo>
                        <a:pt x="11" y="58"/>
                      </a:lnTo>
                      <a:lnTo>
                        <a:pt x="10" y="58"/>
                      </a:lnTo>
                      <a:lnTo>
                        <a:pt x="10" y="59"/>
                      </a:lnTo>
                      <a:lnTo>
                        <a:pt x="11" y="61"/>
                      </a:lnTo>
                      <a:lnTo>
                        <a:pt x="11" y="63"/>
                      </a:lnTo>
                      <a:lnTo>
                        <a:pt x="11" y="64"/>
                      </a:lnTo>
                      <a:lnTo>
                        <a:pt x="10" y="66"/>
                      </a:lnTo>
                      <a:lnTo>
                        <a:pt x="10" y="68"/>
                      </a:lnTo>
                      <a:lnTo>
                        <a:pt x="8" y="69"/>
                      </a:lnTo>
                      <a:lnTo>
                        <a:pt x="6" y="73"/>
                      </a:lnTo>
                      <a:lnTo>
                        <a:pt x="6" y="74"/>
                      </a:lnTo>
                      <a:lnTo>
                        <a:pt x="5" y="74"/>
                      </a:lnTo>
                      <a:lnTo>
                        <a:pt x="5" y="73"/>
                      </a:lnTo>
                      <a:lnTo>
                        <a:pt x="5" y="71"/>
                      </a:lnTo>
                      <a:lnTo>
                        <a:pt x="5" y="69"/>
                      </a:lnTo>
                      <a:lnTo>
                        <a:pt x="6" y="68"/>
                      </a:lnTo>
                      <a:lnTo>
                        <a:pt x="8" y="66"/>
                      </a:lnTo>
                      <a:lnTo>
                        <a:pt x="8" y="64"/>
                      </a:lnTo>
                      <a:lnTo>
                        <a:pt x="8" y="63"/>
                      </a:lnTo>
                      <a:lnTo>
                        <a:pt x="6" y="63"/>
                      </a:lnTo>
                      <a:lnTo>
                        <a:pt x="6" y="61"/>
                      </a:lnTo>
                      <a:lnTo>
                        <a:pt x="6" y="59"/>
                      </a:lnTo>
                      <a:lnTo>
                        <a:pt x="6" y="58"/>
                      </a:lnTo>
                      <a:lnTo>
                        <a:pt x="8" y="56"/>
                      </a:lnTo>
                      <a:lnTo>
                        <a:pt x="8" y="54"/>
                      </a:lnTo>
                      <a:lnTo>
                        <a:pt x="8" y="53"/>
                      </a:lnTo>
                      <a:lnTo>
                        <a:pt x="10" y="51"/>
                      </a:lnTo>
                      <a:lnTo>
                        <a:pt x="10" y="49"/>
                      </a:lnTo>
                      <a:lnTo>
                        <a:pt x="11" y="47"/>
                      </a:lnTo>
                      <a:lnTo>
                        <a:pt x="11" y="46"/>
                      </a:lnTo>
                      <a:lnTo>
                        <a:pt x="11" y="44"/>
                      </a:lnTo>
                      <a:lnTo>
                        <a:pt x="10" y="46"/>
                      </a:lnTo>
                      <a:lnTo>
                        <a:pt x="8" y="47"/>
                      </a:lnTo>
                      <a:lnTo>
                        <a:pt x="6" y="47"/>
                      </a:lnTo>
                      <a:lnTo>
                        <a:pt x="6" y="49"/>
                      </a:lnTo>
                      <a:lnTo>
                        <a:pt x="5" y="47"/>
                      </a:lnTo>
                      <a:lnTo>
                        <a:pt x="3" y="47"/>
                      </a:lnTo>
                      <a:lnTo>
                        <a:pt x="1" y="46"/>
                      </a:lnTo>
                      <a:lnTo>
                        <a:pt x="1" y="44"/>
                      </a:lnTo>
                      <a:lnTo>
                        <a:pt x="0" y="44"/>
                      </a:lnTo>
                      <a:lnTo>
                        <a:pt x="0" y="42"/>
                      </a:lnTo>
                      <a:lnTo>
                        <a:pt x="1" y="42"/>
                      </a:lnTo>
                      <a:lnTo>
                        <a:pt x="3" y="42"/>
                      </a:lnTo>
                      <a:lnTo>
                        <a:pt x="3" y="41"/>
                      </a:lnTo>
                      <a:lnTo>
                        <a:pt x="3" y="39"/>
                      </a:lnTo>
                      <a:lnTo>
                        <a:pt x="5" y="37"/>
                      </a:lnTo>
                      <a:lnTo>
                        <a:pt x="5" y="36"/>
                      </a:lnTo>
                      <a:lnTo>
                        <a:pt x="6" y="34"/>
                      </a:lnTo>
                      <a:lnTo>
                        <a:pt x="6" y="32"/>
                      </a:lnTo>
                      <a:lnTo>
                        <a:pt x="8" y="31"/>
                      </a:lnTo>
                      <a:lnTo>
                        <a:pt x="8" y="29"/>
                      </a:lnTo>
                      <a:lnTo>
                        <a:pt x="6" y="29"/>
                      </a:lnTo>
                      <a:lnTo>
                        <a:pt x="8" y="29"/>
                      </a:lnTo>
                      <a:lnTo>
                        <a:pt x="8" y="27"/>
                      </a:lnTo>
                      <a:lnTo>
                        <a:pt x="5" y="29"/>
                      </a:lnTo>
                      <a:lnTo>
                        <a:pt x="3" y="29"/>
                      </a:lnTo>
                      <a:lnTo>
                        <a:pt x="3" y="27"/>
                      </a:lnTo>
                      <a:lnTo>
                        <a:pt x="3" y="26"/>
                      </a:lnTo>
                      <a:lnTo>
                        <a:pt x="5" y="24"/>
                      </a:lnTo>
                      <a:lnTo>
                        <a:pt x="6" y="24"/>
                      </a:lnTo>
                      <a:lnTo>
                        <a:pt x="5" y="24"/>
                      </a:lnTo>
                      <a:lnTo>
                        <a:pt x="5" y="22"/>
                      </a:lnTo>
                      <a:lnTo>
                        <a:pt x="5" y="20"/>
                      </a:lnTo>
                      <a:lnTo>
                        <a:pt x="5" y="19"/>
                      </a:lnTo>
                      <a:lnTo>
                        <a:pt x="6" y="19"/>
                      </a:lnTo>
                      <a:lnTo>
                        <a:pt x="6" y="17"/>
                      </a:lnTo>
                      <a:lnTo>
                        <a:pt x="8" y="17"/>
                      </a:lnTo>
                      <a:lnTo>
                        <a:pt x="10" y="17"/>
                      </a:lnTo>
                      <a:lnTo>
                        <a:pt x="11" y="15"/>
                      </a:lnTo>
                      <a:lnTo>
                        <a:pt x="13" y="15"/>
                      </a:lnTo>
                      <a:lnTo>
                        <a:pt x="11" y="14"/>
                      </a:lnTo>
                      <a:lnTo>
                        <a:pt x="10" y="14"/>
                      </a:lnTo>
                      <a:lnTo>
                        <a:pt x="10" y="12"/>
                      </a:lnTo>
                      <a:lnTo>
                        <a:pt x="11" y="12"/>
                      </a:lnTo>
                      <a:lnTo>
                        <a:pt x="11" y="10"/>
                      </a:lnTo>
                      <a:lnTo>
                        <a:pt x="11" y="9"/>
                      </a:lnTo>
                      <a:close/>
                    </a:path>
                  </a:pathLst>
                </a:custGeom>
                <a:solidFill>
                  <a:srgbClr val="EB1562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7" name="Group 1706">
                <a:extLst>
                  <a:ext uri="{FF2B5EF4-FFF2-40B4-BE49-F238E27FC236}">
                    <a16:creationId xmlns:a16="http://schemas.microsoft.com/office/drawing/2014/main" id="{FDB47648-A059-4A45-A146-4BA8742E02A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40" y="489"/>
                <a:ext cx="5" cy="3"/>
                <a:chOff x="140" y="489"/>
                <a:chExt cx="5" cy="3"/>
              </a:xfrm>
            </p:grpSpPr>
            <p:sp>
              <p:nvSpPr>
                <p:cNvPr id="1729" name="Freeform 103">
                  <a:extLst>
                    <a:ext uri="{FF2B5EF4-FFF2-40B4-BE49-F238E27FC236}">
                      <a16:creationId xmlns:a16="http://schemas.microsoft.com/office/drawing/2014/main" id="{9C7E97B0-41E8-134F-AD7F-7E51F8AE88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0" y="489"/>
                  <a:ext cx="5" cy="3"/>
                </a:xfrm>
                <a:custGeom>
                  <a:avLst/>
                  <a:gdLst>
                    <a:gd name="T0" fmla="*/ 5 w 5"/>
                    <a:gd name="T1" fmla="*/ 1 h 3"/>
                    <a:gd name="T2" fmla="*/ 3 w 5"/>
                    <a:gd name="T3" fmla="*/ 3 h 3"/>
                    <a:gd name="T4" fmla="*/ 2 w 5"/>
                    <a:gd name="T5" fmla="*/ 3 h 3"/>
                    <a:gd name="T6" fmla="*/ 0 w 5"/>
                    <a:gd name="T7" fmla="*/ 1 h 3"/>
                    <a:gd name="T8" fmla="*/ 2 w 5"/>
                    <a:gd name="T9" fmla="*/ 0 h 3"/>
                    <a:gd name="T10" fmla="*/ 3 w 5"/>
                    <a:gd name="T11" fmla="*/ 0 h 3"/>
                    <a:gd name="T12" fmla="*/ 5 w 5"/>
                    <a:gd name="T13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3">
                      <a:moveTo>
                        <a:pt x="5" y="1"/>
                      </a:move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0" name="Freeform 104">
                  <a:extLst>
                    <a:ext uri="{FF2B5EF4-FFF2-40B4-BE49-F238E27FC236}">
                      <a16:creationId xmlns:a16="http://schemas.microsoft.com/office/drawing/2014/main" id="{4F668DA3-1CE5-AF42-AB38-8543B314E6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0" y="489"/>
                  <a:ext cx="5" cy="3"/>
                </a:xfrm>
                <a:custGeom>
                  <a:avLst/>
                  <a:gdLst>
                    <a:gd name="T0" fmla="*/ 5 w 5"/>
                    <a:gd name="T1" fmla="*/ 1 h 3"/>
                    <a:gd name="T2" fmla="*/ 3 w 5"/>
                    <a:gd name="T3" fmla="*/ 3 h 3"/>
                    <a:gd name="T4" fmla="*/ 2 w 5"/>
                    <a:gd name="T5" fmla="*/ 3 h 3"/>
                    <a:gd name="T6" fmla="*/ 0 w 5"/>
                    <a:gd name="T7" fmla="*/ 1 h 3"/>
                    <a:gd name="T8" fmla="*/ 2 w 5"/>
                    <a:gd name="T9" fmla="*/ 0 h 3"/>
                    <a:gd name="T10" fmla="*/ 3 w 5"/>
                    <a:gd name="T11" fmla="*/ 0 h 3"/>
                    <a:gd name="T12" fmla="*/ 5 w 5"/>
                    <a:gd name="T13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3">
                      <a:moveTo>
                        <a:pt x="5" y="1"/>
                      </a:move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8" name="Group 1707">
                <a:extLst>
                  <a:ext uri="{FF2B5EF4-FFF2-40B4-BE49-F238E27FC236}">
                    <a16:creationId xmlns:a16="http://schemas.microsoft.com/office/drawing/2014/main" id="{525F8905-8F4F-634F-9EA6-9ED448329C5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93" y="433"/>
                <a:ext cx="5" cy="3"/>
                <a:chOff x="93" y="433"/>
                <a:chExt cx="5" cy="3"/>
              </a:xfrm>
            </p:grpSpPr>
            <p:sp>
              <p:nvSpPr>
                <p:cNvPr id="1727" name="Freeform 101">
                  <a:extLst>
                    <a:ext uri="{FF2B5EF4-FFF2-40B4-BE49-F238E27FC236}">
                      <a16:creationId xmlns:a16="http://schemas.microsoft.com/office/drawing/2014/main" id="{BD59EB38-D997-F545-87C7-D841E7389D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" y="433"/>
                  <a:ext cx="5" cy="3"/>
                </a:xfrm>
                <a:custGeom>
                  <a:avLst/>
                  <a:gdLst>
                    <a:gd name="T0" fmla="*/ 0 w 5"/>
                    <a:gd name="T1" fmla="*/ 0 h 3"/>
                    <a:gd name="T2" fmla="*/ 2 w 5"/>
                    <a:gd name="T3" fmla="*/ 0 h 3"/>
                    <a:gd name="T4" fmla="*/ 3 w 5"/>
                    <a:gd name="T5" fmla="*/ 2 h 3"/>
                    <a:gd name="T6" fmla="*/ 5 w 5"/>
                    <a:gd name="T7" fmla="*/ 2 h 3"/>
                    <a:gd name="T8" fmla="*/ 3 w 5"/>
                    <a:gd name="T9" fmla="*/ 3 h 3"/>
                    <a:gd name="T10" fmla="*/ 0 w 5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3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3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28" name="Freeform 102">
                  <a:extLst>
                    <a:ext uri="{FF2B5EF4-FFF2-40B4-BE49-F238E27FC236}">
                      <a16:creationId xmlns:a16="http://schemas.microsoft.com/office/drawing/2014/main" id="{453B4B14-E625-9F4B-BAC1-9FACBD2211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" y="433"/>
                  <a:ext cx="5" cy="3"/>
                </a:xfrm>
                <a:custGeom>
                  <a:avLst/>
                  <a:gdLst>
                    <a:gd name="T0" fmla="*/ 0 w 5"/>
                    <a:gd name="T1" fmla="*/ 0 h 3"/>
                    <a:gd name="T2" fmla="*/ 2 w 5"/>
                    <a:gd name="T3" fmla="*/ 0 h 3"/>
                    <a:gd name="T4" fmla="*/ 3 w 5"/>
                    <a:gd name="T5" fmla="*/ 2 h 3"/>
                    <a:gd name="T6" fmla="*/ 5 w 5"/>
                    <a:gd name="T7" fmla="*/ 2 h 3"/>
                    <a:gd name="T8" fmla="*/ 3 w 5"/>
                    <a:gd name="T9" fmla="*/ 3 h 3"/>
                    <a:gd name="T10" fmla="*/ 0 w 5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3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3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9" name="Group 1708">
                <a:extLst>
                  <a:ext uri="{FF2B5EF4-FFF2-40B4-BE49-F238E27FC236}">
                    <a16:creationId xmlns:a16="http://schemas.microsoft.com/office/drawing/2014/main" id="{E0D5828C-9AAF-EA43-82BE-19F378CAB64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9" y="384"/>
                <a:ext cx="4" cy="5"/>
                <a:chOff x="79" y="384"/>
                <a:chExt cx="4" cy="5"/>
              </a:xfrm>
            </p:grpSpPr>
            <p:sp>
              <p:nvSpPr>
                <p:cNvPr id="1725" name="Freeform 99">
                  <a:extLst>
                    <a:ext uri="{FF2B5EF4-FFF2-40B4-BE49-F238E27FC236}">
                      <a16:creationId xmlns:a16="http://schemas.microsoft.com/office/drawing/2014/main" id="{DB4D540D-CB65-DD44-8628-3696F60471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" y="384"/>
                  <a:ext cx="4" cy="5"/>
                </a:xfrm>
                <a:custGeom>
                  <a:avLst/>
                  <a:gdLst>
                    <a:gd name="T0" fmla="*/ 0 w 4"/>
                    <a:gd name="T1" fmla="*/ 0 h 5"/>
                    <a:gd name="T2" fmla="*/ 2 w 4"/>
                    <a:gd name="T3" fmla="*/ 0 h 5"/>
                    <a:gd name="T4" fmla="*/ 4 w 4"/>
                    <a:gd name="T5" fmla="*/ 0 h 5"/>
                    <a:gd name="T6" fmla="*/ 4 w 4"/>
                    <a:gd name="T7" fmla="*/ 2 h 5"/>
                    <a:gd name="T8" fmla="*/ 4 w 4"/>
                    <a:gd name="T9" fmla="*/ 3 h 5"/>
                    <a:gd name="T10" fmla="*/ 2 w 4"/>
                    <a:gd name="T11" fmla="*/ 5 h 5"/>
                    <a:gd name="T12" fmla="*/ 0 w 4"/>
                    <a:gd name="T13" fmla="*/ 3 h 5"/>
                    <a:gd name="T14" fmla="*/ 0 w 4"/>
                    <a:gd name="T15" fmla="*/ 2 h 5"/>
                    <a:gd name="T16" fmla="*/ 0 w 4"/>
                    <a:gd name="T1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5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3"/>
                      </a:ln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26" name="Freeform 100">
                  <a:extLst>
                    <a:ext uri="{FF2B5EF4-FFF2-40B4-BE49-F238E27FC236}">
                      <a16:creationId xmlns:a16="http://schemas.microsoft.com/office/drawing/2014/main" id="{5AEAD59D-0DDA-394B-978F-AB9597D35D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" y="384"/>
                  <a:ext cx="4" cy="5"/>
                </a:xfrm>
                <a:custGeom>
                  <a:avLst/>
                  <a:gdLst>
                    <a:gd name="T0" fmla="*/ 0 w 4"/>
                    <a:gd name="T1" fmla="*/ 0 h 5"/>
                    <a:gd name="T2" fmla="*/ 2 w 4"/>
                    <a:gd name="T3" fmla="*/ 0 h 5"/>
                    <a:gd name="T4" fmla="*/ 4 w 4"/>
                    <a:gd name="T5" fmla="*/ 0 h 5"/>
                    <a:gd name="T6" fmla="*/ 4 w 4"/>
                    <a:gd name="T7" fmla="*/ 2 h 5"/>
                    <a:gd name="T8" fmla="*/ 4 w 4"/>
                    <a:gd name="T9" fmla="*/ 3 h 5"/>
                    <a:gd name="T10" fmla="*/ 2 w 4"/>
                    <a:gd name="T11" fmla="*/ 5 h 5"/>
                    <a:gd name="T12" fmla="*/ 0 w 4"/>
                    <a:gd name="T13" fmla="*/ 3 h 5"/>
                    <a:gd name="T14" fmla="*/ 0 w 4"/>
                    <a:gd name="T15" fmla="*/ 2 h 5"/>
                    <a:gd name="T16" fmla="*/ 0 w 4"/>
                    <a:gd name="T1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5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3"/>
                      </a:ln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10" name="Group 1709">
                <a:extLst>
                  <a:ext uri="{FF2B5EF4-FFF2-40B4-BE49-F238E27FC236}">
                    <a16:creationId xmlns:a16="http://schemas.microsoft.com/office/drawing/2014/main" id="{7D38EB4A-2DD8-A24A-B9C4-542A22AC566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1" y="379"/>
                <a:ext cx="7" cy="7"/>
                <a:chOff x="61" y="379"/>
                <a:chExt cx="7" cy="7"/>
              </a:xfrm>
            </p:grpSpPr>
            <p:sp>
              <p:nvSpPr>
                <p:cNvPr id="1723" name="Freeform 97">
                  <a:extLst>
                    <a:ext uri="{FF2B5EF4-FFF2-40B4-BE49-F238E27FC236}">
                      <a16:creationId xmlns:a16="http://schemas.microsoft.com/office/drawing/2014/main" id="{EF435F44-8AD4-5A43-901F-D2AAE82E74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" y="379"/>
                  <a:ext cx="7" cy="7"/>
                </a:xfrm>
                <a:custGeom>
                  <a:avLst/>
                  <a:gdLst>
                    <a:gd name="T0" fmla="*/ 5 w 7"/>
                    <a:gd name="T1" fmla="*/ 0 h 7"/>
                    <a:gd name="T2" fmla="*/ 5 w 7"/>
                    <a:gd name="T3" fmla="*/ 2 h 7"/>
                    <a:gd name="T4" fmla="*/ 7 w 7"/>
                    <a:gd name="T5" fmla="*/ 3 h 7"/>
                    <a:gd name="T6" fmla="*/ 7 w 7"/>
                    <a:gd name="T7" fmla="*/ 5 h 7"/>
                    <a:gd name="T8" fmla="*/ 3 w 7"/>
                    <a:gd name="T9" fmla="*/ 7 h 7"/>
                    <a:gd name="T10" fmla="*/ 3 w 7"/>
                    <a:gd name="T11" fmla="*/ 5 h 7"/>
                    <a:gd name="T12" fmla="*/ 3 w 7"/>
                    <a:gd name="T13" fmla="*/ 3 h 7"/>
                    <a:gd name="T14" fmla="*/ 2 w 7"/>
                    <a:gd name="T15" fmla="*/ 3 h 7"/>
                    <a:gd name="T16" fmla="*/ 0 w 7"/>
                    <a:gd name="T17" fmla="*/ 5 h 7"/>
                    <a:gd name="T18" fmla="*/ 0 w 7"/>
                    <a:gd name="T19" fmla="*/ 3 h 7"/>
                    <a:gd name="T20" fmla="*/ 2 w 7"/>
                    <a:gd name="T21" fmla="*/ 2 h 7"/>
                    <a:gd name="T22" fmla="*/ 3 w 7"/>
                    <a:gd name="T23" fmla="*/ 2 h 7"/>
                    <a:gd name="T24" fmla="*/ 5 w 7"/>
                    <a:gd name="T2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7">
                      <a:moveTo>
                        <a:pt x="5" y="0"/>
                      </a:moveTo>
                      <a:lnTo>
                        <a:pt x="5" y="2"/>
                      </a:lnTo>
                      <a:lnTo>
                        <a:pt x="7" y="3"/>
                      </a:lnTo>
                      <a:lnTo>
                        <a:pt x="7" y="5"/>
                      </a:lnTo>
                      <a:lnTo>
                        <a:pt x="3" y="7"/>
                      </a:lnTo>
                      <a:lnTo>
                        <a:pt x="3" y="5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24" name="Freeform 98">
                  <a:extLst>
                    <a:ext uri="{FF2B5EF4-FFF2-40B4-BE49-F238E27FC236}">
                      <a16:creationId xmlns:a16="http://schemas.microsoft.com/office/drawing/2014/main" id="{6784F599-9C1C-264F-B954-484D563655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" y="379"/>
                  <a:ext cx="7" cy="7"/>
                </a:xfrm>
                <a:custGeom>
                  <a:avLst/>
                  <a:gdLst>
                    <a:gd name="T0" fmla="*/ 5 w 7"/>
                    <a:gd name="T1" fmla="*/ 0 h 7"/>
                    <a:gd name="T2" fmla="*/ 5 w 7"/>
                    <a:gd name="T3" fmla="*/ 2 h 7"/>
                    <a:gd name="T4" fmla="*/ 7 w 7"/>
                    <a:gd name="T5" fmla="*/ 3 h 7"/>
                    <a:gd name="T6" fmla="*/ 7 w 7"/>
                    <a:gd name="T7" fmla="*/ 5 h 7"/>
                    <a:gd name="T8" fmla="*/ 3 w 7"/>
                    <a:gd name="T9" fmla="*/ 7 h 7"/>
                    <a:gd name="T10" fmla="*/ 3 w 7"/>
                    <a:gd name="T11" fmla="*/ 5 h 7"/>
                    <a:gd name="T12" fmla="*/ 3 w 7"/>
                    <a:gd name="T13" fmla="*/ 3 h 7"/>
                    <a:gd name="T14" fmla="*/ 2 w 7"/>
                    <a:gd name="T15" fmla="*/ 3 h 7"/>
                    <a:gd name="T16" fmla="*/ 0 w 7"/>
                    <a:gd name="T17" fmla="*/ 5 h 7"/>
                    <a:gd name="T18" fmla="*/ 0 w 7"/>
                    <a:gd name="T19" fmla="*/ 3 h 7"/>
                    <a:gd name="T20" fmla="*/ 2 w 7"/>
                    <a:gd name="T21" fmla="*/ 2 h 7"/>
                    <a:gd name="T22" fmla="*/ 3 w 7"/>
                    <a:gd name="T23" fmla="*/ 2 h 7"/>
                    <a:gd name="T24" fmla="*/ 5 w 7"/>
                    <a:gd name="T2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7">
                      <a:moveTo>
                        <a:pt x="5" y="0"/>
                      </a:moveTo>
                      <a:lnTo>
                        <a:pt x="5" y="2"/>
                      </a:lnTo>
                      <a:lnTo>
                        <a:pt x="7" y="3"/>
                      </a:lnTo>
                      <a:lnTo>
                        <a:pt x="7" y="5"/>
                      </a:lnTo>
                      <a:lnTo>
                        <a:pt x="3" y="7"/>
                      </a:lnTo>
                      <a:lnTo>
                        <a:pt x="3" y="5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11" name="Group 1710">
                <a:extLst>
                  <a:ext uri="{FF2B5EF4-FFF2-40B4-BE49-F238E27FC236}">
                    <a16:creationId xmlns:a16="http://schemas.microsoft.com/office/drawing/2014/main" id="{0254EDE0-ADEA-2749-A337-EBDBE640A76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8" y="374"/>
                <a:ext cx="5" cy="7"/>
                <a:chOff x="68" y="374"/>
                <a:chExt cx="5" cy="7"/>
              </a:xfrm>
            </p:grpSpPr>
            <p:sp>
              <p:nvSpPr>
                <p:cNvPr id="1721" name="Freeform 95">
                  <a:extLst>
                    <a:ext uri="{FF2B5EF4-FFF2-40B4-BE49-F238E27FC236}">
                      <a16:creationId xmlns:a16="http://schemas.microsoft.com/office/drawing/2014/main" id="{B40CEC20-D028-F24D-9EED-92F3E627F4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" y="374"/>
                  <a:ext cx="5" cy="7"/>
                </a:xfrm>
                <a:custGeom>
                  <a:avLst/>
                  <a:gdLst>
                    <a:gd name="T0" fmla="*/ 5 w 5"/>
                    <a:gd name="T1" fmla="*/ 2 h 7"/>
                    <a:gd name="T2" fmla="*/ 5 w 5"/>
                    <a:gd name="T3" fmla="*/ 3 h 7"/>
                    <a:gd name="T4" fmla="*/ 3 w 5"/>
                    <a:gd name="T5" fmla="*/ 5 h 7"/>
                    <a:gd name="T6" fmla="*/ 1 w 5"/>
                    <a:gd name="T7" fmla="*/ 7 h 7"/>
                    <a:gd name="T8" fmla="*/ 0 w 5"/>
                    <a:gd name="T9" fmla="*/ 7 h 7"/>
                    <a:gd name="T10" fmla="*/ 0 w 5"/>
                    <a:gd name="T11" fmla="*/ 5 h 7"/>
                    <a:gd name="T12" fmla="*/ 1 w 5"/>
                    <a:gd name="T13" fmla="*/ 5 h 7"/>
                    <a:gd name="T14" fmla="*/ 1 w 5"/>
                    <a:gd name="T15" fmla="*/ 3 h 7"/>
                    <a:gd name="T16" fmla="*/ 3 w 5"/>
                    <a:gd name="T17" fmla="*/ 2 h 7"/>
                    <a:gd name="T18" fmla="*/ 5 w 5"/>
                    <a:gd name="T19" fmla="*/ 0 h 7"/>
                    <a:gd name="T20" fmla="*/ 5 w 5"/>
                    <a:gd name="T21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7">
                      <a:moveTo>
                        <a:pt x="5" y="2"/>
                      </a:move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1" y="7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2"/>
                      </a:lnTo>
                      <a:lnTo>
                        <a:pt x="5" y="0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22" name="Freeform 96">
                  <a:extLst>
                    <a:ext uri="{FF2B5EF4-FFF2-40B4-BE49-F238E27FC236}">
                      <a16:creationId xmlns:a16="http://schemas.microsoft.com/office/drawing/2014/main" id="{FD2A5CE0-112C-E34A-AF72-B944341985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" y="374"/>
                  <a:ext cx="5" cy="7"/>
                </a:xfrm>
                <a:custGeom>
                  <a:avLst/>
                  <a:gdLst>
                    <a:gd name="T0" fmla="*/ 5 w 5"/>
                    <a:gd name="T1" fmla="*/ 2 h 7"/>
                    <a:gd name="T2" fmla="*/ 5 w 5"/>
                    <a:gd name="T3" fmla="*/ 3 h 7"/>
                    <a:gd name="T4" fmla="*/ 3 w 5"/>
                    <a:gd name="T5" fmla="*/ 5 h 7"/>
                    <a:gd name="T6" fmla="*/ 1 w 5"/>
                    <a:gd name="T7" fmla="*/ 7 h 7"/>
                    <a:gd name="T8" fmla="*/ 0 w 5"/>
                    <a:gd name="T9" fmla="*/ 7 h 7"/>
                    <a:gd name="T10" fmla="*/ 0 w 5"/>
                    <a:gd name="T11" fmla="*/ 5 h 7"/>
                    <a:gd name="T12" fmla="*/ 1 w 5"/>
                    <a:gd name="T13" fmla="*/ 5 h 7"/>
                    <a:gd name="T14" fmla="*/ 1 w 5"/>
                    <a:gd name="T15" fmla="*/ 3 h 7"/>
                    <a:gd name="T16" fmla="*/ 3 w 5"/>
                    <a:gd name="T17" fmla="*/ 2 h 7"/>
                    <a:gd name="T18" fmla="*/ 5 w 5"/>
                    <a:gd name="T19" fmla="*/ 0 h 7"/>
                    <a:gd name="T20" fmla="*/ 5 w 5"/>
                    <a:gd name="T21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7">
                      <a:moveTo>
                        <a:pt x="5" y="2"/>
                      </a:move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1" y="7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3" y="2"/>
                      </a:lnTo>
                      <a:lnTo>
                        <a:pt x="5" y="0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12" name="Group 1711">
                <a:extLst>
                  <a:ext uri="{FF2B5EF4-FFF2-40B4-BE49-F238E27FC236}">
                    <a16:creationId xmlns:a16="http://schemas.microsoft.com/office/drawing/2014/main" id="{85CEEFD3-3980-2742-8C51-37CBD398064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3" y="364"/>
                <a:ext cx="10" cy="7"/>
                <a:chOff x="63" y="364"/>
                <a:chExt cx="10" cy="7"/>
              </a:xfrm>
            </p:grpSpPr>
            <p:sp>
              <p:nvSpPr>
                <p:cNvPr id="1719" name="Freeform 93">
                  <a:extLst>
                    <a:ext uri="{FF2B5EF4-FFF2-40B4-BE49-F238E27FC236}">
                      <a16:creationId xmlns:a16="http://schemas.microsoft.com/office/drawing/2014/main" id="{AD8683DB-9397-6345-8CB6-5756C7B782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" y="364"/>
                  <a:ext cx="10" cy="7"/>
                </a:xfrm>
                <a:custGeom>
                  <a:avLst/>
                  <a:gdLst>
                    <a:gd name="T0" fmla="*/ 1 w 10"/>
                    <a:gd name="T1" fmla="*/ 7 h 7"/>
                    <a:gd name="T2" fmla="*/ 3 w 10"/>
                    <a:gd name="T3" fmla="*/ 7 h 7"/>
                    <a:gd name="T4" fmla="*/ 3 w 10"/>
                    <a:gd name="T5" fmla="*/ 5 h 7"/>
                    <a:gd name="T6" fmla="*/ 5 w 10"/>
                    <a:gd name="T7" fmla="*/ 5 h 7"/>
                    <a:gd name="T8" fmla="*/ 3 w 10"/>
                    <a:gd name="T9" fmla="*/ 5 h 7"/>
                    <a:gd name="T10" fmla="*/ 3 w 10"/>
                    <a:gd name="T11" fmla="*/ 3 h 7"/>
                    <a:gd name="T12" fmla="*/ 5 w 10"/>
                    <a:gd name="T13" fmla="*/ 3 h 7"/>
                    <a:gd name="T14" fmla="*/ 3 w 10"/>
                    <a:gd name="T15" fmla="*/ 1 h 7"/>
                    <a:gd name="T16" fmla="*/ 1 w 10"/>
                    <a:gd name="T17" fmla="*/ 1 h 7"/>
                    <a:gd name="T18" fmla="*/ 1 w 10"/>
                    <a:gd name="T19" fmla="*/ 0 h 7"/>
                    <a:gd name="T20" fmla="*/ 3 w 10"/>
                    <a:gd name="T21" fmla="*/ 0 h 7"/>
                    <a:gd name="T22" fmla="*/ 5 w 10"/>
                    <a:gd name="T23" fmla="*/ 0 h 7"/>
                    <a:gd name="T24" fmla="*/ 6 w 10"/>
                    <a:gd name="T25" fmla="*/ 1 h 7"/>
                    <a:gd name="T26" fmla="*/ 8 w 10"/>
                    <a:gd name="T27" fmla="*/ 3 h 7"/>
                    <a:gd name="T28" fmla="*/ 10 w 10"/>
                    <a:gd name="T29" fmla="*/ 3 h 7"/>
                    <a:gd name="T30" fmla="*/ 10 w 10"/>
                    <a:gd name="T31" fmla="*/ 5 h 7"/>
                    <a:gd name="T32" fmla="*/ 8 w 10"/>
                    <a:gd name="T33" fmla="*/ 5 h 7"/>
                    <a:gd name="T34" fmla="*/ 6 w 10"/>
                    <a:gd name="T35" fmla="*/ 5 h 7"/>
                    <a:gd name="T36" fmla="*/ 6 w 10"/>
                    <a:gd name="T37" fmla="*/ 7 h 7"/>
                    <a:gd name="T38" fmla="*/ 5 w 10"/>
                    <a:gd name="T39" fmla="*/ 7 h 7"/>
                    <a:gd name="T40" fmla="*/ 1 w 10"/>
                    <a:gd name="T41" fmla="*/ 7 h 7"/>
                    <a:gd name="T42" fmla="*/ 0 w 10"/>
                    <a:gd name="T43" fmla="*/ 7 h 7"/>
                    <a:gd name="T44" fmla="*/ 0 w 10"/>
                    <a:gd name="T45" fmla="*/ 5 h 7"/>
                    <a:gd name="T46" fmla="*/ 1 w 10"/>
                    <a:gd name="T4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0" h="7">
                      <a:moveTo>
                        <a:pt x="1" y="7"/>
                      </a:moveTo>
                      <a:lnTo>
                        <a:pt x="3" y="7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3" y="3"/>
                      </a:lnTo>
                      <a:lnTo>
                        <a:pt x="5" y="3"/>
                      </a:lnTo>
                      <a:lnTo>
                        <a:pt x="3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8" y="3"/>
                      </a:lnTo>
                      <a:lnTo>
                        <a:pt x="10" y="3"/>
                      </a:lnTo>
                      <a:lnTo>
                        <a:pt x="10" y="5"/>
                      </a:lnTo>
                      <a:lnTo>
                        <a:pt x="8" y="5"/>
                      </a:lnTo>
                      <a:lnTo>
                        <a:pt x="6" y="5"/>
                      </a:lnTo>
                      <a:lnTo>
                        <a:pt x="6" y="7"/>
                      </a:lnTo>
                      <a:lnTo>
                        <a:pt x="5" y="7"/>
                      </a:lnTo>
                      <a:lnTo>
                        <a:pt x="1" y="7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20" name="Freeform 94">
                  <a:extLst>
                    <a:ext uri="{FF2B5EF4-FFF2-40B4-BE49-F238E27FC236}">
                      <a16:creationId xmlns:a16="http://schemas.microsoft.com/office/drawing/2014/main" id="{2103C65B-DB73-2F45-AA39-69B1E841AD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" y="364"/>
                  <a:ext cx="10" cy="7"/>
                </a:xfrm>
                <a:custGeom>
                  <a:avLst/>
                  <a:gdLst>
                    <a:gd name="T0" fmla="*/ 1 w 10"/>
                    <a:gd name="T1" fmla="*/ 7 h 7"/>
                    <a:gd name="T2" fmla="*/ 3 w 10"/>
                    <a:gd name="T3" fmla="*/ 7 h 7"/>
                    <a:gd name="T4" fmla="*/ 3 w 10"/>
                    <a:gd name="T5" fmla="*/ 5 h 7"/>
                    <a:gd name="T6" fmla="*/ 5 w 10"/>
                    <a:gd name="T7" fmla="*/ 5 h 7"/>
                    <a:gd name="T8" fmla="*/ 3 w 10"/>
                    <a:gd name="T9" fmla="*/ 5 h 7"/>
                    <a:gd name="T10" fmla="*/ 3 w 10"/>
                    <a:gd name="T11" fmla="*/ 3 h 7"/>
                    <a:gd name="T12" fmla="*/ 5 w 10"/>
                    <a:gd name="T13" fmla="*/ 3 h 7"/>
                    <a:gd name="T14" fmla="*/ 3 w 10"/>
                    <a:gd name="T15" fmla="*/ 1 h 7"/>
                    <a:gd name="T16" fmla="*/ 1 w 10"/>
                    <a:gd name="T17" fmla="*/ 1 h 7"/>
                    <a:gd name="T18" fmla="*/ 1 w 10"/>
                    <a:gd name="T19" fmla="*/ 0 h 7"/>
                    <a:gd name="T20" fmla="*/ 3 w 10"/>
                    <a:gd name="T21" fmla="*/ 0 h 7"/>
                    <a:gd name="T22" fmla="*/ 5 w 10"/>
                    <a:gd name="T23" fmla="*/ 0 h 7"/>
                    <a:gd name="T24" fmla="*/ 6 w 10"/>
                    <a:gd name="T25" fmla="*/ 1 h 7"/>
                    <a:gd name="T26" fmla="*/ 8 w 10"/>
                    <a:gd name="T27" fmla="*/ 3 h 7"/>
                    <a:gd name="T28" fmla="*/ 10 w 10"/>
                    <a:gd name="T29" fmla="*/ 3 h 7"/>
                    <a:gd name="T30" fmla="*/ 10 w 10"/>
                    <a:gd name="T31" fmla="*/ 5 h 7"/>
                    <a:gd name="T32" fmla="*/ 8 w 10"/>
                    <a:gd name="T33" fmla="*/ 5 h 7"/>
                    <a:gd name="T34" fmla="*/ 6 w 10"/>
                    <a:gd name="T35" fmla="*/ 5 h 7"/>
                    <a:gd name="T36" fmla="*/ 6 w 10"/>
                    <a:gd name="T37" fmla="*/ 7 h 7"/>
                    <a:gd name="T38" fmla="*/ 5 w 10"/>
                    <a:gd name="T39" fmla="*/ 7 h 7"/>
                    <a:gd name="T40" fmla="*/ 1 w 10"/>
                    <a:gd name="T41" fmla="*/ 7 h 7"/>
                    <a:gd name="T42" fmla="*/ 0 w 10"/>
                    <a:gd name="T43" fmla="*/ 7 h 7"/>
                    <a:gd name="T44" fmla="*/ 0 w 10"/>
                    <a:gd name="T45" fmla="*/ 5 h 7"/>
                    <a:gd name="T46" fmla="*/ 1 w 10"/>
                    <a:gd name="T4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0" h="7">
                      <a:moveTo>
                        <a:pt x="1" y="7"/>
                      </a:moveTo>
                      <a:lnTo>
                        <a:pt x="3" y="7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3" y="3"/>
                      </a:lnTo>
                      <a:lnTo>
                        <a:pt x="5" y="3"/>
                      </a:lnTo>
                      <a:lnTo>
                        <a:pt x="3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8" y="3"/>
                      </a:lnTo>
                      <a:lnTo>
                        <a:pt x="10" y="3"/>
                      </a:lnTo>
                      <a:lnTo>
                        <a:pt x="10" y="5"/>
                      </a:lnTo>
                      <a:lnTo>
                        <a:pt x="8" y="5"/>
                      </a:lnTo>
                      <a:lnTo>
                        <a:pt x="6" y="5"/>
                      </a:lnTo>
                      <a:lnTo>
                        <a:pt x="6" y="7"/>
                      </a:lnTo>
                      <a:lnTo>
                        <a:pt x="5" y="7"/>
                      </a:lnTo>
                      <a:lnTo>
                        <a:pt x="1" y="7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13" name="Group 1712">
                <a:extLst>
                  <a:ext uri="{FF2B5EF4-FFF2-40B4-BE49-F238E27FC236}">
                    <a16:creationId xmlns:a16="http://schemas.microsoft.com/office/drawing/2014/main" id="{D67FE13F-5EE0-EE44-88C9-F8F9C7F336E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7" y="338"/>
                <a:ext cx="16" cy="16"/>
                <a:chOff x="57" y="338"/>
                <a:chExt cx="16" cy="16"/>
              </a:xfrm>
            </p:grpSpPr>
            <p:sp>
              <p:nvSpPr>
                <p:cNvPr id="1717" name="Freeform 91">
                  <a:extLst>
                    <a:ext uri="{FF2B5EF4-FFF2-40B4-BE49-F238E27FC236}">
                      <a16:creationId xmlns:a16="http://schemas.microsoft.com/office/drawing/2014/main" id="{EDAACD22-3A83-8F40-AD4C-D49BD838A9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" y="338"/>
                  <a:ext cx="16" cy="16"/>
                </a:xfrm>
                <a:custGeom>
                  <a:avLst/>
                  <a:gdLst>
                    <a:gd name="T0" fmla="*/ 7 w 16"/>
                    <a:gd name="T1" fmla="*/ 2 h 16"/>
                    <a:gd name="T2" fmla="*/ 9 w 16"/>
                    <a:gd name="T3" fmla="*/ 2 h 16"/>
                    <a:gd name="T4" fmla="*/ 9 w 16"/>
                    <a:gd name="T5" fmla="*/ 4 h 16"/>
                    <a:gd name="T6" fmla="*/ 9 w 16"/>
                    <a:gd name="T7" fmla="*/ 6 h 16"/>
                    <a:gd name="T8" fmla="*/ 11 w 16"/>
                    <a:gd name="T9" fmla="*/ 7 h 16"/>
                    <a:gd name="T10" fmla="*/ 11 w 16"/>
                    <a:gd name="T11" fmla="*/ 11 h 16"/>
                    <a:gd name="T12" fmla="*/ 12 w 16"/>
                    <a:gd name="T13" fmla="*/ 11 h 16"/>
                    <a:gd name="T14" fmla="*/ 14 w 16"/>
                    <a:gd name="T15" fmla="*/ 11 h 16"/>
                    <a:gd name="T16" fmla="*/ 16 w 16"/>
                    <a:gd name="T17" fmla="*/ 11 h 16"/>
                    <a:gd name="T18" fmla="*/ 16 w 16"/>
                    <a:gd name="T19" fmla="*/ 12 h 16"/>
                    <a:gd name="T20" fmla="*/ 14 w 16"/>
                    <a:gd name="T21" fmla="*/ 14 h 16"/>
                    <a:gd name="T22" fmla="*/ 12 w 16"/>
                    <a:gd name="T23" fmla="*/ 16 h 16"/>
                    <a:gd name="T24" fmla="*/ 12 w 16"/>
                    <a:gd name="T25" fmla="*/ 14 h 16"/>
                    <a:gd name="T26" fmla="*/ 12 w 16"/>
                    <a:gd name="T27" fmla="*/ 12 h 16"/>
                    <a:gd name="T28" fmla="*/ 9 w 16"/>
                    <a:gd name="T29" fmla="*/ 14 h 16"/>
                    <a:gd name="T30" fmla="*/ 7 w 16"/>
                    <a:gd name="T31" fmla="*/ 14 h 16"/>
                    <a:gd name="T32" fmla="*/ 7 w 16"/>
                    <a:gd name="T33" fmla="*/ 12 h 16"/>
                    <a:gd name="T34" fmla="*/ 6 w 16"/>
                    <a:gd name="T35" fmla="*/ 11 h 16"/>
                    <a:gd name="T36" fmla="*/ 4 w 16"/>
                    <a:gd name="T37" fmla="*/ 9 h 16"/>
                    <a:gd name="T38" fmla="*/ 2 w 16"/>
                    <a:gd name="T39" fmla="*/ 9 h 16"/>
                    <a:gd name="T40" fmla="*/ 0 w 16"/>
                    <a:gd name="T41" fmla="*/ 7 h 16"/>
                    <a:gd name="T42" fmla="*/ 0 w 16"/>
                    <a:gd name="T43" fmla="*/ 6 h 16"/>
                    <a:gd name="T44" fmla="*/ 2 w 16"/>
                    <a:gd name="T45" fmla="*/ 6 h 16"/>
                    <a:gd name="T46" fmla="*/ 2 w 16"/>
                    <a:gd name="T47" fmla="*/ 4 h 16"/>
                    <a:gd name="T48" fmla="*/ 6 w 16"/>
                    <a:gd name="T49" fmla="*/ 6 h 16"/>
                    <a:gd name="T50" fmla="*/ 6 w 16"/>
                    <a:gd name="T51" fmla="*/ 2 h 16"/>
                    <a:gd name="T52" fmla="*/ 6 w 16"/>
                    <a:gd name="T53" fmla="*/ 0 h 16"/>
                    <a:gd name="T54" fmla="*/ 7 w 16"/>
                    <a:gd name="T55" fmla="*/ 0 h 16"/>
                    <a:gd name="T56" fmla="*/ 7 w 16"/>
                    <a:gd name="T57" fmla="*/ 2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6" h="16">
                      <a:moveTo>
                        <a:pt x="7" y="2"/>
                      </a:moveTo>
                      <a:lnTo>
                        <a:pt x="9" y="2"/>
                      </a:lnTo>
                      <a:lnTo>
                        <a:pt x="9" y="4"/>
                      </a:lnTo>
                      <a:lnTo>
                        <a:pt x="9" y="6"/>
                      </a:lnTo>
                      <a:lnTo>
                        <a:pt x="11" y="7"/>
                      </a:lnTo>
                      <a:lnTo>
                        <a:pt x="11" y="11"/>
                      </a:lnTo>
                      <a:lnTo>
                        <a:pt x="12" y="11"/>
                      </a:lnTo>
                      <a:lnTo>
                        <a:pt x="14" y="11"/>
                      </a:lnTo>
                      <a:lnTo>
                        <a:pt x="16" y="11"/>
                      </a:lnTo>
                      <a:lnTo>
                        <a:pt x="16" y="12"/>
                      </a:lnTo>
                      <a:lnTo>
                        <a:pt x="14" y="14"/>
                      </a:lnTo>
                      <a:lnTo>
                        <a:pt x="12" y="16"/>
                      </a:lnTo>
                      <a:lnTo>
                        <a:pt x="12" y="14"/>
                      </a:lnTo>
                      <a:lnTo>
                        <a:pt x="12" y="12"/>
                      </a:lnTo>
                      <a:lnTo>
                        <a:pt x="9" y="14"/>
                      </a:lnTo>
                      <a:lnTo>
                        <a:pt x="7" y="14"/>
                      </a:lnTo>
                      <a:lnTo>
                        <a:pt x="7" y="12"/>
                      </a:lnTo>
                      <a:lnTo>
                        <a:pt x="6" y="11"/>
                      </a:lnTo>
                      <a:lnTo>
                        <a:pt x="4" y="9"/>
                      </a:lnTo>
                      <a:lnTo>
                        <a:pt x="2" y="9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6" y="6"/>
                      </a:lnTo>
                      <a:lnTo>
                        <a:pt x="6" y="2"/>
                      </a:ln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18" name="Freeform 92">
                  <a:extLst>
                    <a:ext uri="{FF2B5EF4-FFF2-40B4-BE49-F238E27FC236}">
                      <a16:creationId xmlns:a16="http://schemas.microsoft.com/office/drawing/2014/main" id="{394E8AF7-D2FB-FF4D-8C36-1721937015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" y="338"/>
                  <a:ext cx="16" cy="16"/>
                </a:xfrm>
                <a:custGeom>
                  <a:avLst/>
                  <a:gdLst>
                    <a:gd name="T0" fmla="*/ 7 w 16"/>
                    <a:gd name="T1" fmla="*/ 2 h 16"/>
                    <a:gd name="T2" fmla="*/ 9 w 16"/>
                    <a:gd name="T3" fmla="*/ 2 h 16"/>
                    <a:gd name="T4" fmla="*/ 9 w 16"/>
                    <a:gd name="T5" fmla="*/ 4 h 16"/>
                    <a:gd name="T6" fmla="*/ 9 w 16"/>
                    <a:gd name="T7" fmla="*/ 6 h 16"/>
                    <a:gd name="T8" fmla="*/ 11 w 16"/>
                    <a:gd name="T9" fmla="*/ 7 h 16"/>
                    <a:gd name="T10" fmla="*/ 11 w 16"/>
                    <a:gd name="T11" fmla="*/ 11 h 16"/>
                    <a:gd name="T12" fmla="*/ 12 w 16"/>
                    <a:gd name="T13" fmla="*/ 11 h 16"/>
                    <a:gd name="T14" fmla="*/ 14 w 16"/>
                    <a:gd name="T15" fmla="*/ 11 h 16"/>
                    <a:gd name="T16" fmla="*/ 16 w 16"/>
                    <a:gd name="T17" fmla="*/ 11 h 16"/>
                    <a:gd name="T18" fmla="*/ 16 w 16"/>
                    <a:gd name="T19" fmla="*/ 12 h 16"/>
                    <a:gd name="T20" fmla="*/ 14 w 16"/>
                    <a:gd name="T21" fmla="*/ 14 h 16"/>
                    <a:gd name="T22" fmla="*/ 12 w 16"/>
                    <a:gd name="T23" fmla="*/ 16 h 16"/>
                    <a:gd name="T24" fmla="*/ 12 w 16"/>
                    <a:gd name="T25" fmla="*/ 14 h 16"/>
                    <a:gd name="T26" fmla="*/ 12 w 16"/>
                    <a:gd name="T27" fmla="*/ 12 h 16"/>
                    <a:gd name="T28" fmla="*/ 9 w 16"/>
                    <a:gd name="T29" fmla="*/ 14 h 16"/>
                    <a:gd name="T30" fmla="*/ 7 w 16"/>
                    <a:gd name="T31" fmla="*/ 14 h 16"/>
                    <a:gd name="T32" fmla="*/ 7 w 16"/>
                    <a:gd name="T33" fmla="*/ 12 h 16"/>
                    <a:gd name="T34" fmla="*/ 6 w 16"/>
                    <a:gd name="T35" fmla="*/ 11 h 16"/>
                    <a:gd name="T36" fmla="*/ 4 w 16"/>
                    <a:gd name="T37" fmla="*/ 9 h 16"/>
                    <a:gd name="T38" fmla="*/ 2 w 16"/>
                    <a:gd name="T39" fmla="*/ 9 h 16"/>
                    <a:gd name="T40" fmla="*/ 0 w 16"/>
                    <a:gd name="T41" fmla="*/ 7 h 16"/>
                    <a:gd name="T42" fmla="*/ 0 w 16"/>
                    <a:gd name="T43" fmla="*/ 6 h 16"/>
                    <a:gd name="T44" fmla="*/ 2 w 16"/>
                    <a:gd name="T45" fmla="*/ 6 h 16"/>
                    <a:gd name="T46" fmla="*/ 2 w 16"/>
                    <a:gd name="T47" fmla="*/ 4 h 16"/>
                    <a:gd name="T48" fmla="*/ 6 w 16"/>
                    <a:gd name="T49" fmla="*/ 6 h 16"/>
                    <a:gd name="T50" fmla="*/ 6 w 16"/>
                    <a:gd name="T51" fmla="*/ 2 h 16"/>
                    <a:gd name="T52" fmla="*/ 6 w 16"/>
                    <a:gd name="T53" fmla="*/ 0 h 16"/>
                    <a:gd name="T54" fmla="*/ 7 w 16"/>
                    <a:gd name="T55" fmla="*/ 0 h 16"/>
                    <a:gd name="T56" fmla="*/ 7 w 16"/>
                    <a:gd name="T57" fmla="*/ 2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6" h="16">
                      <a:moveTo>
                        <a:pt x="7" y="2"/>
                      </a:moveTo>
                      <a:lnTo>
                        <a:pt x="9" y="2"/>
                      </a:lnTo>
                      <a:lnTo>
                        <a:pt x="9" y="4"/>
                      </a:lnTo>
                      <a:lnTo>
                        <a:pt x="9" y="6"/>
                      </a:lnTo>
                      <a:lnTo>
                        <a:pt x="11" y="7"/>
                      </a:lnTo>
                      <a:lnTo>
                        <a:pt x="11" y="11"/>
                      </a:lnTo>
                      <a:lnTo>
                        <a:pt x="12" y="11"/>
                      </a:lnTo>
                      <a:lnTo>
                        <a:pt x="14" y="11"/>
                      </a:lnTo>
                      <a:lnTo>
                        <a:pt x="16" y="11"/>
                      </a:lnTo>
                      <a:lnTo>
                        <a:pt x="16" y="12"/>
                      </a:lnTo>
                      <a:lnTo>
                        <a:pt x="14" y="14"/>
                      </a:lnTo>
                      <a:lnTo>
                        <a:pt x="12" y="16"/>
                      </a:lnTo>
                      <a:lnTo>
                        <a:pt x="12" y="14"/>
                      </a:lnTo>
                      <a:lnTo>
                        <a:pt x="12" y="12"/>
                      </a:lnTo>
                      <a:lnTo>
                        <a:pt x="9" y="14"/>
                      </a:lnTo>
                      <a:lnTo>
                        <a:pt x="7" y="14"/>
                      </a:lnTo>
                      <a:lnTo>
                        <a:pt x="7" y="12"/>
                      </a:lnTo>
                      <a:lnTo>
                        <a:pt x="6" y="11"/>
                      </a:lnTo>
                      <a:lnTo>
                        <a:pt x="4" y="9"/>
                      </a:lnTo>
                      <a:lnTo>
                        <a:pt x="2" y="9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6" y="6"/>
                      </a:lnTo>
                      <a:lnTo>
                        <a:pt x="6" y="2"/>
                      </a:ln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14" name="Group 1713">
                <a:extLst>
                  <a:ext uri="{FF2B5EF4-FFF2-40B4-BE49-F238E27FC236}">
                    <a16:creationId xmlns:a16="http://schemas.microsoft.com/office/drawing/2014/main" id="{FDF7E89E-06E7-F049-B966-53D2D9F0C3D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6" y="391"/>
                <a:ext cx="40" cy="28"/>
                <a:chOff x="36" y="391"/>
                <a:chExt cx="40" cy="28"/>
              </a:xfrm>
            </p:grpSpPr>
            <p:sp>
              <p:nvSpPr>
                <p:cNvPr id="1715" name="Freeform 89">
                  <a:extLst>
                    <a:ext uri="{FF2B5EF4-FFF2-40B4-BE49-F238E27FC236}">
                      <a16:creationId xmlns:a16="http://schemas.microsoft.com/office/drawing/2014/main" id="{2AFABD2A-74AD-9642-904A-29ABFA4B37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" y="391"/>
                  <a:ext cx="40" cy="28"/>
                </a:xfrm>
                <a:custGeom>
                  <a:avLst/>
                  <a:gdLst>
                    <a:gd name="T0" fmla="*/ 30 w 40"/>
                    <a:gd name="T1" fmla="*/ 28 h 28"/>
                    <a:gd name="T2" fmla="*/ 28 w 40"/>
                    <a:gd name="T3" fmla="*/ 28 h 28"/>
                    <a:gd name="T4" fmla="*/ 28 w 40"/>
                    <a:gd name="T5" fmla="*/ 25 h 28"/>
                    <a:gd name="T6" fmla="*/ 28 w 40"/>
                    <a:gd name="T7" fmla="*/ 23 h 28"/>
                    <a:gd name="T8" fmla="*/ 27 w 40"/>
                    <a:gd name="T9" fmla="*/ 22 h 28"/>
                    <a:gd name="T10" fmla="*/ 25 w 40"/>
                    <a:gd name="T11" fmla="*/ 20 h 28"/>
                    <a:gd name="T12" fmla="*/ 21 w 40"/>
                    <a:gd name="T13" fmla="*/ 20 h 28"/>
                    <a:gd name="T14" fmla="*/ 18 w 40"/>
                    <a:gd name="T15" fmla="*/ 22 h 28"/>
                    <a:gd name="T16" fmla="*/ 15 w 40"/>
                    <a:gd name="T17" fmla="*/ 22 h 28"/>
                    <a:gd name="T18" fmla="*/ 13 w 40"/>
                    <a:gd name="T19" fmla="*/ 23 h 28"/>
                    <a:gd name="T20" fmla="*/ 10 w 40"/>
                    <a:gd name="T21" fmla="*/ 27 h 28"/>
                    <a:gd name="T22" fmla="*/ 6 w 40"/>
                    <a:gd name="T23" fmla="*/ 25 h 28"/>
                    <a:gd name="T24" fmla="*/ 5 w 40"/>
                    <a:gd name="T25" fmla="*/ 22 h 28"/>
                    <a:gd name="T26" fmla="*/ 0 w 40"/>
                    <a:gd name="T27" fmla="*/ 18 h 28"/>
                    <a:gd name="T28" fmla="*/ 3 w 40"/>
                    <a:gd name="T29" fmla="*/ 17 h 28"/>
                    <a:gd name="T30" fmla="*/ 3 w 40"/>
                    <a:gd name="T31" fmla="*/ 13 h 28"/>
                    <a:gd name="T32" fmla="*/ 6 w 40"/>
                    <a:gd name="T33" fmla="*/ 13 h 28"/>
                    <a:gd name="T34" fmla="*/ 8 w 40"/>
                    <a:gd name="T35" fmla="*/ 12 h 28"/>
                    <a:gd name="T36" fmla="*/ 8 w 40"/>
                    <a:gd name="T37" fmla="*/ 8 h 28"/>
                    <a:gd name="T38" fmla="*/ 10 w 40"/>
                    <a:gd name="T39" fmla="*/ 8 h 28"/>
                    <a:gd name="T40" fmla="*/ 10 w 40"/>
                    <a:gd name="T41" fmla="*/ 6 h 28"/>
                    <a:gd name="T42" fmla="*/ 10 w 40"/>
                    <a:gd name="T43" fmla="*/ 5 h 28"/>
                    <a:gd name="T44" fmla="*/ 10 w 40"/>
                    <a:gd name="T45" fmla="*/ 3 h 28"/>
                    <a:gd name="T46" fmla="*/ 10 w 40"/>
                    <a:gd name="T47" fmla="*/ 1 h 28"/>
                    <a:gd name="T48" fmla="*/ 11 w 40"/>
                    <a:gd name="T49" fmla="*/ 1 h 28"/>
                    <a:gd name="T50" fmla="*/ 11 w 40"/>
                    <a:gd name="T51" fmla="*/ 0 h 28"/>
                    <a:gd name="T52" fmla="*/ 13 w 40"/>
                    <a:gd name="T53" fmla="*/ 0 h 28"/>
                    <a:gd name="T54" fmla="*/ 15 w 40"/>
                    <a:gd name="T55" fmla="*/ 1 h 28"/>
                    <a:gd name="T56" fmla="*/ 16 w 40"/>
                    <a:gd name="T57" fmla="*/ 1 h 28"/>
                    <a:gd name="T58" fmla="*/ 16 w 40"/>
                    <a:gd name="T59" fmla="*/ 3 h 28"/>
                    <a:gd name="T60" fmla="*/ 15 w 40"/>
                    <a:gd name="T61" fmla="*/ 5 h 28"/>
                    <a:gd name="T62" fmla="*/ 15 w 40"/>
                    <a:gd name="T63" fmla="*/ 6 h 28"/>
                    <a:gd name="T64" fmla="*/ 16 w 40"/>
                    <a:gd name="T65" fmla="*/ 6 h 28"/>
                    <a:gd name="T66" fmla="*/ 18 w 40"/>
                    <a:gd name="T67" fmla="*/ 5 h 28"/>
                    <a:gd name="T68" fmla="*/ 21 w 40"/>
                    <a:gd name="T69" fmla="*/ 3 h 28"/>
                    <a:gd name="T70" fmla="*/ 25 w 40"/>
                    <a:gd name="T71" fmla="*/ 3 h 28"/>
                    <a:gd name="T72" fmla="*/ 27 w 40"/>
                    <a:gd name="T73" fmla="*/ 3 h 28"/>
                    <a:gd name="T74" fmla="*/ 30 w 40"/>
                    <a:gd name="T75" fmla="*/ 3 h 28"/>
                    <a:gd name="T76" fmla="*/ 32 w 40"/>
                    <a:gd name="T77" fmla="*/ 6 h 28"/>
                    <a:gd name="T78" fmla="*/ 35 w 40"/>
                    <a:gd name="T79" fmla="*/ 10 h 28"/>
                    <a:gd name="T80" fmla="*/ 35 w 40"/>
                    <a:gd name="T81" fmla="*/ 13 h 28"/>
                    <a:gd name="T82" fmla="*/ 33 w 40"/>
                    <a:gd name="T83" fmla="*/ 15 h 28"/>
                    <a:gd name="T84" fmla="*/ 38 w 40"/>
                    <a:gd name="T85" fmla="*/ 15 h 28"/>
                    <a:gd name="T86" fmla="*/ 40 w 40"/>
                    <a:gd name="T87" fmla="*/ 18 h 28"/>
                    <a:gd name="T88" fmla="*/ 40 w 40"/>
                    <a:gd name="T89" fmla="*/ 22 h 28"/>
                    <a:gd name="T90" fmla="*/ 38 w 40"/>
                    <a:gd name="T91" fmla="*/ 18 h 28"/>
                    <a:gd name="T92" fmla="*/ 38 w 40"/>
                    <a:gd name="T93" fmla="*/ 20 h 28"/>
                    <a:gd name="T94" fmla="*/ 40 w 40"/>
                    <a:gd name="T95" fmla="*/ 22 h 28"/>
                    <a:gd name="T96" fmla="*/ 40 w 40"/>
                    <a:gd name="T97" fmla="*/ 23 h 28"/>
                    <a:gd name="T98" fmla="*/ 38 w 40"/>
                    <a:gd name="T99" fmla="*/ 23 h 28"/>
                    <a:gd name="T100" fmla="*/ 35 w 40"/>
                    <a:gd name="T101" fmla="*/ 25 h 28"/>
                    <a:gd name="T102" fmla="*/ 33 w 40"/>
                    <a:gd name="T103" fmla="*/ 27 h 28"/>
                    <a:gd name="T104" fmla="*/ 32 w 40"/>
                    <a:gd name="T105" fmla="*/ 28 h 28"/>
                    <a:gd name="T106" fmla="*/ 30 w 40"/>
                    <a:gd name="T107" fmla="*/ 2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0" h="28">
                      <a:moveTo>
                        <a:pt x="30" y="28"/>
                      </a:moveTo>
                      <a:lnTo>
                        <a:pt x="28" y="28"/>
                      </a:lnTo>
                      <a:lnTo>
                        <a:pt x="28" y="25"/>
                      </a:lnTo>
                      <a:lnTo>
                        <a:pt x="28" y="23"/>
                      </a:lnTo>
                      <a:lnTo>
                        <a:pt x="27" y="22"/>
                      </a:lnTo>
                      <a:lnTo>
                        <a:pt x="25" y="20"/>
                      </a:lnTo>
                      <a:lnTo>
                        <a:pt x="21" y="20"/>
                      </a:lnTo>
                      <a:lnTo>
                        <a:pt x="18" y="22"/>
                      </a:lnTo>
                      <a:lnTo>
                        <a:pt x="15" y="22"/>
                      </a:lnTo>
                      <a:lnTo>
                        <a:pt x="13" y="23"/>
                      </a:lnTo>
                      <a:lnTo>
                        <a:pt x="10" y="27"/>
                      </a:lnTo>
                      <a:lnTo>
                        <a:pt x="6" y="25"/>
                      </a:lnTo>
                      <a:lnTo>
                        <a:pt x="5" y="22"/>
                      </a:lnTo>
                      <a:lnTo>
                        <a:pt x="0" y="18"/>
                      </a:lnTo>
                      <a:lnTo>
                        <a:pt x="3" y="17"/>
                      </a:lnTo>
                      <a:lnTo>
                        <a:pt x="3" y="13"/>
                      </a:lnTo>
                      <a:lnTo>
                        <a:pt x="6" y="13"/>
                      </a:lnTo>
                      <a:lnTo>
                        <a:pt x="8" y="12"/>
                      </a:lnTo>
                      <a:lnTo>
                        <a:pt x="8" y="8"/>
                      </a:lnTo>
                      <a:lnTo>
                        <a:pt x="10" y="8"/>
                      </a:lnTo>
                      <a:lnTo>
                        <a:pt x="10" y="6"/>
                      </a:lnTo>
                      <a:lnTo>
                        <a:pt x="10" y="5"/>
                      </a:lnTo>
                      <a:lnTo>
                        <a:pt x="10" y="3"/>
                      </a:lnTo>
                      <a:lnTo>
                        <a:pt x="10" y="1"/>
                      </a:lnTo>
                      <a:lnTo>
                        <a:pt x="11" y="1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6" y="1"/>
                      </a:lnTo>
                      <a:lnTo>
                        <a:pt x="16" y="3"/>
                      </a:lnTo>
                      <a:lnTo>
                        <a:pt x="15" y="5"/>
                      </a:lnTo>
                      <a:lnTo>
                        <a:pt x="15" y="6"/>
                      </a:lnTo>
                      <a:lnTo>
                        <a:pt x="16" y="6"/>
                      </a:lnTo>
                      <a:lnTo>
                        <a:pt x="18" y="5"/>
                      </a:lnTo>
                      <a:lnTo>
                        <a:pt x="21" y="3"/>
                      </a:lnTo>
                      <a:lnTo>
                        <a:pt x="25" y="3"/>
                      </a:lnTo>
                      <a:lnTo>
                        <a:pt x="27" y="3"/>
                      </a:lnTo>
                      <a:lnTo>
                        <a:pt x="30" y="3"/>
                      </a:lnTo>
                      <a:lnTo>
                        <a:pt x="32" y="6"/>
                      </a:lnTo>
                      <a:lnTo>
                        <a:pt x="35" y="10"/>
                      </a:lnTo>
                      <a:lnTo>
                        <a:pt x="35" y="13"/>
                      </a:lnTo>
                      <a:lnTo>
                        <a:pt x="33" y="15"/>
                      </a:lnTo>
                      <a:lnTo>
                        <a:pt x="38" y="15"/>
                      </a:lnTo>
                      <a:lnTo>
                        <a:pt x="40" y="18"/>
                      </a:lnTo>
                      <a:lnTo>
                        <a:pt x="40" y="22"/>
                      </a:lnTo>
                      <a:lnTo>
                        <a:pt x="38" y="18"/>
                      </a:lnTo>
                      <a:lnTo>
                        <a:pt x="38" y="20"/>
                      </a:lnTo>
                      <a:lnTo>
                        <a:pt x="40" y="22"/>
                      </a:lnTo>
                      <a:lnTo>
                        <a:pt x="40" y="23"/>
                      </a:lnTo>
                      <a:lnTo>
                        <a:pt x="38" y="23"/>
                      </a:lnTo>
                      <a:lnTo>
                        <a:pt x="35" y="25"/>
                      </a:lnTo>
                      <a:lnTo>
                        <a:pt x="33" y="27"/>
                      </a:lnTo>
                      <a:lnTo>
                        <a:pt x="32" y="28"/>
                      </a:lnTo>
                      <a:lnTo>
                        <a:pt x="30" y="28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16" name="Freeform 90">
                  <a:extLst>
                    <a:ext uri="{FF2B5EF4-FFF2-40B4-BE49-F238E27FC236}">
                      <a16:creationId xmlns:a16="http://schemas.microsoft.com/office/drawing/2014/main" id="{426378A2-5935-F945-AE3C-3ED52FFE35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" y="391"/>
                  <a:ext cx="40" cy="28"/>
                </a:xfrm>
                <a:custGeom>
                  <a:avLst/>
                  <a:gdLst>
                    <a:gd name="T0" fmla="*/ 30 w 40"/>
                    <a:gd name="T1" fmla="*/ 28 h 28"/>
                    <a:gd name="T2" fmla="*/ 28 w 40"/>
                    <a:gd name="T3" fmla="*/ 28 h 28"/>
                    <a:gd name="T4" fmla="*/ 28 w 40"/>
                    <a:gd name="T5" fmla="*/ 25 h 28"/>
                    <a:gd name="T6" fmla="*/ 28 w 40"/>
                    <a:gd name="T7" fmla="*/ 23 h 28"/>
                    <a:gd name="T8" fmla="*/ 27 w 40"/>
                    <a:gd name="T9" fmla="*/ 22 h 28"/>
                    <a:gd name="T10" fmla="*/ 25 w 40"/>
                    <a:gd name="T11" fmla="*/ 20 h 28"/>
                    <a:gd name="T12" fmla="*/ 21 w 40"/>
                    <a:gd name="T13" fmla="*/ 20 h 28"/>
                    <a:gd name="T14" fmla="*/ 18 w 40"/>
                    <a:gd name="T15" fmla="*/ 22 h 28"/>
                    <a:gd name="T16" fmla="*/ 15 w 40"/>
                    <a:gd name="T17" fmla="*/ 22 h 28"/>
                    <a:gd name="T18" fmla="*/ 13 w 40"/>
                    <a:gd name="T19" fmla="*/ 23 h 28"/>
                    <a:gd name="T20" fmla="*/ 10 w 40"/>
                    <a:gd name="T21" fmla="*/ 27 h 28"/>
                    <a:gd name="T22" fmla="*/ 6 w 40"/>
                    <a:gd name="T23" fmla="*/ 25 h 28"/>
                    <a:gd name="T24" fmla="*/ 5 w 40"/>
                    <a:gd name="T25" fmla="*/ 22 h 28"/>
                    <a:gd name="T26" fmla="*/ 0 w 40"/>
                    <a:gd name="T27" fmla="*/ 18 h 28"/>
                    <a:gd name="T28" fmla="*/ 3 w 40"/>
                    <a:gd name="T29" fmla="*/ 17 h 28"/>
                    <a:gd name="T30" fmla="*/ 3 w 40"/>
                    <a:gd name="T31" fmla="*/ 13 h 28"/>
                    <a:gd name="T32" fmla="*/ 6 w 40"/>
                    <a:gd name="T33" fmla="*/ 13 h 28"/>
                    <a:gd name="T34" fmla="*/ 8 w 40"/>
                    <a:gd name="T35" fmla="*/ 12 h 28"/>
                    <a:gd name="T36" fmla="*/ 8 w 40"/>
                    <a:gd name="T37" fmla="*/ 8 h 28"/>
                    <a:gd name="T38" fmla="*/ 10 w 40"/>
                    <a:gd name="T39" fmla="*/ 8 h 28"/>
                    <a:gd name="T40" fmla="*/ 10 w 40"/>
                    <a:gd name="T41" fmla="*/ 6 h 28"/>
                    <a:gd name="T42" fmla="*/ 10 w 40"/>
                    <a:gd name="T43" fmla="*/ 5 h 28"/>
                    <a:gd name="T44" fmla="*/ 10 w 40"/>
                    <a:gd name="T45" fmla="*/ 3 h 28"/>
                    <a:gd name="T46" fmla="*/ 10 w 40"/>
                    <a:gd name="T47" fmla="*/ 1 h 28"/>
                    <a:gd name="T48" fmla="*/ 11 w 40"/>
                    <a:gd name="T49" fmla="*/ 1 h 28"/>
                    <a:gd name="T50" fmla="*/ 11 w 40"/>
                    <a:gd name="T51" fmla="*/ 0 h 28"/>
                    <a:gd name="T52" fmla="*/ 13 w 40"/>
                    <a:gd name="T53" fmla="*/ 0 h 28"/>
                    <a:gd name="T54" fmla="*/ 15 w 40"/>
                    <a:gd name="T55" fmla="*/ 1 h 28"/>
                    <a:gd name="T56" fmla="*/ 16 w 40"/>
                    <a:gd name="T57" fmla="*/ 1 h 28"/>
                    <a:gd name="T58" fmla="*/ 16 w 40"/>
                    <a:gd name="T59" fmla="*/ 3 h 28"/>
                    <a:gd name="T60" fmla="*/ 15 w 40"/>
                    <a:gd name="T61" fmla="*/ 5 h 28"/>
                    <a:gd name="T62" fmla="*/ 15 w 40"/>
                    <a:gd name="T63" fmla="*/ 6 h 28"/>
                    <a:gd name="T64" fmla="*/ 16 w 40"/>
                    <a:gd name="T65" fmla="*/ 6 h 28"/>
                    <a:gd name="T66" fmla="*/ 18 w 40"/>
                    <a:gd name="T67" fmla="*/ 5 h 28"/>
                    <a:gd name="T68" fmla="*/ 21 w 40"/>
                    <a:gd name="T69" fmla="*/ 3 h 28"/>
                    <a:gd name="T70" fmla="*/ 25 w 40"/>
                    <a:gd name="T71" fmla="*/ 3 h 28"/>
                    <a:gd name="T72" fmla="*/ 27 w 40"/>
                    <a:gd name="T73" fmla="*/ 3 h 28"/>
                    <a:gd name="T74" fmla="*/ 30 w 40"/>
                    <a:gd name="T75" fmla="*/ 3 h 28"/>
                    <a:gd name="T76" fmla="*/ 32 w 40"/>
                    <a:gd name="T77" fmla="*/ 6 h 28"/>
                    <a:gd name="T78" fmla="*/ 35 w 40"/>
                    <a:gd name="T79" fmla="*/ 10 h 28"/>
                    <a:gd name="T80" fmla="*/ 35 w 40"/>
                    <a:gd name="T81" fmla="*/ 13 h 28"/>
                    <a:gd name="T82" fmla="*/ 33 w 40"/>
                    <a:gd name="T83" fmla="*/ 15 h 28"/>
                    <a:gd name="T84" fmla="*/ 38 w 40"/>
                    <a:gd name="T85" fmla="*/ 15 h 28"/>
                    <a:gd name="T86" fmla="*/ 40 w 40"/>
                    <a:gd name="T87" fmla="*/ 18 h 28"/>
                    <a:gd name="T88" fmla="*/ 40 w 40"/>
                    <a:gd name="T89" fmla="*/ 22 h 28"/>
                    <a:gd name="T90" fmla="*/ 38 w 40"/>
                    <a:gd name="T91" fmla="*/ 18 h 28"/>
                    <a:gd name="T92" fmla="*/ 38 w 40"/>
                    <a:gd name="T93" fmla="*/ 20 h 28"/>
                    <a:gd name="T94" fmla="*/ 40 w 40"/>
                    <a:gd name="T95" fmla="*/ 22 h 28"/>
                    <a:gd name="T96" fmla="*/ 40 w 40"/>
                    <a:gd name="T97" fmla="*/ 23 h 28"/>
                    <a:gd name="T98" fmla="*/ 38 w 40"/>
                    <a:gd name="T99" fmla="*/ 23 h 28"/>
                    <a:gd name="T100" fmla="*/ 35 w 40"/>
                    <a:gd name="T101" fmla="*/ 25 h 28"/>
                    <a:gd name="T102" fmla="*/ 33 w 40"/>
                    <a:gd name="T103" fmla="*/ 27 h 28"/>
                    <a:gd name="T104" fmla="*/ 32 w 40"/>
                    <a:gd name="T105" fmla="*/ 28 h 28"/>
                    <a:gd name="T106" fmla="*/ 30 w 40"/>
                    <a:gd name="T107" fmla="*/ 2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0" h="28">
                      <a:moveTo>
                        <a:pt x="30" y="28"/>
                      </a:moveTo>
                      <a:lnTo>
                        <a:pt x="28" y="28"/>
                      </a:lnTo>
                      <a:lnTo>
                        <a:pt x="28" y="25"/>
                      </a:lnTo>
                      <a:lnTo>
                        <a:pt x="28" y="23"/>
                      </a:lnTo>
                      <a:lnTo>
                        <a:pt x="27" y="22"/>
                      </a:lnTo>
                      <a:lnTo>
                        <a:pt x="25" y="20"/>
                      </a:lnTo>
                      <a:lnTo>
                        <a:pt x="21" y="20"/>
                      </a:lnTo>
                      <a:lnTo>
                        <a:pt x="18" y="22"/>
                      </a:lnTo>
                      <a:lnTo>
                        <a:pt x="15" y="22"/>
                      </a:lnTo>
                      <a:lnTo>
                        <a:pt x="13" y="23"/>
                      </a:lnTo>
                      <a:lnTo>
                        <a:pt x="10" y="27"/>
                      </a:lnTo>
                      <a:lnTo>
                        <a:pt x="6" y="25"/>
                      </a:lnTo>
                      <a:lnTo>
                        <a:pt x="5" y="22"/>
                      </a:lnTo>
                      <a:lnTo>
                        <a:pt x="0" y="18"/>
                      </a:lnTo>
                      <a:lnTo>
                        <a:pt x="3" y="17"/>
                      </a:lnTo>
                      <a:lnTo>
                        <a:pt x="3" y="13"/>
                      </a:lnTo>
                      <a:lnTo>
                        <a:pt x="6" y="13"/>
                      </a:lnTo>
                      <a:lnTo>
                        <a:pt x="8" y="12"/>
                      </a:lnTo>
                      <a:lnTo>
                        <a:pt x="8" y="8"/>
                      </a:lnTo>
                      <a:lnTo>
                        <a:pt x="10" y="8"/>
                      </a:lnTo>
                      <a:lnTo>
                        <a:pt x="10" y="6"/>
                      </a:lnTo>
                      <a:lnTo>
                        <a:pt x="10" y="5"/>
                      </a:lnTo>
                      <a:lnTo>
                        <a:pt x="10" y="3"/>
                      </a:lnTo>
                      <a:lnTo>
                        <a:pt x="10" y="1"/>
                      </a:lnTo>
                      <a:lnTo>
                        <a:pt x="11" y="1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6" y="1"/>
                      </a:lnTo>
                      <a:lnTo>
                        <a:pt x="16" y="3"/>
                      </a:lnTo>
                      <a:lnTo>
                        <a:pt x="15" y="5"/>
                      </a:lnTo>
                      <a:lnTo>
                        <a:pt x="15" y="6"/>
                      </a:lnTo>
                      <a:lnTo>
                        <a:pt x="16" y="6"/>
                      </a:lnTo>
                      <a:lnTo>
                        <a:pt x="18" y="5"/>
                      </a:lnTo>
                      <a:lnTo>
                        <a:pt x="21" y="3"/>
                      </a:lnTo>
                      <a:lnTo>
                        <a:pt x="25" y="3"/>
                      </a:lnTo>
                      <a:lnTo>
                        <a:pt x="27" y="3"/>
                      </a:lnTo>
                      <a:lnTo>
                        <a:pt x="30" y="3"/>
                      </a:lnTo>
                      <a:lnTo>
                        <a:pt x="32" y="6"/>
                      </a:lnTo>
                      <a:lnTo>
                        <a:pt x="35" y="10"/>
                      </a:lnTo>
                      <a:lnTo>
                        <a:pt x="35" y="13"/>
                      </a:lnTo>
                      <a:lnTo>
                        <a:pt x="33" y="15"/>
                      </a:lnTo>
                      <a:lnTo>
                        <a:pt x="38" y="15"/>
                      </a:lnTo>
                      <a:lnTo>
                        <a:pt x="40" y="18"/>
                      </a:lnTo>
                      <a:lnTo>
                        <a:pt x="40" y="22"/>
                      </a:lnTo>
                      <a:lnTo>
                        <a:pt x="38" y="18"/>
                      </a:lnTo>
                      <a:lnTo>
                        <a:pt x="38" y="20"/>
                      </a:lnTo>
                      <a:lnTo>
                        <a:pt x="40" y="22"/>
                      </a:lnTo>
                      <a:lnTo>
                        <a:pt x="40" y="23"/>
                      </a:lnTo>
                      <a:lnTo>
                        <a:pt x="38" y="23"/>
                      </a:lnTo>
                      <a:lnTo>
                        <a:pt x="35" y="25"/>
                      </a:lnTo>
                      <a:lnTo>
                        <a:pt x="33" y="27"/>
                      </a:lnTo>
                      <a:lnTo>
                        <a:pt x="32" y="28"/>
                      </a:lnTo>
                      <a:lnTo>
                        <a:pt x="30" y="28"/>
                      </a:lnTo>
                      <a:close/>
                    </a:path>
                  </a:pathLst>
                </a:custGeom>
                <a:solidFill>
                  <a:srgbClr val="EB1562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672" name="Group 1671">
              <a:extLst>
                <a:ext uri="{FF2B5EF4-FFF2-40B4-BE49-F238E27FC236}">
                  <a16:creationId xmlns:a16="http://schemas.microsoft.com/office/drawing/2014/main" id="{FD187F07-D544-FE4C-8353-91C312622F6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0" y="578"/>
              <a:ext cx="68" cy="84"/>
              <a:chOff x="450" y="578"/>
              <a:chExt cx="68" cy="84"/>
            </a:xfrm>
          </p:grpSpPr>
          <p:sp>
            <p:nvSpPr>
              <p:cNvPr id="1699" name="Freeform 73">
                <a:extLst>
                  <a:ext uri="{FF2B5EF4-FFF2-40B4-BE49-F238E27FC236}">
                    <a16:creationId xmlns:a16="http://schemas.microsoft.com/office/drawing/2014/main" id="{CA487CF0-BC51-3C4E-A2C6-A66C94A646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" y="578"/>
                <a:ext cx="68" cy="84"/>
              </a:xfrm>
              <a:custGeom>
                <a:avLst/>
                <a:gdLst>
                  <a:gd name="T0" fmla="*/ 64 w 68"/>
                  <a:gd name="T1" fmla="*/ 64 h 84"/>
                  <a:gd name="T2" fmla="*/ 63 w 68"/>
                  <a:gd name="T3" fmla="*/ 55 h 84"/>
                  <a:gd name="T4" fmla="*/ 59 w 68"/>
                  <a:gd name="T5" fmla="*/ 47 h 84"/>
                  <a:gd name="T6" fmla="*/ 66 w 68"/>
                  <a:gd name="T7" fmla="*/ 40 h 84"/>
                  <a:gd name="T8" fmla="*/ 61 w 68"/>
                  <a:gd name="T9" fmla="*/ 35 h 84"/>
                  <a:gd name="T10" fmla="*/ 61 w 68"/>
                  <a:gd name="T11" fmla="*/ 30 h 84"/>
                  <a:gd name="T12" fmla="*/ 54 w 68"/>
                  <a:gd name="T13" fmla="*/ 30 h 84"/>
                  <a:gd name="T14" fmla="*/ 46 w 68"/>
                  <a:gd name="T15" fmla="*/ 27 h 84"/>
                  <a:gd name="T16" fmla="*/ 44 w 68"/>
                  <a:gd name="T17" fmla="*/ 20 h 84"/>
                  <a:gd name="T18" fmla="*/ 39 w 68"/>
                  <a:gd name="T19" fmla="*/ 18 h 84"/>
                  <a:gd name="T20" fmla="*/ 36 w 68"/>
                  <a:gd name="T21" fmla="*/ 10 h 84"/>
                  <a:gd name="T22" fmla="*/ 31 w 68"/>
                  <a:gd name="T23" fmla="*/ 5 h 84"/>
                  <a:gd name="T24" fmla="*/ 26 w 68"/>
                  <a:gd name="T25" fmla="*/ 2 h 84"/>
                  <a:gd name="T26" fmla="*/ 21 w 68"/>
                  <a:gd name="T27" fmla="*/ 2 h 84"/>
                  <a:gd name="T28" fmla="*/ 12 w 68"/>
                  <a:gd name="T29" fmla="*/ 3 h 84"/>
                  <a:gd name="T30" fmla="*/ 7 w 68"/>
                  <a:gd name="T31" fmla="*/ 5 h 84"/>
                  <a:gd name="T32" fmla="*/ 7 w 68"/>
                  <a:gd name="T33" fmla="*/ 10 h 84"/>
                  <a:gd name="T34" fmla="*/ 5 w 68"/>
                  <a:gd name="T35" fmla="*/ 13 h 84"/>
                  <a:gd name="T36" fmla="*/ 9 w 68"/>
                  <a:gd name="T37" fmla="*/ 15 h 84"/>
                  <a:gd name="T38" fmla="*/ 7 w 68"/>
                  <a:gd name="T39" fmla="*/ 18 h 84"/>
                  <a:gd name="T40" fmla="*/ 14 w 68"/>
                  <a:gd name="T41" fmla="*/ 20 h 84"/>
                  <a:gd name="T42" fmla="*/ 14 w 68"/>
                  <a:gd name="T43" fmla="*/ 20 h 84"/>
                  <a:gd name="T44" fmla="*/ 12 w 68"/>
                  <a:gd name="T45" fmla="*/ 22 h 84"/>
                  <a:gd name="T46" fmla="*/ 10 w 68"/>
                  <a:gd name="T47" fmla="*/ 22 h 84"/>
                  <a:gd name="T48" fmla="*/ 9 w 68"/>
                  <a:gd name="T49" fmla="*/ 23 h 84"/>
                  <a:gd name="T50" fmla="*/ 12 w 68"/>
                  <a:gd name="T51" fmla="*/ 25 h 84"/>
                  <a:gd name="T52" fmla="*/ 9 w 68"/>
                  <a:gd name="T53" fmla="*/ 30 h 84"/>
                  <a:gd name="T54" fmla="*/ 9 w 68"/>
                  <a:gd name="T55" fmla="*/ 35 h 84"/>
                  <a:gd name="T56" fmla="*/ 12 w 68"/>
                  <a:gd name="T57" fmla="*/ 39 h 84"/>
                  <a:gd name="T58" fmla="*/ 15 w 68"/>
                  <a:gd name="T59" fmla="*/ 42 h 84"/>
                  <a:gd name="T60" fmla="*/ 17 w 68"/>
                  <a:gd name="T61" fmla="*/ 44 h 84"/>
                  <a:gd name="T62" fmla="*/ 14 w 68"/>
                  <a:gd name="T63" fmla="*/ 45 h 84"/>
                  <a:gd name="T64" fmla="*/ 12 w 68"/>
                  <a:gd name="T65" fmla="*/ 44 h 84"/>
                  <a:gd name="T66" fmla="*/ 10 w 68"/>
                  <a:gd name="T67" fmla="*/ 45 h 84"/>
                  <a:gd name="T68" fmla="*/ 12 w 68"/>
                  <a:gd name="T69" fmla="*/ 49 h 84"/>
                  <a:gd name="T70" fmla="*/ 12 w 68"/>
                  <a:gd name="T71" fmla="*/ 52 h 84"/>
                  <a:gd name="T72" fmla="*/ 9 w 68"/>
                  <a:gd name="T73" fmla="*/ 52 h 84"/>
                  <a:gd name="T74" fmla="*/ 7 w 68"/>
                  <a:gd name="T75" fmla="*/ 54 h 84"/>
                  <a:gd name="T76" fmla="*/ 9 w 68"/>
                  <a:gd name="T77" fmla="*/ 55 h 84"/>
                  <a:gd name="T78" fmla="*/ 7 w 68"/>
                  <a:gd name="T79" fmla="*/ 57 h 84"/>
                  <a:gd name="T80" fmla="*/ 4 w 68"/>
                  <a:gd name="T81" fmla="*/ 57 h 84"/>
                  <a:gd name="T82" fmla="*/ 4 w 68"/>
                  <a:gd name="T83" fmla="*/ 61 h 84"/>
                  <a:gd name="T84" fmla="*/ 2 w 68"/>
                  <a:gd name="T85" fmla="*/ 62 h 84"/>
                  <a:gd name="T86" fmla="*/ 0 w 68"/>
                  <a:gd name="T87" fmla="*/ 64 h 84"/>
                  <a:gd name="T88" fmla="*/ 2 w 68"/>
                  <a:gd name="T89" fmla="*/ 66 h 84"/>
                  <a:gd name="T90" fmla="*/ 0 w 68"/>
                  <a:gd name="T91" fmla="*/ 71 h 84"/>
                  <a:gd name="T92" fmla="*/ 2 w 68"/>
                  <a:gd name="T93" fmla="*/ 74 h 84"/>
                  <a:gd name="T94" fmla="*/ 7 w 68"/>
                  <a:gd name="T95" fmla="*/ 77 h 84"/>
                  <a:gd name="T96" fmla="*/ 10 w 68"/>
                  <a:gd name="T97" fmla="*/ 82 h 84"/>
                  <a:gd name="T98" fmla="*/ 14 w 68"/>
                  <a:gd name="T99" fmla="*/ 79 h 84"/>
                  <a:gd name="T100" fmla="*/ 14 w 68"/>
                  <a:gd name="T101" fmla="*/ 72 h 84"/>
                  <a:gd name="T102" fmla="*/ 19 w 68"/>
                  <a:gd name="T103" fmla="*/ 69 h 84"/>
                  <a:gd name="T104" fmla="*/ 24 w 68"/>
                  <a:gd name="T105" fmla="*/ 71 h 84"/>
                  <a:gd name="T106" fmla="*/ 29 w 68"/>
                  <a:gd name="T107" fmla="*/ 76 h 84"/>
                  <a:gd name="T108" fmla="*/ 32 w 68"/>
                  <a:gd name="T109" fmla="*/ 84 h 84"/>
                  <a:gd name="T110" fmla="*/ 37 w 68"/>
                  <a:gd name="T111" fmla="*/ 77 h 84"/>
                  <a:gd name="T112" fmla="*/ 42 w 68"/>
                  <a:gd name="T113" fmla="*/ 77 h 84"/>
                  <a:gd name="T114" fmla="*/ 48 w 68"/>
                  <a:gd name="T115" fmla="*/ 76 h 84"/>
                  <a:gd name="T116" fmla="*/ 53 w 68"/>
                  <a:gd name="T117" fmla="*/ 74 h 84"/>
                  <a:gd name="T118" fmla="*/ 61 w 68"/>
                  <a:gd name="T119" fmla="*/ 7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8" h="84">
                    <a:moveTo>
                      <a:pt x="61" y="69"/>
                    </a:moveTo>
                    <a:lnTo>
                      <a:pt x="64" y="64"/>
                    </a:lnTo>
                    <a:lnTo>
                      <a:pt x="68" y="61"/>
                    </a:lnTo>
                    <a:lnTo>
                      <a:pt x="63" y="55"/>
                    </a:lnTo>
                    <a:lnTo>
                      <a:pt x="61" y="52"/>
                    </a:lnTo>
                    <a:lnTo>
                      <a:pt x="59" y="47"/>
                    </a:lnTo>
                    <a:lnTo>
                      <a:pt x="61" y="42"/>
                    </a:lnTo>
                    <a:lnTo>
                      <a:pt x="66" y="40"/>
                    </a:lnTo>
                    <a:lnTo>
                      <a:pt x="63" y="39"/>
                    </a:lnTo>
                    <a:lnTo>
                      <a:pt x="61" y="35"/>
                    </a:lnTo>
                    <a:lnTo>
                      <a:pt x="64" y="32"/>
                    </a:lnTo>
                    <a:lnTo>
                      <a:pt x="61" y="30"/>
                    </a:lnTo>
                    <a:lnTo>
                      <a:pt x="58" y="32"/>
                    </a:lnTo>
                    <a:lnTo>
                      <a:pt x="54" y="30"/>
                    </a:lnTo>
                    <a:lnTo>
                      <a:pt x="51" y="30"/>
                    </a:lnTo>
                    <a:lnTo>
                      <a:pt x="46" y="27"/>
                    </a:lnTo>
                    <a:lnTo>
                      <a:pt x="46" y="22"/>
                    </a:lnTo>
                    <a:lnTo>
                      <a:pt x="44" y="20"/>
                    </a:lnTo>
                    <a:lnTo>
                      <a:pt x="42" y="18"/>
                    </a:lnTo>
                    <a:lnTo>
                      <a:pt x="39" y="18"/>
                    </a:lnTo>
                    <a:lnTo>
                      <a:pt x="37" y="15"/>
                    </a:lnTo>
                    <a:lnTo>
                      <a:pt x="36" y="10"/>
                    </a:lnTo>
                    <a:lnTo>
                      <a:pt x="34" y="7"/>
                    </a:lnTo>
                    <a:lnTo>
                      <a:pt x="31" y="5"/>
                    </a:lnTo>
                    <a:lnTo>
                      <a:pt x="27" y="3"/>
                    </a:lnTo>
                    <a:lnTo>
                      <a:pt x="26" y="2"/>
                    </a:lnTo>
                    <a:lnTo>
                      <a:pt x="24" y="0"/>
                    </a:lnTo>
                    <a:lnTo>
                      <a:pt x="21" y="2"/>
                    </a:lnTo>
                    <a:lnTo>
                      <a:pt x="17" y="2"/>
                    </a:lnTo>
                    <a:lnTo>
                      <a:pt x="12" y="3"/>
                    </a:lnTo>
                    <a:lnTo>
                      <a:pt x="9" y="3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7" y="10"/>
                    </a:lnTo>
                    <a:lnTo>
                      <a:pt x="7" y="12"/>
                    </a:lnTo>
                    <a:lnTo>
                      <a:pt x="5" y="13"/>
                    </a:lnTo>
                    <a:lnTo>
                      <a:pt x="7" y="13"/>
                    </a:lnTo>
                    <a:lnTo>
                      <a:pt x="9" y="15"/>
                    </a:lnTo>
                    <a:lnTo>
                      <a:pt x="7" y="15"/>
                    </a:lnTo>
                    <a:lnTo>
                      <a:pt x="7" y="18"/>
                    </a:lnTo>
                    <a:lnTo>
                      <a:pt x="10" y="18"/>
                    </a:lnTo>
                    <a:lnTo>
                      <a:pt x="14" y="20"/>
                    </a:lnTo>
                    <a:lnTo>
                      <a:pt x="15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2" y="22"/>
                    </a:lnTo>
                    <a:lnTo>
                      <a:pt x="10" y="20"/>
                    </a:lnTo>
                    <a:lnTo>
                      <a:pt x="10" y="22"/>
                    </a:lnTo>
                    <a:lnTo>
                      <a:pt x="9" y="22"/>
                    </a:lnTo>
                    <a:lnTo>
                      <a:pt x="9" y="23"/>
                    </a:lnTo>
                    <a:lnTo>
                      <a:pt x="9" y="25"/>
                    </a:lnTo>
                    <a:lnTo>
                      <a:pt x="12" y="25"/>
                    </a:lnTo>
                    <a:lnTo>
                      <a:pt x="10" y="29"/>
                    </a:lnTo>
                    <a:lnTo>
                      <a:pt x="9" y="30"/>
                    </a:lnTo>
                    <a:lnTo>
                      <a:pt x="9" y="32"/>
                    </a:lnTo>
                    <a:lnTo>
                      <a:pt x="9" y="35"/>
                    </a:lnTo>
                    <a:lnTo>
                      <a:pt x="10" y="37"/>
                    </a:lnTo>
                    <a:lnTo>
                      <a:pt x="12" y="39"/>
                    </a:lnTo>
                    <a:lnTo>
                      <a:pt x="14" y="42"/>
                    </a:lnTo>
                    <a:lnTo>
                      <a:pt x="15" y="42"/>
                    </a:lnTo>
                    <a:lnTo>
                      <a:pt x="17" y="42"/>
                    </a:lnTo>
                    <a:lnTo>
                      <a:pt x="17" y="44"/>
                    </a:lnTo>
                    <a:lnTo>
                      <a:pt x="15" y="44"/>
                    </a:lnTo>
                    <a:lnTo>
                      <a:pt x="14" y="45"/>
                    </a:lnTo>
                    <a:lnTo>
                      <a:pt x="12" y="45"/>
                    </a:lnTo>
                    <a:lnTo>
                      <a:pt x="12" y="44"/>
                    </a:lnTo>
                    <a:lnTo>
                      <a:pt x="10" y="44"/>
                    </a:lnTo>
                    <a:lnTo>
                      <a:pt x="10" y="45"/>
                    </a:lnTo>
                    <a:lnTo>
                      <a:pt x="12" y="47"/>
                    </a:lnTo>
                    <a:lnTo>
                      <a:pt x="12" y="49"/>
                    </a:lnTo>
                    <a:lnTo>
                      <a:pt x="12" y="50"/>
                    </a:lnTo>
                    <a:lnTo>
                      <a:pt x="12" y="52"/>
                    </a:lnTo>
                    <a:lnTo>
                      <a:pt x="10" y="52"/>
                    </a:lnTo>
                    <a:lnTo>
                      <a:pt x="9" y="52"/>
                    </a:lnTo>
                    <a:lnTo>
                      <a:pt x="7" y="52"/>
                    </a:lnTo>
                    <a:lnTo>
                      <a:pt x="7" y="54"/>
                    </a:lnTo>
                    <a:lnTo>
                      <a:pt x="7" y="55"/>
                    </a:lnTo>
                    <a:lnTo>
                      <a:pt x="9" y="55"/>
                    </a:lnTo>
                    <a:lnTo>
                      <a:pt x="9" y="57"/>
                    </a:lnTo>
                    <a:lnTo>
                      <a:pt x="7" y="57"/>
                    </a:lnTo>
                    <a:lnTo>
                      <a:pt x="5" y="57"/>
                    </a:lnTo>
                    <a:lnTo>
                      <a:pt x="4" y="57"/>
                    </a:lnTo>
                    <a:lnTo>
                      <a:pt x="4" y="59"/>
                    </a:lnTo>
                    <a:lnTo>
                      <a:pt x="4" y="61"/>
                    </a:lnTo>
                    <a:lnTo>
                      <a:pt x="4" y="62"/>
                    </a:lnTo>
                    <a:lnTo>
                      <a:pt x="2" y="62"/>
                    </a:lnTo>
                    <a:lnTo>
                      <a:pt x="0" y="62"/>
                    </a:lnTo>
                    <a:lnTo>
                      <a:pt x="0" y="64"/>
                    </a:lnTo>
                    <a:lnTo>
                      <a:pt x="0" y="66"/>
                    </a:lnTo>
                    <a:lnTo>
                      <a:pt x="2" y="66"/>
                    </a:lnTo>
                    <a:lnTo>
                      <a:pt x="2" y="67"/>
                    </a:lnTo>
                    <a:lnTo>
                      <a:pt x="0" y="71"/>
                    </a:lnTo>
                    <a:lnTo>
                      <a:pt x="0" y="72"/>
                    </a:lnTo>
                    <a:lnTo>
                      <a:pt x="2" y="74"/>
                    </a:lnTo>
                    <a:lnTo>
                      <a:pt x="4" y="74"/>
                    </a:lnTo>
                    <a:lnTo>
                      <a:pt x="7" y="77"/>
                    </a:lnTo>
                    <a:lnTo>
                      <a:pt x="9" y="79"/>
                    </a:lnTo>
                    <a:lnTo>
                      <a:pt x="10" y="82"/>
                    </a:lnTo>
                    <a:lnTo>
                      <a:pt x="12" y="84"/>
                    </a:lnTo>
                    <a:lnTo>
                      <a:pt x="14" y="79"/>
                    </a:lnTo>
                    <a:lnTo>
                      <a:pt x="14" y="77"/>
                    </a:lnTo>
                    <a:lnTo>
                      <a:pt x="14" y="72"/>
                    </a:lnTo>
                    <a:lnTo>
                      <a:pt x="17" y="71"/>
                    </a:lnTo>
                    <a:lnTo>
                      <a:pt x="19" y="69"/>
                    </a:lnTo>
                    <a:lnTo>
                      <a:pt x="21" y="71"/>
                    </a:lnTo>
                    <a:lnTo>
                      <a:pt x="24" y="71"/>
                    </a:lnTo>
                    <a:lnTo>
                      <a:pt x="27" y="74"/>
                    </a:lnTo>
                    <a:lnTo>
                      <a:pt x="29" y="76"/>
                    </a:lnTo>
                    <a:lnTo>
                      <a:pt x="32" y="79"/>
                    </a:lnTo>
                    <a:lnTo>
                      <a:pt x="32" y="84"/>
                    </a:lnTo>
                    <a:lnTo>
                      <a:pt x="34" y="82"/>
                    </a:lnTo>
                    <a:lnTo>
                      <a:pt x="37" y="77"/>
                    </a:lnTo>
                    <a:lnTo>
                      <a:pt x="41" y="77"/>
                    </a:lnTo>
                    <a:lnTo>
                      <a:pt x="42" y="77"/>
                    </a:lnTo>
                    <a:lnTo>
                      <a:pt x="44" y="76"/>
                    </a:lnTo>
                    <a:lnTo>
                      <a:pt x="48" y="76"/>
                    </a:lnTo>
                    <a:lnTo>
                      <a:pt x="51" y="76"/>
                    </a:lnTo>
                    <a:lnTo>
                      <a:pt x="53" y="74"/>
                    </a:lnTo>
                    <a:lnTo>
                      <a:pt x="59" y="74"/>
                    </a:lnTo>
                    <a:lnTo>
                      <a:pt x="61" y="76"/>
                    </a:lnTo>
                    <a:lnTo>
                      <a:pt x="61" y="69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700" name="Freeform 74">
                <a:extLst>
                  <a:ext uri="{FF2B5EF4-FFF2-40B4-BE49-F238E27FC236}">
                    <a16:creationId xmlns:a16="http://schemas.microsoft.com/office/drawing/2014/main" id="{D1E9C4E7-5BB2-3540-A593-C9FC3F56C4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" y="578"/>
                <a:ext cx="68" cy="84"/>
              </a:xfrm>
              <a:custGeom>
                <a:avLst/>
                <a:gdLst>
                  <a:gd name="T0" fmla="*/ 64 w 68"/>
                  <a:gd name="T1" fmla="*/ 64 h 84"/>
                  <a:gd name="T2" fmla="*/ 63 w 68"/>
                  <a:gd name="T3" fmla="*/ 55 h 84"/>
                  <a:gd name="T4" fmla="*/ 59 w 68"/>
                  <a:gd name="T5" fmla="*/ 47 h 84"/>
                  <a:gd name="T6" fmla="*/ 66 w 68"/>
                  <a:gd name="T7" fmla="*/ 40 h 84"/>
                  <a:gd name="T8" fmla="*/ 61 w 68"/>
                  <a:gd name="T9" fmla="*/ 35 h 84"/>
                  <a:gd name="T10" fmla="*/ 61 w 68"/>
                  <a:gd name="T11" fmla="*/ 30 h 84"/>
                  <a:gd name="T12" fmla="*/ 54 w 68"/>
                  <a:gd name="T13" fmla="*/ 30 h 84"/>
                  <a:gd name="T14" fmla="*/ 46 w 68"/>
                  <a:gd name="T15" fmla="*/ 27 h 84"/>
                  <a:gd name="T16" fmla="*/ 44 w 68"/>
                  <a:gd name="T17" fmla="*/ 20 h 84"/>
                  <a:gd name="T18" fmla="*/ 39 w 68"/>
                  <a:gd name="T19" fmla="*/ 18 h 84"/>
                  <a:gd name="T20" fmla="*/ 36 w 68"/>
                  <a:gd name="T21" fmla="*/ 10 h 84"/>
                  <a:gd name="T22" fmla="*/ 31 w 68"/>
                  <a:gd name="T23" fmla="*/ 5 h 84"/>
                  <a:gd name="T24" fmla="*/ 26 w 68"/>
                  <a:gd name="T25" fmla="*/ 2 h 84"/>
                  <a:gd name="T26" fmla="*/ 21 w 68"/>
                  <a:gd name="T27" fmla="*/ 2 h 84"/>
                  <a:gd name="T28" fmla="*/ 12 w 68"/>
                  <a:gd name="T29" fmla="*/ 3 h 84"/>
                  <a:gd name="T30" fmla="*/ 7 w 68"/>
                  <a:gd name="T31" fmla="*/ 5 h 84"/>
                  <a:gd name="T32" fmla="*/ 7 w 68"/>
                  <a:gd name="T33" fmla="*/ 10 h 84"/>
                  <a:gd name="T34" fmla="*/ 5 w 68"/>
                  <a:gd name="T35" fmla="*/ 13 h 84"/>
                  <a:gd name="T36" fmla="*/ 9 w 68"/>
                  <a:gd name="T37" fmla="*/ 15 h 84"/>
                  <a:gd name="T38" fmla="*/ 7 w 68"/>
                  <a:gd name="T39" fmla="*/ 18 h 84"/>
                  <a:gd name="T40" fmla="*/ 14 w 68"/>
                  <a:gd name="T41" fmla="*/ 20 h 84"/>
                  <a:gd name="T42" fmla="*/ 14 w 68"/>
                  <a:gd name="T43" fmla="*/ 20 h 84"/>
                  <a:gd name="T44" fmla="*/ 12 w 68"/>
                  <a:gd name="T45" fmla="*/ 22 h 84"/>
                  <a:gd name="T46" fmla="*/ 10 w 68"/>
                  <a:gd name="T47" fmla="*/ 22 h 84"/>
                  <a:gd name="T48" fmla="*/ 9 w 68"/>
                  <a:gd name="T49" fmla="*/ 23 h 84"/>
                  <a:gd name="T50" fmla="*/ 12 w 68"/>
                  <a:gd name="T51" fmla="*/ 25 h 84"/>
                  <a:gd name="T52" fmla="*/ 9 w 68"/>
                  <a:gd name="T53" fmla="*/ 30 h 84"/>
                  <a:gd name="T54" fmla="*/ 9 w 68"/>
                  <a:gd name="T55" fmla="*/ 35 h 84"/>
                  <a:gd name="T56" fmla="*/ 12 w 68"/>
                  <a:gd name="T57" fmla="*/ 39 h 84"/>
                  <a:gd name="T58" fmla="*/ 15 w 68"/>
                  <a:gd name="T59" fmla="*/ 42 h 84"/>
                  <a:gd name="T60" fmla="*/ 17 w 68"/>
                  <a:gd name="T61" fmla="*/ 44 h 84"/>
                  <a:gd name="T62" fmla="*/ 14 w 68"/>
                  <a:gd name="T63" fmla="*/ 45 h 84"/>
                  <a:gd name="T64" fmla="*/ 12 w 68"/>
                  <a:gd name="T65" fmla="*/ 44 h 84"/>
                  <a:gd name="T66" fmla="*/ 10 w 68"/>
                  <a:gd name="T67" fmla="*/ 45 h 84"/>
                  <a:gd name="T68" fmla="*/ 12 w 68"/>
                  <a:gd name="T69" fmla="*/ 49 h 84"/>
                  <a:gd name="T70" fmla="*/ 12 w 68"/>
                  <a:gd name="T71" fmla="*/ 52 h 84"/>
                  <a:gd name="T72" fmla="*/ 9 w 68"/>
                  <a:gd name="T73" fmla="*/ 52 h 84"/>
                  <a:gd name="T74" fmla="*/ 7 w 68"/>
                  <a:gd name="T75" fmla="*/ 54 h 84"/>
                  <a:gd name="T76" fmla="*/ 9 w 68"/>
                  <a:gd name="T77" fmla="*/ 55 h 84"/>
                  <a:gd name="T78" fmla="*/ 7 w 68"/>
                  <a:gd name="T79" fmla="*/ 57 h 84"/>
                  <a:gd name="T80" fmla="*/ 4 w 68"/>
                  <a:gd name="T81" fmla="*/ 57 h 84"/>
                  <a:gd name="T82" fmla="*/ 4 w 68"/>
                  <a:gd name="T83" fmla="*/ 61 h 84"/>
                  <a:gd name="T84" fmla="*/ 2 w 68"/>
                  <a:gd name="T85" fmla="*/ 62 h 84"/>
                  <a:gd name="T86" fmla="*/ 0 w 68"/>
                  <a:gd name="T87" fmla="*/ 64 h 84"/>
                  <a:gd name="T88" fmla="*/ 2 w 68"/>
                  <a:gd name="T89" fmla="*/ 66 h 84"/>
                  <a:gd name="T90" fmla="*/ 0 w 68"/>
                  <a:gd name="T91" fmla="*/ 71 h 84"/>
                  <a:gd name="T92" fmla="*/ 2 w 68"/>
                  <a:gd name="T93" fmla="*/ 74 h 84"/>
                  <a:gd name="T94" fmla="*/ 7 w 68"/>
                  <a:gd name="T95" fmla="*/ 77 h 84"/>
                  <a:gd name="T96" fmla="*/ 10 w 68"/>
                  <a:gd name="T97" fmla="*/ 82 h 84"/>
                  <a:gd name="T98" fmla="*/ 14 w 68"/>
                  <a:gd name="T99" fmla="*/ 79 h 84"/>
                  <a:gd name="T100" fmla="*/ 14 w 68"/>
                  <a:gd name="T101" fmla="*/ 72 h 84"/>
                  <a:gd name="T102" fmla="*/ 19 w 68"/>
                  <a:gd name="T103" fmla="*/ 69 h 84"/>
                  <a:gd name="T104" fmla="*/ 24 w 68"/>
                  <a:gd name="T105" fmla="*/ 71 h 84"/>
                  <a:gd name="T106" fmla="*/ 29 w 68"/>
                  <a:gd name="T107" fmla="*/ 76 h 84"/>
                  <a:gd name="T108" fmla="*/ 32 w 68"/>
                  <a:gd name="T109" fmla="*/ 84 h 84"/>
                  <a:gd name="T110" fmla="*/ 37 w 68"/>
                  <a:gd name="T111" fmla="*/ 77 h 84"/>
                  <a:gd name="T112" fmla="*/ 42 w 68"/>
                  <a:gd name="T113" fmla="*/ 77 h 84"/>
                  <a:gd name="T114" fmla="*/ 48 w 68"/>
                  <a:gd name="T115" fmla="*/ 76 h 84"/>
                  <a:gd name="T116" fmla="*/ 53 w 68"/>
                  <a:gd name="T117" fmla="*/ 74 h 84"/>
                  <a:gd name="T118" fmla="*/ 61 w 68"/>
                  <a:gd name="T119" fmla="*/ 7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8" h="84">
                    <a:moveTo>
                      <a:pt x="61" y="69"/>
                    </a:moveTo>
                    <a:lnTo>
                      <a:pt x="64" y="64"/>
                    </a:lnTo>
                    <a:lnTo>
                      <a:pt x="68" y="61"/>
                    </a:lnTo>
                    <a:lnTo>
                      <a:pt x="63" y="55"/>
                    </a:lnTo>
                    <a:lnTo>
                      <a:pt x="61" y="52"/>
                    </a:lnTo>
                    <a:lnTo>
                      <a:pt x="59" y="47"/>
                    </a:lnTo>
                    <a:lnTo>
                      <a:pt x="61" y="42"/>
                    </a:lnTo>
                    <a:lnTo>
                      <a:pt x="66" y="40"/>
                    </a:lnTo>
                    <a:lnTo>
                      <a:pt x="63" y="39"/>
                    </a:lnTo>
                    <a:lnTo>
                      <a:pt x="61" y="35"/>
                    </a:lnTo>
                    <a:lnTo>
                      <a:pt x="64" y="32"/>
                    </a:lnTo>
                    <a:lnTo>
                      <a:pt x="61" y="30"/>
                    </a:lnTo>
                    <a:lnTo>
                      <a:pt x="58" y="32"/>
                    </a:lnTo>
                    <a:lnTo>
                      <a:pt x="54" y="30"/>
                    </a:lnTo>
                    <a:lnTo>
                      <a:pt x="51" y="30"/>
                    </a:lnTo>
                    <a:lnTo>
                      <a:pt x="46" y="27"/>
                    </a:lnTo>
                    <a:lnTo>
                      <a:pt x="46" y="22"/>
                    </a:lnTo>
                    <a:lnTo>
                      <a:pt x="44" y="20"/>
                    </a:lnTo>
                    <a:lnTo>
                      <a:pt x="42" y="18"/>
                    </a:lnTo>
                    <a:lnTo>
                      <a:pt x="39" y="18"/>
                    </a:lnTo>
                    <a:lnTo>
                      <a:pt x="37" y="15"/>
                    </a:lnTo>
                    <a:lnTo>
                      <a:pt x="36" y="10"/>
                    </a:lnTo>
                    <a:lnTo>
                      <a:pt x="34" y="7"/>
                    </a:lnTo>
                    <a:lnTo>
                      <a:pt x="31" y="5"/>
                    </a:lnTo>
                    <a:lnTo>
                      <a:pt x="27" y="3"/>
                    </a:lnTo>
                    <a:lnTo>
                      <a:pt x="26" y="2"/>
                    </a:lnTo>
                    <a:lnTo>
                      <a:pt x="24" y="0"/>
                    </a:lnTo>
                    <a:lnTo>
                      <a:pt x="21" y="2"/>
                    </a:lnTo>
                    <a:lnTo>
                      <a:pt x="17" y="2"/>
                    </a:lnTo>
                    <a:lnTo>
                      <a:pt x="12" y="3"/>
                    </a:lnTo>
                    <a:lnTo>
                      <a:pt x="9" y="3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7" y="10"/>
                    </a:lnTo>
                    <a:lnTo>
                      <a:pt x="7" y="12"/>
                    </a:lnTo>
                    <a:lnTo>
                      <a:pt x="5" y="13"/>
                    </a:lnTo>
                    <a:lnTo>
                      <a:pt x="7" y="13"/>
                    </a:lnTo>
                    <a:lnTo>
                      <a:pt x="9" y="15"/>
                    </a:lnTo>
                    <a:lnTo>
                      <a:pt x="7" y="15"/>
                    </a:lnTo>
                    <a:lnTo>
                      <a:pt x="7" y="18"/>
                    </a:lnTo>
                    <a:lnTo>
                      <a:pt x="10" y="18"/>
                    </a:lnTo>
                    <a:lnTo>
                      <a:pt x="14" y="20"/>
                    </a:lnTo>
                    <a:lnTo>
                      <a:pt x="15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2" y="22"/>
                    </a:lnTo>
                    <a:lnTo>
                      <a:pt x="10" y="20"/>
                    </a:lnTo>
                    <a:lnTo>
                      <a:pt x="10" y="22"/>
                    </a:lnTo>
                    <a:lnTo>
                      <a:pt x="9" y="22"/>
                    </a:lnTo>
                    <a:lnTo>
                      <a:pt x="9" y="23"/>
                    </a:lnTo>
                    <a:lnTo>
                      <a:pt x="9" y="25"/>
                    </a:lnTo>
                    <a:lnTo>
                      <a:pt x="12" y="25"/>
                    </a:lnTo>
                    <a:lnTo>
                      <a:pt x="10" y="29"/>
                    </a:lnTo>
                    <a:lnTo>
                      <a:pt x="9" y="30"/>
                    </a:lnTo>
                    <a:lnTo>
                      <a:pt x="9" y="32"/>
                    </a:lnTo>
                    <a:lnTo>
                      <a:pt x="9" y="35"/>
                    </a:lnTo>
                    <a:lnTo>
                      <a:pt x="10" y="37"/>
                    </a:lnTo>
                    <a:lnTo>
                      <a:pt x="12" y="39"/>
                    </a:lnTo>
                    <a:lnTo>
                      <a:pt x="14" y="42"/>
                    </a:lnTo>
                    <a:lnTo>
                      <a:pt x="15" y="42"/>
                    </a:lnTo>
                    <a:lnTo>
                      <a:pt x="17" y="42"/>
                    </a:lnTo>
                    <a:lnTo>
                      <a:pt x="17" y="44"/>
                    </a:lnTo>
                    <a:lnTo>
                      <a:pt x="15" y="44"/>
                    </a:lnTo>
                    <a:lnTo>
                      <a:pt x="14" y="45"/>
                    </a:lnTo>
                    <a:lnTo>
                      <a:pt x="12" y="45"/>
                    </a:lnTo>
                    <a:lnTo>
                      <a:pt x="12" y="44"/>
                    </a:lnTo>
                    <a:lnTo>
                      <a:pt x="10" y="44"/>
                    </a:lnTo>
                    <a:lnTo>
                      <a:pt x="10" y="45"/>
                    </a:lnTo>
                    <a:lnTo>
                      <a:pt x="12" y="47"/>
                    </a:lnTo>
                    <a:lnTo>
                      <a:pt x="12" y="49"/>
                    </a:lnTo>
                    <a:lnTo>
                      <a:pt x="12" y="50"/>
                    </a:lnTo>
                    <a:lnTo>
                      <a:pt x="12" y="52"/>
                    </a:lnTo>
                    <a:lnTo>
                      <a:pt x="10" y="52"/>
                    </a:lnTo>
                    <a:lnTo>
                      <a:pt x="9" y="52"/>
                    </a:lnTo>
                    <a:lnTo>
                      <a:pt x="7" y="52"/>
                    </a:lnTo>
                    <a:lnTo>
                      <a:pt x="7" y="54"/>
                    </a:lnTo>
                    <a:lnTo>
                      <a:pt x="7" y="55"/>
                    </a:lnTo>
                    <a:lnTo>
                      <a:pt x="9" y="55"/>
                    </a:lnTo>
                    <a:lnTo>
                      <a:pt x="9" y="57"/>
                    </a:lnTo>
                    <a:lnTo>
                      <a:pt x="7" y="57"/>
                    </a:lnTo>
                    <a:lnTo>
                      <a:pt x="5" y="57"/>
                    </a:lnTo>
                    <a:lnTo>
                      <a:pt x="4" y="57"/>
                    </a:lnTo>
                    <a:lnTo>
                      <a:pt x="4" y="59"/>
                    </a:lnTo>
                    <a:lnTo>
                      <a:pt x="4" y="61"/>
                    </a:lnTo>
                    <a:lnTo>
                      <a:pt x="4" y="62"/>
                    </a:lnTo>
                    <a:lnTo>
                      <a:pt x="2" y="62"/>
                    </a:lnTo>
                    <a:lnTo>
                      <a:pt x="0" y="62"/>
                    </a:lnTo>
                    <a:lnTo>
                      <a:pt x="0" y="64"/>
                    </a:lnTo>
                    <a:lnTo>
                      <a:pt x="0" y="66"/>
                    </a:lnTo>
                    <a:lnTo>
                      <a:pt x="2" y="66"/>
                    </a:lnTo>
                    <a:lnTo>
                      <a:pt x="2" y="67"/>
                    </a:lnTo>
                    <a:lnTo>
                      <a:pt x="0" y="71"/>
                    </a:lnTo>
                    <a:lnTo>
                      <a:pt x="0" y="72"/>
                    </a:lnTo>
                    <a:lnTo>
                      <a:pt x="2" y="74"/>
                    </a:lnTo>
                    <a:lnTo>
                      <a:pt x="4" y="74"/>
                    </a:lnTo>
                    <a:lnTo>
                      <a:pt x="7" y="77"/>
                    </a:lnTo>
                    <a:lnTo>
                      <a:pt x="9" y="79"/>
                    </a:lnTo>
                    <a:lnTo>
                      <a:pt x="10" y="82"/>
                    </a:lnTo>
                    <a:lnTo>
                      <a:pt x="12" y="84"/>
                    </a:lnTo>
                    <a:lnTo>
                      <a:pt x="14" y="79"/>
                    </a:lnTo>
                    <a:lnTo>
                      <a:pt x="14" y="77"/>
                    </a:lnTo>
                    <a:lnTo>
                      <a:pt x="14" y="72"/>
                    </a:lnTo>
                    <a:lnTo>
                      <a:pt x="17" y="71"/>
                    </a:lnTo>
                    <a:lnTo>
                      <a:pt x="19" y="69"/>
                    </a:lnTo>
                    <a:lnTo>
                      <a:pt x="21" y="71"/>
                    </a:lnTo>
                    <a:lnTo>
                      <a:pt x="24" y="71"/>
                    </a:lnTo>
                    <a:lnTo>
                      <a:pt x="27" y="74"/>
                    </a:lnTo>
                    <a:lnTo>
                      <a:pt x="29" y="76"/>
                    </a:lnTo>
                    <a:lnTo>
                      <a:pt x="32" y="79"/>
                    </a:lnTo>
                    <a:lnTo>
                      <a:pt x="32" y="84"/>
                    </a:lnTo>
                    <a:lnTo>
                      <a:pt x="34" y="82"/>
                    </a:lnTo>
                    <a:lnTo>
                      <a:pt x="37" y="77"/>
                    </a:lnTo>
                    <a:lnTo>
                      <a:pt x="41" y="77"/>
                    </a:lnTo>
                    <a:lnTo>
                      <a:pt x="42" y="77"/>
                    </a:lnTo>
                    <a:lnTo>
                      <a:pt x="44" y="76"/>
                    </a:lnTo>
                    <a:lnTo>
                      <a:pt x="48" y="76"/>
                    </a:lnTo>
                    <a:lnTo>
                      <a:pt x="51" y="76"/>
                    </a:lnTo>
                    <a:lnTo>
                      <a:pt x="53" y="74"/>
                    </a:lnTo>
                    <a:lnTo>
                      <a:pt x="59" y="74"/>
                    </a:lnTo>
                    <a:lnTo>
                      <a:pt x="61" y="76"/>
                    </a:lnTo>
                    <a:lnTo>
                      <a:pt x="61" y="69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73" name="Group 1672">
              <a:extLst>
                <a:ext uri="{FF2B5EF4-FFF2-40B4-BE49-F238E27FC236}">
                  <a16:creationId xmlns:a16="http://schemas.microsoft.com/office/drawing/2014/main" id="{020F54B0-2D40-FD4C-8987-A36B92036DC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9" y="623"/>
              <a:ext cx="7" cy="10"/>
              <a:chOff x="349" y="623"/>
              <a:chExt cx="7" cy="10"/>
            </a:xfrm>
          </p:grpSpPr>
          <p:sp>
            <p:nvSpPr>
              <p:cNvPr id="1697" name="Freeform 71">
                <a:extLst>
                  <a:ext uri="{FF2B5EF4-FFF2-40B4-BE49-F238E27FC236}">
                    <a16:creationId xmlns:a16="http://schemas.microsoft.com/office/drawing/2014/main" id="{03608B2A-79FB-4B45-9491-795E973FD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" y="623"/>
                <a:ext cx="7" cy="10"/>
              </a:xfrm>
              <a:custGeom>
                <a:avLst/>
                <a:gdLst>
                  <a:gd name="T0" fmla="*/ 64 w 64"/>
                  <a:gd name="T1" fmla="*/ 0 h 96"/>
                  <a:gd name="T2" fmla="*/ 64 w 64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4" h="96">
                    <a:moveTo>
                      <a:pt x="64" y="0"/>
                    </a:moveTo>
                    <a:cubicBezTo>
                      <a:pt x="0" y="39"/>
                      <a:pt x="64" y="96"/>
                      <a:pt x="64" y="0"/>
                    </a:cubicBezTo>
                  </a:path>
                </a:pathLst>
              </a:custGeom>
              <a:solidFill>
                <a:srgbClr val="D4DBE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698" name="Freeform 72">
                <a:extLst>
                  <a:ext uri="{FF2B5EF4-FFF2-40B4-BE49-F238E27FC236}">
                    <a16:creationId xmlns:a16="http://schemas.microsoft.com/office/drawing/2014/main" id="{41C3FC12-09A7-3547-857A-1961DFFF69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" y="623"/>
                <a:ext cx="7" cy="10"/>
              </a:xfrm>
              <a:custGeom>
                <a:avLst/>
                <a:gdLst>
                  <a:gd name="T0" fmla="*/ 7 w 7"/>
                  <a:gd name="T1" fmla="*/ 0 h 10"/>
                  <a:gd name="T2" fmla="*/ 7 w 7"/>
                  <a:gd name="T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10">
                    <a:moveTo>
                      <a:pt x="7" y="0"/>
                    </a:moveTo>
                    <a:cubicBezTo>
                      <a:pt x="0" y="4"/>
                      <a:pt x="7" y="10"/>
                      <a:pt x="7" y="0"/>
                    </a:cubicBezTo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74" name="Group 1673">
              <a:extLst>
                <a:ext uri="{FF2B5EF4-FFF2-40B4-BE49-F238E27FC236}">
                  <a16:creationId xmlns:a16="http://schemas.microsoft.com/office/drawing/2014/main" id="{7624B48C-3984-1641-B2C7-E95CB61EA8E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0" y="628"/>
              <a:ext cx="7" cy="7"/>
              <a:chOff x="270" y="628"/>
              <a:chExt cx="7" cy="7"/>
            </a:xfrm>
          </p:grpSpPr>
          <p:grpSp>
            <p:nvGrpSpPr>
              <p:cNvPr id="1691" name="Group 1690">
                <a:extLst>
                  <a:ext uri="{FF2B5EF4-FFF2-40B4-BE49-F238E27FC236}">
                    <a16:creationId xmlns:a16="http://schemas.microsoft.com/office/drawing/2014/main" id="{789F75BA-AD8E-224D-8220-5EC6A62A086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70" y="628"/>
                <a:ext cx="7" cy="7"/>
                <a:chOff x="270" y="628"/>
                <a:chExt cx="7" cy="7"/>
              </a:xfrm>
            </p:grpSpPr>
            <p:sp>
              <p:nvSpPr>
                <p:cNvPr id="1695" name="Oval 1694">
                  <a:extLst>
                    <a:ext uri="{FF2B5EF4-FFF2-40B4-BE49-F238E27FC236}">
                      <a16:creationId xmlns:a16="http://schemas.microsoft.com/office/drawing/2014/main" id="{0A97CC71-21C4-B544-9BC0-53598BA34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70" y="628"/>
                  <a:ext cx="7" cy="7"/>
                </a:xfrm>
                <a:prstGeom prst="ellipse">
                  <a:avLst/>
                </a:prstGeom>
                <a:solidFill>
                  <a:srgbClr val="D4DBE4"/>
                </a:solidFill>
                <a:ln w="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6" name="Oval 1695">
                  <a:extLst>
                    <a:ext uri="{FF2B5EF4-FFF2-40B4-BE49-F238E27FC236}">
                      <a16:creationId xmlns:a16="http://schemas.microsoft.com/office/drawing/2014/main" id="{0306EEDA-CF64-3E40-A3B0-90D0673FB49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70" y="628"/>
                  <a:ext cx="7" cy="7"/>
                </a:xfrm>
                <a:prstGeom prst="ellipse">
                  <a:avLst/>
                </a:pr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92" name="Group 1691">
                <a:extLst>
                  <a:ext uri="{FF2B5EF4-FFF2-40B4-BE49-F238E27FC236}">
                    <a16:creationId xmlns:a16="http://schemas.microsoft.com/office/drawing/2014/main" id="{46432559-0394-B04C-AC4D-D97137CF632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70" y="628"/>
                <a:ext cx="7" cy="7"/>
                <a:chOff x="270" y="628"/>
                <a:chExt cx="7" cy="7"/>
              </a:xfrm>
            </p:grpSpPr>
            <p:sp>
              <p:nvSpPr>
                <p:cNvPr id="1693" name="Oval 1692">
                  <a:extLst>
                    <a:ext uri="{FF2B5EF4-FFF2-40B4-BE49-F238E27FC236}">
                      <a16:creationId xmlns:a16="http://schemas.microsoft.com/office/drawing/2014/main" id="{443901B4-AAE9-234F-AFE1-5AB3736D44A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70" y="628"/>
                  <a:ext cx="7" cy="7"/>
                </a:xfrm>
                <a:prstGeom prst="ellipse">
                  <a:avLst/>
                </a:prstGeom>
                <a:solidFill>
                  <a:srgbClr val="D4DBE4"/>
                </a:solidFill>
                <a:ln w="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4" name="Oval 1693">
                  <a:extLst>
                    <a:ext uri="{FF2B5EF4-FFF2-40B4-BE49-F238E27FC236}">
                      <a16:creationId xmlns:a16="http://schemas.microsoft.com/office/drawing/2014/main" id="{C20790DA-07FB-584B-870C-E6A9F66248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70" y="628"/>
                  <a:ext cx="7" cy="7"/>
                </a:xfrm>
                <a:prstGeom prst="ellipse">
                  <a:avLst/>
                </a:pr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675" name="Group 1674">
              <a:extLst>
                <a:ext uri="{FF2B5EF4-FFF2-40B4-BE49-F238E27FC236}">
                  <a16:creationId xmlns:a16="http://schemas.microsoft.com/office/drawing/2014/main" id="{18A73AF6-A085-CE4B-9DE5-085BE9408C8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21" y="372"/>
              <a:ext cx="150" cy="100"/>
              <a:chOff x="521" y="372"/>
              <a:chExt cx="150" cy="100"/>
            </a:xfrm>
          </p:grpSpPr>
          <p:sp>
            <p:nvSpPr>
              <p:cNvPr id="1689" name="Freeform 63">
                <a:extLst>
                  <a:ext uri="{FF2B5EF4-FFF2-40B4-BE49-F238E27FC236}">
                    <a16:creationId xmlns:a16="http://schemas.microsoft.com/office/drawing/2014/main" id="{0147AEEA-A09C-CA49-B25B-965DCC3C69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" y="372"/>
                <a:ext cx="150" cy="100"/>
              </a:xfrm>
              <a:custGeom>
                <a:avLst/>
                <a:gdLst>
                  <a:gd name="T0" fmla="*/ 69 w 150"/>
                  <a:gd name="T1" fmla="*/ 2 h 100"/>
                  <a:gd name="T2" fmla="*/ 66 w 150"/>
                  <a:gd name="T3" fmla="*/ 9 h 100"/>
                  <a:gd name="T4" fmla="*/ 56 w 150"/>
                  <a:gd name="T5" fmla="*/ 7 h 100"/>
                  <a:gd name="T6" fmla="*/ 49 w 150"/>
                  <a:gd name="T7" fmla="*/ 10 h 100"/>
                  <a:gd name="T8" fmla="*/ 46 w 150"/>
                  <a:gd name="T9" fmla="*/ 15 h 100"/>
                  <a:gd name="T10" fmla="*/ 52 w 150"/>
                  <a:gd name="T11" fmla="*/ 17 h 100"/>
                  <a:gd name="T12" fmla="*/ 44 w 150"/>
                  <a:gd name="T13" fmla="*/ 24 h 100"/>
                  <a:gd name="T14" fmla="*/ 37 w 150"/>
                  <a:gd name="T15" fmla="*/ 29 h 100"/>
                  <a:gd name="T16" fmla="*/ 36 w 150"/>
                  <a:gd name="T17" fmla="*/ 37 h 100"/>
                  <a:gd name="T18" fmla="*/ 27 w 150"/>
                  <a:gd name="T19" fmla="*/ 42 h 100"/>
                  <a:gd name="T20" fmla="*/ 17 w 150"/>
                  <a:gd name="T21" fmla="*/ 46 h 100"/>
                  <a:gd name="T22" fmla="*/ 9 w 150"/>
                  <a:gd name="T23" fmla="*/ 46 h 100"/>
                  <a:gd name="T24" fmla="*/ 5 w 150"/>
                  <a:gd name="T25" fmla="*/ 51 h 100"/>
                  <a:gd name="T26" fmla="*/ 12 w 150"/>
                  <a:gd name="T27" fmla="*/ 61 h 100"/>
                  <a:gd name="T28" fmla="*/ 12 w 150"/>
                  <a:gd name="T29" fmla="*/ 73 h 100"/>
                  <a:gd name="T30" fmla="*/ 2 w 150"/>
                  <a:gd name="T31" fmla="*/ 79 h 100"/>
                  <a:gd name="T32" fmla="*/ 5 w 150"/>
                  <a:gd name="T33" fmla="*/ 86 h 100"/>
                  <a:gd name="T34" fmla="*/ 3 w 150"/>
                  <a:gd name="T35" fmla="*/ 95 h 100"/>
                  <a:gd name="T36" fmla="*/ 12 w 150"/>
                  <a:gd name="T37" fmla="*/ 95 h 100"/>
                  <a:gd name="T38" fmla="*/ 19 w 150"/>
                  <a:gd name="T39" fmla="*/ 91 h 100"/>
                  <a:gd name="T40" fmla="*/ 30 w 150"/>
                  <a:gd name="T41" fmla="*/ 88 h 100"/>
                  <a:gd name="T42" fmla="*/ 41 w 150"/>
                  <a:gd name="T43" fmla="*/ 88 h 100"/>
                  <a:gd name="T44" fmla="*/ 57 w 150"/>
                  <a:gd name="T45" fmla="*/ 93 h 100"/>
                  <a:gd name="T46" fmla="*/ 71 w 150"/>
                  <a:gd name="T47" fmla="*/ 95 h 100"/>
                  <a:gd name="T48" fmla="*/ 79 w 150"/>
                  <a:gd name="T49" fmla="*/ 95 h 100"/>
                  <a:gd name="T50" fmla="*/ 91 w 150"/>
                  <a:gd name="T51" fmla="*/ 96 h 100"/>
                  <a:gd name="T52" fmla="*/ 96 w 150"/>
                  <a:gd name="T53" fmla="*/ 96 h 100"/>
                  <a:gd name="T54" fmla="*/ 105 w 150"/>
                  <a:gd name="T55" fmla="*/ 98 h 100"/>
                  <a:gd name="T56" fmla="*/ 111 w 150"/>
                  <a:gd name="T57" fmla="*/ 96 h 100"/>
                  <a:gd name="T58" fmla="*/ 110 w 150"/>
                  <a:gd name="T59" fmla="*/ 93 h 100"/>
                  <a:gd name="T60" fmla="*/ 115 w 150"/>
                  <a:gd name="T61" fmla="*/ 90 h 100"/>
                  <a:gd name="T62" fmla="*/ 127 w 150"/>
                  <a:gd name="T63" fmla="*/ 84 h 100"/>
                  <a:gd name="T64" fmla="*/ 133 w 150"/>
                  <a:gd name="T65" fmla="*/ 83 h 100"/>
                  <a:gd name="T66" fmla="*/ 132 w 150"/>
                  <a:gd name="T67" fmla="*/ 76 h 100"/>
                  <a:gd name="T68" fmla="*/ 127 w 150"/>
                  <a:gd name="T69" fmla="*/ 63 h 100"/>
                  <a:gd name="T70" fmla="*/ 133 w 150"/>
                  <a:gd name="T71" fmla="*/ 64 h 100"/>
                  <a:gd name="T72" fmla="*/ 145 w 150"/>
                  <a:gd name="T73" fmla="*/ 64 h 100"/>
                  <a:gd name="T74" fmla="*/ 147 w 150"/>
                  <a:gd name="T75" fmla="*/ 56 h 100"/>
                  <a:gd name="T76" fmla="*/ 142 w 150"/>
                  <a:gd name="T77" fmla="*/ 51 h 100"/>
                  <a:gd name="T78" fmla="*/ 132 w 150"/>
                  <a:gd name="T79" fmla="*/ 49 h 100"/>
                  <a:gd name="T80" fmla="*/ 133 w 150"/>
                  <a:gd name="T81" fmla="*/ 46 h 100"/>
                  <a:gd name="T82" fmla="*/ 123 w 150"/>
                  <a:gd name="T83" fmla="*/ 36 h 100"/>
                  <a:gd name="T84" fmla="*/ 120 w 150"/>
                  <a:gd name="T85" fmla="*/ 29 h 100"/>
                  <a:gd name="T86" fmla="*/ 123 w 150"/>
                  <a:gd name="T87" fmla="*/ 22 h 100"/>
                  <a:gd name="T88" fmla="*/ 120 w 150"/>
                  <a:gd name="T89" fmla="*/ 15 h 100"/>
                  <a:gd name="T90" fmla="*/ 115 w 150"/>
                  <a:gd name="T91" fmla="*/ 10 h 100"/>
                  <a:gd name="T92" fmla="*/ 106 w 150"/>
                  <a:gd name="T93" fmla="*/ 7 h 100"/>
                  <a:gd name="T94" fmla="*/ 100 w 150"/>
                  <a:gd name="T95" fmla="*/ 9 h 100"/>
                  <a:gd name="T96" fmla="*/ 96 w 150"/>
                  <a:gd name="T97" fmla="*/ 5 h 100"/>
                  <a:gd name="T98" fmla="*/ 93 w 150"/>
                  <a:gd name="T99" fmla="*/ 4 h 100"/>
                  <a:gd name="T100" fmla="*/ 84 w 150"/>
                  <a:gd name="T101" fmla="*/ 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0" h="100">
                    <a:moveTo>
                      <a:pt x="76" y="0"/>
                    </a:moveTo>
                    <a:lnTo>
                      <a:pt x="74" y="0"/>
                    </a:lnTo>
                    <a:lnTo>
                      <a:pt x="73" y="0"/>
                    </a:lnTo>
                    <a:lnTo>
                      <a:pt x="69" y="0"/>
                    </a:lnTo>
                    <a:lnTo>
                      <a:pt x="69" y="2"/>
                    </a:lnTo>
                    <a:lnTo>
                      <a:pt x="69" y="4"/>
                    </a:lnTo>
                    <a:lnTo>
                      <a:pt x="69" y="5"/>
                    </a:lnTo>
                    <a:lnTo>
                      <a:pt x="69" y="7"/>
                    </a:lnTo>
                    <a:lnTo>
                      <a:pt x="68" y="7"/>
                    </a:lnTo>
                    <a:lnTo>
                      <a:pt x="66" y="9"/>
                    </a:lnTo>
                    <a:lnTo>
                      <a:pt x="63" y="9"/>
                    </a:lnTo>
                    <a:lnTo>
                      <a:pt x="61" y="7"/>
                    </a:lnTo>
                    <a:lnTo>
                      <a:pt x="59" y="7"/>
                    </a:lnTo>
                    <a:lnTo>
                      <a:pt x="57" y="7"/>
                    </a:lnTo>
                    <a:lnTo>
                      <a:pt x="56" y="7"/>
                    </a:lnTo>
                    <a:lnTo>
                      <a:pt x="54" y="9"/>
                    </a:lnTo>
                    <a:lnTo>
                      <a:pt x="52" y="9"/>
                    </a:lnTo>
                    <a:lnTo>
                      <a:pt x="51" y="9"/>
                    </a:lnTo>
                    <a:lnTo>
                      <a:pt x="49" y="9"/>
                    </a:lnTo>
                    <a:lnTo>
                      <a:pt x="49" y="10"/>
                    </a:lnTo>
                    <a:lnTo>
                      <a:pt x="47" y="10"/>
                    </a:lnTo>
                    <a:lnTo>
                      <a:pt x="47" y="12"/>
                    </a:lnTo>
                    <a:lnTo>
                      <a:pt x="47" y="14"/>
                    </a:lnTo>
                    <a:lnTo>
                      <a:pt x="46" y="14"/>
                    </a:lnTo>
                    <a:lnTo>
                      <a:pt x="46" y="15"/>
                    </a:lnTo>
                    <a:lnTo>
                      <a:pt x="47" y="15"/>
                    </a:lnTo>
                    <a:lnTo>
                      <a:pt x="49" y="15"/>
                    </a:lnTo>
                    <a:lnTo>
                      <a:pt x="49" y="17"/>
                    </a:lnTo>
                    <a:lnTo>
                      <a:pt x="51" y="17"/>
                    </a:lnTo>
                    <a:lnTo>
                      <a:pt x="52" y="17"/>
                    </a:lnTo>
                    <a:lnTo>
                      <a:pt x="54" y="19"/>
                    </a:lnTo>
                    <a:lnTo>
                      <a:pt x="54" y="20"/>
                    </a:lnTo>
                    <a:lnTo>
                      <a:pt x="52" y="20"/>
                    </a:lnTo>
                    <a:lnTo>
                      <a:pt x="49" y="22"/>
                    </a:lnTo>
                    <a:lnTo>
                      <a:pt x="44" y="24"/>
                    </a:lnTo>
                    <a:lnTo>
                      <a:pt x="42" y="24"/>
                    </a:lnTo>
                    <a:lnTo>
                      <a:pt x="41" y="24"/>
                    </a:lnTo>
                    <a:lnTo>
                      <a:pt x="39" y="25"/>
                    </a:lnTo>
                    <a:lnTo>
                      <a:pt x="37" y="27"/>
                    </a:lnTo>
                    <a:lnTo>
                      <a:pt x="37" y="29"/>
                    </a:lnTo>
                    <a:lnTo>
                      <a:pt x="37" y="31"/>
                    </a:lnTo>
                    <a:lnTo>
                      <a:pt x="36" y="32"/>
                    </a:lnTo>
                    <a:lnTo>
                      <a:pt x="36" y="34"/>
                    </a:lnTo>
                    <a:lnTo>
                      <a:pt x="36" y="36"/>
                    </a:lnTo>
                    <a:lnTo>
                      <a:pt x="36" y="37"/>
                    </a:lnTo>
                    <a:lnTo>
                      <a:pt x="37" y="39"/>
                    </a:lnTo>
                    <a:lnTo>
                      <a:pt x="36" y="41"/>
                    </a:lnTo>
                    <a:lnTo>
                      <a:pt x="32" y="42"/>
                    </a:lnTo>
                    <a:lnTo>
                      <a:pt x="30" y="42"/>
                    </a:lnTo>
                    <a:lnTo>
                      <a:pt x="27" y="42"/>
                    </a:lnTo>
                    <a:lnTo>
                      <a:pt x="24" y="42"/>
                    </a:lnTo>
                    <a:lnTo>
                      <a:pt x="22" y="42"/>
                    </a:lnTo>
                    <a:lnTo>
                      <a:pt x="20" y="42"/>
                    </a:lnTo>
                    <a:lnTo>
                      <a:pt x="17" y="44"/>
                    </a:lnTo>
                    <a:lnTo>
                      <a:pt x="17" y="46"/>
                    </a:lnTo>
                    <a:lnTo>
                      <a:pt x="15" y="46"/>
                    </a:lnTo>
                    <a:lnTo>
                      <a:pt x="14" y="46"/>
                    </a:lnTo>
                    <a:lnTo>
                      <a:pt x="12" y="47"/>
                    </a:lnTo>
                    <a:lnTo>
                      <a:pt x="10" y="46"/>
                    </a:lnTo>
                    <a:lnTo>
                      <a:pt x="9" y="46"/>
                    </a:lnTo>
                    <a:lnTo>
                      <a:pt x="7" y="44"/>
                    </a:lnTo>
                    <a:lnTo>
                      <a:pt x="5" y="44"/>
                    </a:lnTo>
                    <a:lnTo>
                      <a:pt x="3" y="46"/>
                    </a:lnTo>
                    <a:lnTo>
                      <a:pt x="3" y="47"/>
                    </a:lnTo>
                    <a:lnTo>
                      <a:pt x="5" y="51"/>
                    </a:lnTo>
                    <a:lnTo>
                      <a:pt x="7" y="54"/>
                    </a:lnTo>
                    <a:lnTo>
                      <a:pt x="7" y="56"/>
                    </a:lnTo>
                    <a:lnTo>
                      <a:pt x="9" y="58"/>
                    </a:lnTo>
                    <a:lnTo>
                      <a:pt x="10" y="59"/>
                    </a:lnTo>
                    <a:lnTo>
                      <a:pt x="12" y="61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4" y="69"/>
                    </a:lnTo>
                    <a:lnTo>
                      <a:pt x="12" y="71"/>
                    </a:lnTo>
                    <a:lnTo>
                      <a:pt x="12" y="73"/>
                    </a:lnTo>
                    <a:lnTo>
                      <a:pt x="12" y="74"/>
                    </a:lnTo>
                    <a:lnTo>
                      <a:pt x="10" y="74"/>
                    </a:lnTo>
                    <a:lnTo>
                      <a:pt x="9" y="76"/>
                    </a:lnTo>
                    <a:lnTo>
                      <a:pt x="5" y="78"/>
                    </a:lnTo>
                    <a:lnTo>
                      <a:pt x="2" y="79"/>
                    </a:lnTo>
                    <a:lnTo>
                      <a:pt x="2" y="81"/>
                    </a:lnTo>
                    <a:lnTo>
                      <a:pt x="0" y="83"/>
                    </a:lnTo>
                    <a:lnTo>
                      <a:pt x="2" y="84"/>
                    </a:lnTo>
                    <a:lnTo>
                      <a:pt x="3" y="86"/>
                    </a:lnTo>
                    <a:lnTo>
                      <a:pt x="5" y="86"/>
                    </a:lnTo>
                    <a:lnTo>
                      <a:pt x="5" y="88"/>
                    </a:lnTo>
                    <a:lnTo>
                      <a:pt x="5" y="90"/>
                    </a:lnTo>
                    <a:lnTo>
                      <a:pt x="3" y="91"/>
                    </a:lnTo>
                    <a:lnTo>
                      <a:pt x="3" y="93"/>
                    </a:lnTo>
                    <a:lnTo>
                      <a:pt x="3" y="95"/>
                    </a:lnTo>
                    <a:lnTo>
                      <a:pt x="3" y="96"/>
                    </a:lnTo>
                    <a:lnTo>
                      <a:pt x="7" y="96"/>
                    </a:lnTo>
                    <a:lnTo>
                      <a:pt x="9" y="96"/>
                    </a:lnTo>
                    <a:lnTo>
                      <a:pt x="10" y="96"/>
                    </a:lnTo>
                    <a:lnTo>
                      <a:pt x="12" y="95"/>
                    </a:lnTo>
                    <a:lnTo>
                      <a:pt x="15" y="95"/>
                    </a:lnTo>
                    <a:lnTo>
                      <a:pt x="15" y="93"/>
                    </a:lnTo>
                    <a:lnTo>
                      <a:pt x="17" y="93"/>
                    </a:lnTo>
                    <a:lnTo>
                      <a:pt x="17" y="91"/>
                    </a:lnTo>
                    <a:lnTo>
                      <a:pt x="19" y="91"/>
                    </a:lnTo>
                    <a:lnTo>
                      <a:pt x="20" y="90"/>
                    </a:lnTo>
                    <a:lnTo>
                      <a:pt x="22" y="88"/>
                    </a:lnTo>
                    <a:lnTo>
                      <a:pt x="25" y="88"/>
                    </a:lnTo>
                    <a:lnTo>
                      <a:pt x="29" y="88"/>
                    </a:lnTo>
                    <a:lnTo>
                      <a:pt x="30" y="88"/>
                    </a:lnTo>
                    <a:lnTo>
                      <a:pt x="34" y="88"/>
                    </a:lnTo>
                    <a:lnTo>
                      <a:pt x="36" y="90"/>
                    </a:lnTo>
                    <a:lnTo>
                      <a:pt x="37" y="88"/>
                    </a:lnTo>
                    <a:lnTo>
                      <a:pt x="39" y="88"/>
                    </a:lnTo>
                    <a:lnTo>
                      <a:pt x="41" y="88"/>
                    </a:lnTo>
                    <a:lnTo>
                      <a:pt x="42" y="90"/>
                    </a:lnTo>
                    <a:lnTo>
                      <a:pt x="46" y="91"/>
                    </a:lnTo>
                    <a:lnTo>
                      <a:pt x="49" y="93"/>
                    </a:lnTo>
                    <a:lnTo>
                      <a:pt x="52" y="93"/>
                    </a:lnTo>
                    <a:lnTo>
                      <a:pt x="57" y="93"/>
                    </a:lnTo>
                    <a:lnTo>
                      <a:pt x="63" y="93"/>
                    </a:lnTo>
                    <a:lnTo>
                      <a:pt x="66" y="93"/>
                    </a:lnTo>
                    <a:lnTo>
                      <a:pt x="68" y="95"/>
                    </a:lnTo>
                    <a:lnTo>
                      <a:pt x="69" y="95"/>
                    </a:lnTo>
                    <a:lnTo>
                      <a:pt x="71" y="95"/>
                    </a:lnTo>
                    <a:lnTo>
                      <a:pt x="73" y="96"/>
                    </a:lnTo>
                    <a:lnTo>
                      <a:pt x="74" y="96"/>
                    </a:lnTo>
                    <a:lnTo>
                      <a:pt x="76" y="95"/>
                    </a:lnTo>
                    <a:lnTo>
                      <a:pt x="78" y="95"/>
                    </a:lnTo>
                    <a:lnTo>
                      <a:pt x="79" y="95"/>
                    </a:lnTo>
                    <a:lnTo>
                      <a:pt x="81" y="95"/>
                    </a:lnTo>
                    <a:lnTo>
                      <a:pt x="83" y="95"/>
                    </a:lnTo>
                    <a:lnTo>
                      <a:pt x="86" y="96"/>
                    </a:lnTo>
                    <a:lnTo>
                      <a:pt x="89" y="96"/>
                    </a:lnTo>
                    <a:lnTo>
                      <a:pt x="91" y="96"/>
                    </a:lnTo>
                    <a:lnTo>
                      <a:pt x="91" y="95"/>
                    </a:lnTo>
                    <a:lnTo>
                      <a:pt x="93" y="95"/>
                    </a:lnTo>
                    <a:lnTo>
                      <a:pt x="95" y="95"/>
                    </a:lnTo>
                    <a:lnTo>
                      <a:pt x="95" y="96"/>
                    </a:lnTo>
                    <a:lnTo>
                      <a:pt x="96" y="96"/>
                    </a:lnTo>
                    <a:lnTo>
                      <a:pt x="96" y="98"/>
                    </a:lnTo>
                    <a:lnTo>
                      <a:pt x="98" y="100"/>
                    </a:lnTo>
                    <a:lnTo>
                      <a:pt x="101" y="98"/>
                    </a:lnTo>
                    <a:lnTo>
                      <a:pt x="103" y="98"/>
                    </a:lnTo>
                    <a:lnTo>
                      <a:pt x="105" y="98"/>
                    </a:lnTo>
                    <a:lnTo>
                      <a:pt x="106" y="98"/>
                    </a:lnTo>
                    <a:lnTo>
                      <a:pt x="108" y="98"/>
                    </a:lnTo>
                    <a:lnTo>
                      <a:pt x="108" y="96"/>
                    </a:lnTo>
                    <a:lnTo>
                      <a:pt x="110" y="96"/>
                    </a:lnTo>
                    <a:lnTo>
                      <a:pt x="111" y="96"/>
                    </a:lnTo>
                    <a:lnTo>
                      <a:pt x="113" y="96"/>
                    </a:lnTo>
                    <a:lnTo>
                      <a:pt x="113" y="95"/>
                    </a:lnTo>
                    <a:lnTo>
                      <a:pt x="111" y="95"/>
                    </a:lnTo>
                    <a:lnTo>
                      <a:pt x="111" y="93"/>
                    </a:lnTo>
                    <a:lnTo>
                      <a:pt x="110" y="93"/>
                    </a:lnTo>
                    <a:lnTo>
                      <a:pt x="110" y="91"/>
                    </a:lnTo>
                    <a:lnTo>
                      <a:pt x="110" y="90"/>
                    </a:lnTo>
                    <a:lnTo>
                      <a:pt x="111" y="90"/>
                    </a:lnTo>
                    <a:lnTo>
                      <a:pt x="113" y="90"/>
                    </a:lnTo>
                    <a:lnTo>
                      <a:pt x="115" y="90"/>
                    </a:lnTo>
                    <a:lnTo>
                      <a:pt x="118" y="88"/>
                    </a:lnTo>
                    <a:lnTo>
                      <a:pt x="120" y="88"/>
                    </a:lnTo>
                    <a:lnTo>
                      <a:pt x="123" y="84"/>
                    </a:lnTo>
                    <a:lnTo>
                      <a:pt x="125" y="84"/>
                    </a:lnTo>
                    <a:lnTo>
                      <a:pt x="127" y="84"/>
                    </a:lnTo>
                    <a:lnTo>
                      <a:pt x="130" y="84"/>
                    </a:lnTo>
                    <a:lnTo>
                      <a:pt x="132" y="84"/>
                    </a:lnTo>
                    <a:lnTo>
                      <a:pt x="133" y="86"/>
                    </a:lnTo>
                    <a:lnTo>
                      <a:pt x="133" y="84"/>
                    </a:lnTo>
                    <a:lnTo>
                      <a:pt x="133" y="83"/>
                    </a:lnTo>
                    <a:lnTo>
                      <a:pt x="132" y="83"/>
                    </a:lnTo>
                    <a:lnTo>
                      <a:pt x="130" y="81"/>
                    </a:lnTo>
                    <a:lnTo>
                      <a:pt x="130" y="79"/>
                    </a:lnTo>
                    <a:lnTo>
                      <a:pt x="130" y="78"/>
                    </a:lnTo>
                    <a:lnTo>
                      <a:pt x="132" y="76"/>
                    </a:lnTo>
                    <a:lnTo>
                      <a:pt x="132" y="73"/>
                    </a:lnTo>
                    <a:lnTo>
                      <a:pt x="130" y="71"/>
                    </a:lnTo>
                    <a:lnTo>
                      <a:pt x="125" y="66"/>
                    </a:lnTo>
                    <a:lnTo>
                      <a:pt x="125" y="64"/>
                    </a:lnTo>
                    <a:lnTo>
                      <a:pt x="127" y="63"/>
                    </a:lnTo>
                    <a:lnTo>
                      <a:pt x="128" y="63"/>
                    </a:lnTo>
                    <a:lnTo>
                      <a:pt x="130" y="63"/>
                    </a:lnTo>
                    <a:lnTo>
                      <a:pt x="132" y="63"/>
                    </a:lnTo>
                    <a:lnTo>
                      <a:pt x="132" y="64"/>
                    </a:lnTo>
                    <a:lnTo>
                      <a:pt x="133" y="64"/>
                    </a:lnTo>
                    <a:lnTo>
                      <a:pt x="135" y="66"/>
                    </a:lnTo>
                    <a:lnTo>
                      <a:pt x="138" y="66"/>
                    </a:lnTo>
                    <a:lnTo>
                      <a:pt x="140" y="66"/>
                    </a:lnTo>
                    <a:lnTo>
                      <a:pt x="142" y="64"/>
                    </a:lnTo>
                    <a:lnTo>
                      <a:pt x="145" y="64"/>
                    </a:lnTo>
                    <a:lnTo>
                      <a:pt x="147" y="63"/>
                    </a:lnTo>
                    <a:lnTo>
                      <a:pt x="149" y="61"/>
                    </a:lnTo>
                    <a:lnTo>
                      <a:pt x="150" y="59"/>
                    </a:lnTo>
                    <a:lnTo>
                      <a:pt x="149" y="58"/>
                    </a:lnTo>
                    <a:lnTo>
                      <a:pt x="147" y="56"/>
                    </a:lnTo>
                    <a:lnTo>
                      <a:pt x="145" y="56"/>
                    </a:lnTo>
                    <a:lnTo>
                      <a:pt x="143" y="56"/>
                    </a:lnTo>
                    <a:lnTo>
                      <a:pt x="143" y="54"/>
                    </a:lnTo>
                    <a:lnTo>
                      <a:pt x="143" y="52"/>
                    </a:lnTo>
                    <a:lnTo>
                      <a:pt x="142" y="51"/>
                    </a:lnTo>
                    <a:lnTo>
                      <a:pt x="140" y="51"/>
                    </a:lnTo>
                    <a:lnTo>
                      <a:pt x="137" y="51"/>
                    </a:lnTo>
                    <a:lnTo>
                      <a:pt x="133" y="51"/>
                    </a:lnTo>
                    <a:lnTo>
                      <a:pt x="132" y="51"/>
                    </a:lnTo>
                    <a:lnTo>
                      <a:pt x="132" y="49"/>
                    </a:lnTo>
                    <a:lnTo>
                      <a:pt x="133" y="49"/>
                    </a:lnTo>
                    <a:lnTo>
                      <a:pt x="133" y="47"/>
                    </a:lnTo>
                    <a:lnTo>
                      <a:pt x="135" y="47"/>
                    </a:lnTo>
                    <a:lnTo>
                      <a:pt x="135" y="46"/>
                    </a:lnTo>
                    <a:lnTo>
                      <a:pt x="133" y="46"/>
                    </a:lnTo>
                    <a:lnTo>
                      <a:pt x="133" y="44"/>
                    </a:lnTo>
                    <a:lnTo>
                      <a:pt x="127" y="41"/>
                    </a:lnTo>
                    <a:lnTo>
                      <a:pt x="123" y="39"/>
                    </a:lnTo>
                    <a:lnTo>
                      <a:pt x="123" y="37"/>
                    </a:lnTo>
                    <a:lnTo>
                      <a:pt x="123" y="36"/>
                    </a:lnTo>
                    <a:lnTo>
                      <a:pt x="123" y="34"/>
                    </a:lnTo>
                    <a:lnTo>
                      <a:pt x="123" y="32"/>
                    </a:lnTo>
                    <a:lnTo>
                      <a:pt x="122" y="32"/>
                    </a:lnTo>
                    <a:lnTo>
                      <a:pt x="120" y="31"/>
                    </a:lnTo>
                    <a:lnTo>
                      <a:pt x="120" y="29"/>
                    </a:lnTo>
                    <a:lnTo>
                      <a:pt x="118" y="27"/>
                    </a:lnTo>
                    <a:lnTo>
                      <a:pt x="118" y="25"/>
                    </a:lnTo>
                    <a:lnTo>
                      <a:pt x="120" y="24"/>
                    </a:lnTo>
                    <a:lnTo>
                      <a:pt x="122" y="22"/>
                    </a:lnTo>
                    <a:lnTo>
                      <a:pt x="123" y="22"/>
                    </a:lnTo>
                    <a:lnTo>
                      <a:pt x="122" y="22"/>
                    </a:lnTo>
                    <a:lnTo>
                      <a:pt x="120" y="20"/>
                    </a:lnTo>
                    <a:lnTo>
                      <a:pt x="118" y="19"/>
                    </a:lnTo>
                    <a:lnTo>
                      <a:pt x="118" y="17"/>
                    </a:lnTo>
                    <a:lnTo>
                      <a:pt x="120" y="15"/>
                    </a:lnTo>
                    <a:lnTo>
                      <a:pt x="120" y="14"/>
                    </a:lnTo>
                    <a:lnTo>
                      <a:pt x="120" y="12"/>
                    </a:lnTo>
                    <a:lnTo>
                      <a:pt x="118" y="12"/>
                    </a:lnTo>
                    <a:lnTo>
                      <a:pt x="116" y="12"/>
                    </a:lnTo>
                    <a:lnTo>
                      <a:pt x="115" y="10"/>
                    </a:lnTo>
                    <a:lnTo>
                      <a:pt x="113" y="9"/>
                    </a:lnTo>
                    <a:lnTo>
                      <a:pt x="113" y="7"/>
                    </a:lnTo>
                    <a:lnTo>
                      <a:pt x="111" y="7"/>
                    </a:lnTo>
                    <a:lnTo>
                      <a:pt x="108" y="7"/>
                    </a:lnTo>
                    <a:lnTo>
                      <a:pt x="106" y="7"/>
                    </a:lnTo>
                    <a:lnTo>
                      <a:pt x="105" y="7"/>
                    </a:lnTo>
                    <a:lnTo>
                      <a:pt x="103" y="7"/>
                    </a:lnTo>
                    <a:lnTo>
                      <a:pt x="101" y="7"/>
                    </a:lnTo>
                    <a:lnTo>
                      <a:pt x="100" y="7"/>
                    </a:lnTo>
                    <a:lnTo>
                      <a:pt x="100" y="9"/>
                    </a:lnTo>
                    <a:lnTo>
                      <a:pt x="98" y="10"/>
                    </a:lnTo>
                    <a:lnTo>
                      <a:pt x="96" y="10"/>
                    </a:lnTo>
                    <a:lnTo>
                      <a:pt x="96" y="9"/>
                    </a:lnTo>
                    <a:lnTo>
                      <a:pt x="96" y="7"/>
                    </a:lnTo>
                    <a:lnTo>
                      <a:pt x="96" y="5"/>
                    </a:lnTo>
                    <a:lnTo>
                      <a:pt x="98" y="5"/>
                    </a:lnTo>
                    <a:lnTo>
                      <a:pt x="98" y="4"/>
                    </a:lnTo>
                    <a:lnTo>
                      <a:pt x="96" y="4"/>
                    </a:lnTo>
                    <a:lnTo>
                      <a:pt x="95" y="4"/>
                    </a:lnTo>
                    <a:lnTo>
                      <a:pt x="93" y="4"/>
                    </a:lnTo>
                    <a:lnTo>
                      <a:pt x="91" y="4"/>
                    </a:lnTo>
                    <a:lnTo>
                      <a:pt x="89" y="4"/>
                    </a:lnTo>
                    <a:lnTo>
                      <a:pt x="88" y="4"/>
                    </a:lnTo>
                    <a:lnTo>
                      <a:pt x="86" y="4"/>
                    </a:lnTo>
                    <a:lnTo>
                      <a:pt x="84" y="4"/>
                    </a:lnTo>
                    <a:lnTo>
                      <a:pt x="81" y="2"/>
                    </a:lnTo>
                    <a:lnTo>
                      <a:pt x="79" y="0"/>
                    </a:lnTo>
                    <a:lnTo>
                      <a:pt x="78" y="0"/>
                    </a:ln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D4DBE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690" name="Freeform 64">
                <a:extLst>
                  <a:ext uri="{FF2B5EF4-FFF2-40B4-BE49-F238E27FC236}">
                    <a16:creationId xmlns:a16="http://schemas.microsoft.com/office/drawing/2014/main" id="{AD705627-60A3-324D-AA71-46DF82B896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" y="372"/>
                <a:ext cx="150" cy="100"/>
              </a:xfrm>
              <a:custGeom>
                <a:avLst/>
                <a:gdLst>
                  <a:gd name="T0" fmla="*/ 69 w 150"/>
                  <a:gd name="T1" fmla="*/ 2 h 100"/>
                  <a:gd name="T2" fmla="*/ 66 w 150"/>
                  <a:gd name="T3" fmla="*/ 9 h 100"/>
                  <a:gd name="T4" fmla="*/ 56 w 150"/>
                  <a:gd name="T5" fmla="*/ 7 h 100"/>
                  <a:gd name="T6" fmla="*/ 49 w 150"/>
                  <a:gd name="T7" fmla="*/ 10 h 100"/>
                  <a:gd name="T8" fmla="*/ 46 w 150"/>
                  <a:gd name="T9" fmla="*/ 15 h 100"/>
                  <a:gd name="T10" fmla="*/ 52 w 150"/>
                  <a:gd name="T11" fmla="*/ 17 h 100"/>
                  <a:gd name="T12" fmla="*/ 44 w 150"/>
                  <a:gd name="T13" fmla="*/ 24 h 100"/>
                  <a:gd name="T14" fmla="*/ 37 w 150"/>
                  <a:gd name="T15" fmla="*/ 29 h 100"/>
                  <a:gd name="T16" fmla="*/ 36 w 150"/>
                  <a:gd name="T17" fmla="*/ 37 h 100"/>
                  <a:gd name="T18" fmla="*/ 27 w 150"/>
                  <a:gd name="T19" fmla="*/ 42 h 100"/>
                  <a:gd name="T20" fmla="*/ 17 w 150"/>
                  <a:gd name="T21" fmla="*/ 46 h 100"/>
                  <a:gd name="T22" fmla="*/ 9 w 150"/>
                  <a:gd name="T23" fmla="*/ 46 h 100"/>
                  <a:gd name="T24" fmla="*/ 5 w 150"/>
                  <a:gd name="T25" fmla="*/ 51 h 100"/>
                  <a:gd name="T26" fmla="*/ 12 w 150"/>
                  <a:gd name="T27" fmla="*/ 61 h 100"/>
                  <a:gd name="T28" fmla="*/ 12 w 150"/>
                  <a:gd name="T29" fmla="*/ 73 h 100"/>
                  <a:gd name="T30" fmla="*/ 2 w 150"/>
                  <a:gd name="T31" fmla="*/ 79 h 100"/>
                  <a:gd name="T32" fmla="*/ 5 w 150"/>
                  <a:gd name="T33" fmla="*/ 86 h 100"/>
                  <a:gd name="T34" fmla="*/ 3 w 150"/>
                  <a:gd name="T35" fmla="*/ 95 h 100"/>
                  <a:gd name="T36" fmla="*/ 12 w 150"/>
                  <a:gd name="T37" fmla="*/ 95 h 100"/>
                  <a:gd name="T38" fmla="*/ 19 w 150"/>
                  <a:gd name="T39" fmla="*/ 91 h 100"/>
                  <a:gd name="T40" fmla="*/ 30 w 150"/>
                  <a:gd name="T41" fmla="*/ 88 h 100"/>
                  <a:gd name="T42" fmla="*/ 41 w 150"/>
                  <a:gd name="T43" fmla="*/ 88 h 100"/>
                  <a:gd name="T44" fmla="*/ 57 w 150"/>
                  <a:gd name="T45" fmla="*/ 93 h 100"/>
                  <a:gd name="T46" fmla="*/ 71 w 150"/>
                  <a:gd name="T47" fmla="*/ 95 h 100"/>
                  <a:gd name="T48" fmla="*/ 79 w 150"/>
                  <a:gd name="T49" fmla="*/ 95 h 100"/>
                  <a:gd name="T50" fmla="*/ 91 w 150"/>
                  <a:gd name="T51" fmla="*/ 96 h 100"/>
                  <a:gd name="T52" fmla="*/ 96 w 150"/>
                  <a:gd name="T53" fmla="*/ 96 h 100"/>
                  <a:gd name="T54" fmla="*/ 105 w 150"/>
                  <a:gd name="T55" fmla="*/ 98 h 100"/>
                  <a:gd name="T56" fmla="*/ 111 w 150"/>
                  <a:gd name="T57" fmla="*/ 96 h 100"/>
                  <a:gd name="T58" fmla="*/ 110 w 150"/>
                  <a:gd name="T59" fmla="*/ 93 h 100"/>
                  <a:gd name="T60" fmla="*/ 115 w 150"/>
                  <a:gd name="T61" fmla="*/ 90 h 100"/>
                  <a:gd name="T62" fmla="*/ 127 w 150"/>
                  <a:gd name="T63" fmla="*/ 84 h 100"/>
                  <a:gd name="T64" fmla="*/ 133 w 150"/>
                  <a:gd name="T65" fmla="*/ 83 h 100"/>
                  <a:gd name="T66" fmla="*/ 132 w 150"/>
                  <a:gd name="T67" fmla="*/ 76 h 100"/>
                  <a:gd name="T68" fmla="*/ 127 w 150"/>
                  <a:gd name="T69" fmla="*/ 63 h 100"/>
                  <a:gd name="T70" fmla="*/ 133 w 150"/>
                  <a:gd name="T71" fmla="*/ 64 h 100"/>
                  <a:gd name="T72" fmla="*/ 145 w 150"/>
                  <a:gd name="T73" fmla="*/ 64 h 100"/>
                  <a:gd name="T74" fmla="*/ 147 w 150"/>
                  <a:gd name="T75" fmla="*/ 56 h 100"/>
                  <a:gd name="T76" fmla="*/ 142 w 150"/>
                  <a:gd name="T77" fmla="*/ 51 h 100"/>
                  <a:gd name="T78" fmla="*/ 132 w 150"/>
                  <a:gd name="T79" fmla="*/ 49 h 100"/>
                  <a:gd name="T80" fmla="*/ 133 w 150"/>
                  <a:gd name="T81" fmla="*/ 46 h 100"/>
                  <a:gd name="T82" fmla="*/ 123 w 150"/>
                  <a:gd name="T83" fmla="*/ 36 h 100"/>
                  <a:gd name="T84" fmla="*/ 120 w 150"/>
                  <a:gd name="T85" fmla="*/ 29 h 100"/>
                  <a:gd name="T86" fmla="*/ 123 w 150"/>
                  <a:gd name="T87" fmla="*/ 22 h 100"/>
                  <a:gd name="T88" fmla="*/ 120 w 150"/>
                  <a:gd name="T89" fmla="*/ 15 h 100"/>
                  <a:gd name="T90" fmla="*/ 115 w 150"/>
                  <a:gd name="T91" fmla="*/ 10 h 100"/>
                  <a:gd name="T92" fmla="*/ 106 w 150"/>
                  <a:gd name="T93" fmla="*/ 7 h 100"/>
                  <a:gd name="T94" fmla="*/ 100 w 150"/>
                  <a:gd name="T95" fmla="*/ 9 h 100"/>
                  <a:gd name="T96" fmla="*/ 96 w 150"/>
                  <a:gd name="T97" fmla="*/ 5 h 100"/>
                  <a:gd name="T98" fmla="*/ 93 w 150"/>
                  <a:gd name="T99" fmla="*/ 4 h 100"/>
                  <a:gd name="T100" fmla="*/ 84 w 150"/>
                  <a:gd name="T101" fmla="*/ 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0" h="100">
                    <a:moveTo>
                      <a:pt x="76" y="0"/>
                    </a:moveTo>
                    <a:lnTo>
                      <a:pt x="74" y="0"/>
                    </a:lnTo>
                    <a:lnTo>
                      <a:pt x="73" y="0"/>
                    </a:lnTo>
                    <a:lnTo>
                      <a:pt x="69" y="0"/>
                    </a:lnTo>
                    <a:lnTo>
                      <a:pt x="69" y="2"/>
                    </a:lnTo>
                    <a:lnTo>
                      <a:pt x="69" y="4"/>
                    </a:lnTo>
                    <a:lnTo>
                      <a:pt x="69" y="5"/>
                    </a:lnTo>
                    <a:lnTo>
                      <a:pt x="69" y="7"/>
                    </a:lnTo>
                    <a:lnTo>
                      <a:pt x="68" y="7"/>
                    </a:lnTo>
                    <a:lnTo>
                      <a:pt x="66" y="9"/>
                    </a:lnTo>
                    <a:lnTo>
                      <a:pt x="63" y="9"/>
                    </a:lnTo>
                    <a:lnTo>
                      <a:pt x="61" y="7"/>
                    </a:lnTo>
                    <a:lnTo>
                      <a:pt x="59" y="7"/>
                    </a:lnTo>
                    <a:lnTo>
                      <a:pt x="57" y="7"/>
                    </a:lnTo>
                    <a:lnTo>
                      <a:pt x="56" y="7"/>
                    </a:lnTo>
                    <a:lnTo>
                      <a:pt x="54" y="9"/>
                    </a:lnTo>
                    <a:lnTo>
                      <a:pt x="52" y="9"/>
                    </a:lnTo>
                    <a:lnTo>
                      <a:pt x="51" y="9"/>
                    </a:lnTo>
                    <a:lnTo>
                      <a:pt x="49" y="9"/>
                    </a:lnTo>
                    <a:lnTo>
                      <a:pt x="49" y="10"/>
                    </a:lnTo>
                    <a:lnTo>
                      <a:pt x="47" y="10"/>
                    </a:lnTo>
                    <a:lnTo>
                      <a:pt x="47" y="12"/>
                    </a:lnTo>
                    <a:lnTo>
                      <a:pt x="47" y="14"/>
                    </a:lnTo>
                    <a:lnTo>
                      <a:pt x="46" y="14"/>
                    </a:lnTo>
                    <a:lnTo>
                      <a:pt x="46" y="15"/>
                    </a:lnTo>
                    <a:lnTo>
                      <a:pt x="47" y="15"/>
                    </a:lnTo>
                    <a:lnTo>
                      <a:pt x="49" y="15"/>
                    </a:lnTo>
                    <a:lnTo>
                      <a:pt x="49" y="17"/>
                    </a:lnTo>
                    <a:lnTo>
                      <a:pt x="51" y="17"/>
                    </a:lnTo>
                    <a:lnTo>
                      <a:pt x="52" y="17"/>
                    </a:lnTo>
                    <a:lnTo>
                      <a:pt x="54" y="19"/>
                    </a:lnTo>
                    <a:lnTo>
                      <a:pt x="54" y="20"/>
                    </a:lnTo>
                    <a:lnTo>
                      <a:pt x="52" y="20"/>
                    </a:lnTo>
                    <a:lnTo>
                      <a:pt x="49" y="22"/>
                    </a:lnTo>
                    <a:lnTo>
                      <a:pt x="44" y="24"/>
                    </a:lnTo>
                    <a:lnTo>
                      <a:pt x="42" y="24"/>
                    </a:lnTo>
                    <a:lnTo>
                      <a:pt x="41" y="24"/>
                    </a:lnTo>
                    <a:lnTo>
                      <a:pt x="39" y="25"/>
                    </a:lnTo>
                    <a:lnTo>
                      <a:pt x="37" y="27"/>
                    </a:lnTo>
                    <a:lnTo>
                      <a:pt x="37" y="29"/>
                    </a:lnTo>
                    <a:lnTo>
                      <a:pt x="37" y="31"/>
                    </a:lnTo>
                    <a:lnTo>
                      <a:pt x="36" y="32"/>
                    </a:lnTo>
                    <a:lnTo>
                      <a:pt x="36" y="34"/>
                    </a:lnTo>
                    <a:lnTo>
                      <a:pt x="36" y="36"/>
                    </a:lnTo>
                    <a:lnTo>
                      <a:pt x="36" y="37"/>
                    </a:lnTo>
                    <a:lnTo>
                      <a:pt x="37" y="39"/>
                    </a:lnTo>
                    <a:lnTo>
                      <a:pt x="36" y="41"/>
                    </a:lnTo>
                    <a:lnTo>
                      <a:pt x="32" y="42"/>
                    </a:lnTo>
                    <a:lnTo>
                      <a:pt x="30" y="42"/>
                    </a:lnTo>
                    <a:lnTo>
                      <a:pt x="27" y="42"/>
                    </a:lnTo>
                    <a:lnTo>
                      <a:pt x="24" y="42"/>
                    </a:lnTo>
                    <a:lnTo>
                      <a:pt x="22" y="42"/>
                    </a:lnTo>
                    <a:lnTo>
                      <a:pt x="20" y="42"/>
                    </a:lnTo>
                    <a:lnTo>
                      <a:pt x="17" y="44"/>
                    </a:lnTo>
                    <a:lnTo>
                      <a:pt x="17" y="46"/>
                    </a:lnTo>
                    <a:lnTo>
                      <a:pt x="15" y="46"/>
                    </a:lnTo>
                    <a:lnTo>
                      <a:pt x="14" y="46"/>
                    </a:lnTo>
                    <a:lnTo>
                      <a:pt x="12" y="47"/>
                    </a:lnTo>
                    <a:lnTo>
                      <a:pt x="10" y="46"/>
                    </a:lnTo>
                    <a:lnTo>
                      <a:pt x="9" y="46"/>
                    </a:lnTo>
                    <a:lnTo>
                      <a:pt x="7" y="44"/>
                    </a:lnTo>
                    <a:lnTo>
                      <a:pt x="5" y="44"/>
                    </a:lnTo>
                    <a:lnTo>
                      <a:pt x="3" y="46"/>
                    </a:lnTo>
                    <a:lnTo>
                      <a:pt x="3" y="47"/>
                    </a:lnTo>
                    <a:lnTo>
                      <a:pt x="5" y="51"/>
                    </a:lnTo>
                    <a:lnTo>
                      <a:pt x="7" y="54"/>
                    </a:lnTo>
                    <a:lnTo>
                      <a:pt x="7" y="56"/>
                    </a:lnTo>
                    <a:lnTo>
                      <a:pt x="9" y="58"/>
                    </a:lnTo>
                    <a:lnTo>
                      <a:pt x="10" y="59"/>
                    </a:lnTo>
                    <a:lnTo>
                      <a:pt x="12" y="61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4" y="69"/>
                    </a:lnTo>
                    <a:lnTo>
                      <a:pt x="12" y="71"/>
                    </a:lnTo>
                    <a:lnTo>
                      <a:pt x="12" y="73"/>
                    </a:lnTo>
                    <a:lnTo>
                      <a:pt x="12" y="74"/>
                    </a:lnTo>
                    <a:lnTo>
                      <a:pt x="10" y="74"/>
                    </a:lnTo>
                    <a:lnTo>
                      <a:pt x="9" y="76"/>
                    </a:lnTo>
                    <a:lnTo>
                      <a:pt x="5" y="78"/>
                    </a:lnTo>
                    <a:lnTo>
                      <a:pt x="2" y="79"/>
                    </a:lnTo>
                    <a:lnTo>
                      <a:pt x="2" y="81"/>
                    </a:lnTo>
                    <a:lnTo>
                      <a:pt x="0" y="83"/>
                    </a:lnTo>
                    <a:lnTo>
                      <a:pt x="2" y="84"/>
                    </a:lnTo>
                    <a:lnTo>
                      <a:pt x="3" y="86"/>
                    </a:lnTo>
                    <a:lnTo>
                      <a:pt x="5" y="86"/>
                    </a:lnTo>
                    <a:lnTo>
                      <a:pt x="5" y="88"/>
                    </a:lnTo>
                    <a:lnTo>
                      <a:pt x="5" y="90"/>
                    </a:lnTo>
                    <a:lnTo>
                      <a:pt x="3" y="91"/>
                    </a:lnTo>
                    <a:lnTo>
                      <a:pt x="3" y="93"/>
                    </a:lnTo>
                    <a:lnTo>
                      <a:pt x="3" y="95"/>
                    </a:lnTo>
                    <a:lnTo>
                      <a:pt x="3" y="96"/>
                    </a:lnTo>
                    <a:lnTo>
                      <a:pt x="7" y="96"/>
                    </a:lnTo>
                    <a:lnTo>
                      <a:pt x="9" y="96"/>
                    </a:lnTo>
                    <a:lnTo>
                      <a:pt x="10" y="96"/>
                    </a:lnTo>
                    <a:lnTo>
                      <a:pt x="12" y="95"/>
                    </a:lnTo>
                    <a:lnTo>
                      <a:pt x="15" y="95"/>
                    </a:lnTo>
                    <a:lnTo>
                      <a:pt x="15" y="93"/>
                    </a:lnTo>
                    <a:lnTo>
                      <a:pt x="17" y="93"/>
                    </a:lnTo>
                    <a:lnTo>
                      <a:pt x="17" y="91"/>
                    </a:lnTo>
                    <a:lnTo>
                      <a:pt x="19" y="91"/>
                    </a:lnTo>
                    <a:lnTo>
                      <a:pt x="20" y="90"/>
                    </a:lnTo>
                    <a:lnTo>
                      <a:pt x="22" y="88"/>
                    </a:lnTo>
                    <a:lnTo>
                      <a:pt x="25" y="88"/>
                    </a:lnTo>
                    <a:lnTo>
                      <a:pt x="29" y="88"/>
                    </a:lnTo>
                    <a:lnTo>
                      <a:pt x="30" y="88"/>
                    </a:lnTo>
                    <a:lnTo>
                      <a:pt x="34" y="88"/>
                    </a:lnTo>
                    <a:lnTo>
                      <a:pt x="36" y="90"/>
                    </a:lnTo>
                    <a:lnTo>
                      <a:pt x="37" y="88"/>
                    </a:lnTo>
                    <a:lnTo>
                      <a:pt x="39" y="88"/>
                    </a:lnTo>
                    <a:lnTo>
                      <a:pt x="41" y="88"/>
                    </a:lnTo>
                    <a:lnTo>
                      <a:pt x="42" y="90"/>
                    </a:lnTo>
                    <a:lnTo>
                      <a:pt x="46" y="91"/>
                    </a:lnTo>
                    <a:lnTo>
                      <a:pt x="49" y="93"/>
                    </a:lnTo>
                    <a:lnTo>
                      <a:pt x="52" y="93"/>
                    </a:lnTo>
                    <a:lnTo>
                      <a:pt x="57" y="93"/>
                    </a:lnTo>
                    <a:lnTo>
                      <a:pt x="63" y="93"/>
                    </a:lnTo>
                    <a:lnTo>
                      <a:pt x="66" y="93"/>
                    </a:lnTo>
                    <a:lnTo>
                      <a:pt x="68" y="95"/>
                    </a:lnTo>
                    <a:lnTo>
                      <a:pt x="69" y="95"/>
                    </a:lnTo>
                    <a:lnTo>
                      <a:pt x="71" y="95"/>
                    </a:lnTo>
                    <a:lnTo>
                      <a:pt x="73" y="96"/>
                    </a:lnTo>
                    <a:lnTo>
                      <a:pt x="74" y="96"/>
                    </a:lnTo>
                    <a:lnTo>
                      <a:pt x="76" y="95"/>
                    </a:lnTo>
                    <a:lnTo>
                      <a:pt x="78" y="95"/>
                    </a:lnTo>
                    <a:lnTo>
                      <a:pt x="79" y="95"/>
                    </a:lnTo>
                    <a:lnTo>
                      <a:pt x="81" y="95"/>
                    </a:lnTo>
                    <a:lnTo>
                      <a:pt x="83" y="95"/>
                    </a:lnTo>
                    <a:lnTo>
                      <a:pt x="86" y="96"/>
                    </a:lnTo>
                    <a:lnTo>
                      <a:pt x="89" y="96"/>
                    </a:lnTo>
                    <a:lnTo>
                      <a:pt x="91" y="96"/>
                    </a:lnTo>
                    <a:lnTo>
                      <a:pt x="91" y="95"/>
                    </a:lnTo>
                    <a:lnTo>
                      <a:pt x="93" y="95"/>
                    </a:lnTo>
                    <a:lnTo>
                      <a:pt x="95" y="95"/>
                    </a:lnTo>
                    <a:lnTo>
                      <a:pt x="95" y="96"/>
                    </a:lnTo>
                    <a:lnTo>
                      <a:pt x="96" y="96"/>
                    </a:lnTo>
                    <a:lnTo>
                      <a:pt x="96" y="98"/>
                    </a:lnTo>
                    <a:lnTo>
                      <a:pt x="98" y="100"/>
                    </a:lnTo>
                    <a:lnTo>
                      <a:pt x="101" y="98"/>
                    </a:lnTo>
                    <a:lnTo>
                      <a:pt x="103" y="98"/>
                    </a:lnTo>
                    <a:lnTo>
                      <a:pt x="105" y="98"/>
                    </a:lnTo>
                    <a:lnTo>
                      <a:pt x="106" y="98"/>
                    </a:lnTo>
                    <a:lnTo>
                      <a:pt x="108" y="98"/>
                    </a:lnTo>
                    <a:lnTo>
                      <a:pt x="108" y="96"/>
                    </a:lnTo>
                    <a:lnTo>
                      <a:pt x="110" y="96"/>
                    </a:lnTo>
                    <a:lnTo>
                      <a:pt x="111" y="96"/>
                    </a:lnTo>
                    <a:lnTo>
                      <a:pt x="113" y="96"/>
                    </a:lnTo>
                    <a:lnTo>
                      <a:pt x="113" y="95"/>
                    </a:lnTo>
                    <a:lnTo>
                      <a:pt x="111" y="95"/>
                    </a:lnTo>
                    <a:lnTo>
                      <a:pt x="111" y="93"/>
                    </a:lnTo>
                    <a:lnTo>
                      <a:pt x="110" y="93"/>
                    </a:lnTo>
                    <a:lnTo>
                      <a:pt x="110" y="91"/>
                    </a:lnTo>
                    <a:lnTo>
                      <a:pt x="110" y="90"/>
                    </a:lnTo>
                    <a:lnTo>
                      <a:pt x="111" y="90"/>
                    </a:lnTo>
                    <a:lnTo>
                      <a:pt x="113" y="90"/>
                    </a:lnTo>
                    <a:lnTo>
                      <a:pt x="115" y="90"/>
                    </a:lnTo>
                    <a:lnTo>
                      <a:pt x="118" y="88"/>
                    </a:lnTo>
                    <a:lnTo>
                      <a:pt x="120" y="88"/>
                    </a:lnTo>
                    <a:lnTo>
                      <a:pt x="123" y="84"/>
                    </a:lnTo>
                    <a:lnTo>
                      <a:pt x="125" y="84"/>
                    </a:lnTo>
                    <a:lnTo>
                      <a:pt x="127" y="84"/>
                    </a:lnTo>
                    <a:lnTo>
                      <a:pt x="130" y="84"/>
                    </a:lnTo>
                    <a:lnTo>
                      <a:pt x="132" y="84"/>
                    </a:lnTo>
                    <a:lnTo>
                      <a:pt x="133" y="86"/>
                    </a:lnTo>
                    <a:lnTo>
                      <a:pt x="133" y="84"/>
                    </a:lnTo>
                    <a:lnTo>
                      <a:pt x="133" y="83"/>
                    </a:lnTo>
                    <a:lnTo>
                      <a:pt x="132" y="83"/>
                    </a:lnTo>
                    <a:lnTo>
                      <a:pt x="130" y="81"/>
                    </a:lnTo>
                    <a:lnTo>
                      <a:pt x="130" y="79"/>
                    </a:lnTo>
                    <a:lnTo>
                      <a:pt x="130" y="78"/>
                    </a:lnTo>
                    <a:lnTo>
                      <a:pt x="132" y="76"/>
                    </a:lnTo>
                    <a:lnTo>
                      <a:pt x="132" y="73"/>
                    </a:lnTo>
                    <a:lnTo>
                      <a:pt x="130" y="71"/>
                    </a:lnTo>
                    <a:lnTo>
                      <a:pt x="125" y="66"/>
                    </a:lnTo>
                    <a:lnTo>
                      <a:pt x="125" y="64"/>
                    </a:lnTo>
                    <a:lnTo>
                      <a:pt x="127" y="63"/>
                    </a:lnTo>
                    <a:lnTo>
                      <a:pt x="128" y="63"/>
                    </a:lnTo>
                    <a:lnTo>
                      <a:pt x="130" y="63"/>
                    </a:lnTo>
                    <a:lnTo>
                      <a:pt x="132" y="63"/>
                    </a:lnTo>
                    <a:lnTo>
                      <a:pt x="132" y="64"/>
                    </a:lnTo>
                    <a:lnTo>
                      <a:pt x="133" y="64"/>
                    </a:lnTo>
                    <a:lnTo>
                      <a:pt x="135" y="66"/>
                    </a:lnTo>
                    <a:lnTo>
                      <a:pt x="138" y="66"/>
                    </a:lnTo>
                    <a:lnTo>
                      <a:pt x="140" y="66"/>
                    </a:lnTo>
                    <a:lnTo>
                      <a:pt x="142" y="64"/>
                    </a:lnTo>
                    <a:lnTo>
                      <a:pt x="145" y="64"/>
                    </a:lnTo>
                    <a:lnTo>
                      <a:pt x="147" y="63"/>
                    </a:lnTo>
                    <a:lnTo>
                      <a:pt x="149" y="61"/>
                    </a:lnTo>
                    <a:lnTo>
                      <a:pt x="150" y="59"/>
                    </a:lnTo>
                    <a:lnTo>
                      <a:pt x="149" y="58"/>
                    </a:lnTo>
                    <a:lnTo>
                      <a:pt x="147" y="56"/>
                    </a:lnTo>
                    <a:lnTo>
                      <a:pt x="145" y="56"/>
                    </a:lnTo>
                    <a:lnTo>
                      <a:pt x="143" y="56"/>
                    </a:lnTo>
                    <a:lnTo>
                      <a:pt x="143" y="54"/>
                    </a:lnTo>
                    <a:lnTo>
                      <a:pt x="143" y="52"/>
                    </a:lnTo>
                    <a:lnTo>
                      <a:pt x="142" y="51"/>
                    </a:lnTo>
                    <a:lnTo>
                      <a:pt x="140" y="51"/>
                    </a:lnTo>
                    <a:lnTo>
                      <a:pt x="137" y="51"/>
                    </a:lnTo>
                    <a:lnTo>
                      <a:pt x="133" y="51"/>
                    </a:lnTo>
                    <a:lnTo>
                      <a:pt x="132" y="51"/>
                    </a:lnTo>
                    <a:lnTo>
                      <a:pt x="132" y="49"/>
                    </a:lnTo>
                    <a:lnTo>
                      <a:pt x="133" y="49"/>
                    </a:lnTo>
                    <a:lnTo>
                      <a:pt x="133" y="47"/>
                    </a:lnTo>
                    <a:lnTo>
                      <a:pt x="135" y="47"/>
                    </a:lnTo>
                    <a:lnTo>
                      <a:pt x="135" y="46"/>
                    </a:lnTo>
                    <a:lnTo>
                      <a:pt x="133" y="46"/>
                    </a:lnTo>
                    <a:lnTo>
                      <a:pt x="133" y="44"/>
                    </a:lnTo>
                    <a:lnTo>
                      <a:pt x="127" y="41"/>
                    </a:lnTo>
                    <a:lnTo>
                      <a:pt x="123" y="39"/>
                    </a:lnTo>
                    <a:lnTo>
                      <a:pt x="123" y="37"/>
                    </a:lnTo>
                    <a:lnTo>
                      <a:pt x="123" y="36"/>
                    </a:lnTo>
                    <a:lnTo>
                      <a:pt x="123" y="34"/>
                    </a:lnTo>
                    <a:lnTo>
                      <a:pt x="123" y="32"/>
                    </a:lnTo>
                    <a:lnTo>
                      <a:pt x="122" y="32"/>
                    </a:lnTo>
                    <a:lnTo>
                      <a:pt x="120" y="31"/>
                    </a:lnTo>
                    <a:lnTo>
                      <a:pt x="120" y="29"/>
                    </a:lnTo>
                    <a:lnTo>
                      <a:pt x="118" y="27"/>
                    </a:lnTo>
                    <a:lnTo>
                      <a:pt x="118" y="25"/>
                    </a:lnTo>
                    <a:lnTo>
                      <a:pt x="120" y="24"/>
                    </a:lnTo>
                    <a:lnTo>
                      <a:pt x="122" y="22"/>
                    </a:lnTo>
                    <a:lnTo>
                      <a:pt x="123" y="22"/>
                    </a:lnTo>
                    <a:lnTo>
                      <a:pt x="122" y="22"/>
                    </a:lnTo>
                    <a:lnTo>
                      <a:pt x="120" y="20"/>
                    </a:lnTo>
                    <a:lnTo>
                      <a:pt x="118" y="19"/>
                    </a:lnTo>
                    <a:lnTo>
                      <a:pt x="118" y="17"/>
                    </a:lnTo>
                    <a:lnTo>
                      <a:pt x="120" y="15"/>
                    </a:lnTo>
                    <a:lnTo>
                      <a:pt x="120" y="14"/>
                    </a:lnTo>
                    <a:lnTo>
                      <a:pt x="120" y="12"/>
                    </a:lnTo>
                    <a:lnTo>
                      <a:pt x="118" y="12"/>
                    </a:lnTo>
                    <a:lnTo>
                      <a:pt x="116" y="12"/>
                    </a:lnTo>
                    <a:lnTo>
                      <a:pt x="115" y="10"/>
                    </a:lnTo>
                    <a:lnTo>
                      <a:pt x="113" y="9"/>
                    </a:lnTo>
                    <a:lnTo>
                      <a:pt x="113" y="7"/>
                    </a:lnTo>
                    <a:lnTo>
                      <a:pt x="111" y="7"/>
                    </a:lnTo>
                    <a:lnTo>
                      <a:pt x="108" y="7"/>
                    </a:lnTo>
                    <a:lnTo>
                      <a:pt x="106" y="7"/>
                    </a:lnTo>
                    <a:lnTo>
                      <a:pt x="105" y="7"/>
                    </a:lnTo>
                    <a:lnTo>
                      <a:pt x="103" y="7"/>
                    </a:lnTo>
                    <a:lnTo>
                      <a:pt x="101" y="7"/>
                    </a:lnTo>
                    <a:lnTo>
                      <a:pt x="100" y="7"/>
                    </a:lnTo>
                    <a:lnTo>
                      <a:pt x="100" y="9"/>
                    </a:lnTo>
                    <a:lnTo>
                      <a:pt x="98" y="10"/>
                    </a:lnTo>
                    <a:lnTo>
                      <a:pt x="96" y="10"/>
                    </a:lnTo>
                    <a:lnTo>
                      <a:pt x="96" y="9"/>
                    </a:lnTo>
                    <a:lnTo>
                      <a:pt x="96" y="7"/>
                    </a:lnTo>
                    <a:lnTo>
                      <a:pt x="96" y="5"/>
                    </a:lnTo>
                    <a:lnTo>
                      <a:pt x="98" y="5"/>
                    </a:lnTo>
                    <a:lnTo>
                      <a:pt x="98" y="4"/>
                    </a:lnTo>
                    <a:lnTo>
                      <a:pt x="96" y="4"/>
                    </a:lnTo>
                    <a:lnTo>
                      <a:pt x="95" y="4"/>
                    </a:lnTo>
                    <a:lnTo>
                      <a:pt x="93" y="4"/>
                    </a:lnTo>
                    <a:lnTo>
                      <a:pt x="91" y="4"/>
                    </a:lnTo>
                    <a:lnTo>
                      <a:pt x="89" y="4"/>
                    </a:lnTo>
                    <a:lnTo>
                      <a:pt x="88" y="4"/>
                    </a:lnTo>
                    <a:lnTo>
                      <a:pt x="86" y="4"/>
                    </a:lnTo>
                    <a:lnTo>
                      <a:pt x="84" y="4"/>
                    </a:lnTo>
                    <a:lnTo>
                      <a:pt x="81" y="2"/>
                    </a:lnTo>
                    <a:lnTo>
                      <a:pt x="79" y="0"/>
                    </a:lnTo>
                    <a:lnTo>
                      <a:pt x="78" y="0"/>
                    </a:ln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76" name="Group 1675">
              <a:extLst>
                <a:ext uri="{FF2B5EF4-FFF2-40B4-BE49-F238E27FC236}">
                  <a16:creationId xmlns:a16="http://schemas.microsoft.com/office/drawing/2014/main" id="{6A5E78D2-4518-2D41-981E-5EE41750944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8" y="509"/>
              <a:ext cx="12" cy="17"/>
              <a:chOff x="118" y="509"/>
              <a:chExt cx="12" cy="17"/>
            </a:xfrm>
          </p:grpSpPr>
          <p:grpSp>
            <p:nvGrpSpPr>
              <p:cNvPr id="1677" name="Group 1676">
                <a:extLst>
                  <a:ext uri="{FF2B5EF4-FFF2-40B4-BE49-F238E27FC236}">
                    <a16:creationId xmlns:a16="http://schemas.microsoft.com/office/drawing/2014/main" id="{E66EE7B5-CA3B-7540-A8AF-6DF7BD669A8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18" y="515"/>
                <a:ext cx="4" cy="7"/>
                <a:chOff x="118" y="515"/>
                <a:chExt cx="4" cy="7"/>
              </a:xfrm>
            </p:grpSpPr>
            <p:sp>
              <p:nvSpPr>
                <p:cNvPr id="1687" name="Freeform 61">
                  <a:extLst>
                    <a:ext uri="{FF2B5EF4-FFF2-40B4-BE49-F238E27FC236}">
                      <a16:creationId xmlns:a16="http://schemas.microsoft.com/office/drawing/2014/main" id="{67497D48-9686-C047-9F05-20902BAD26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" y="515"/>
                  <a:ext cx="4" cy="7"/>
                </a:xfrm>
                <a:custGeom>
                  <a:avLst/>
                  <a:gdLst>
                    <a:gd name="T0" fmla="*/ 0 w 32"/>
                    <a:gd name="T1" fmla="*/ 22 h 64"/>
                    <a:gd name="T2" fmla="*/ 32 w 32"/>
                    <a:gd name="T3" fmla="*/ 11 h 64"/>
                    <a:gd name="T4" fmla="*/ 0 w 32"/>
                    <a:gd name="T5" fmla="*/ 2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2" h="64">
                      <a:moveTo>
                        <a:pt x="0" y="22"/>
                      </a:moveTo>
                      <a:cubicBezTo>
                        <a:pt x="11" y="64"/>
                        <a:pt x="11" y="64"/>
                        <a:pt x="32" y="11"/>
                      </a:cubicBezTo>
                      <a:cubicBezTo>
                        <a:pt x="32" y="0"/>
                        <a:pt x="11" y="22"/>
                        <a:pt x="0" y="22"/>
                      </a:cubicBezTo>
                    </a:path>
                  </a:pathLst>
                </a:custGeom>
                <a:solidFill>
                  <a:srgbClr val="D4DBE4"/>
                </a:solidFill>
                <a:ln w="0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8" name="Freeform 62">
                  <a:extLst>
                    <a:ext uri="{FF2B5EF4-FFF2-40B4-BE49-F238E27FC236}">
                      <a16:creationId xmlns:a16="http://schemas.microsoft.com/office/drawing/2014/main" id="{014C2971-F9FC-424B-BD2E-3CAB885E58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" y="515"/>
                  <a:ext cx="4" cy="7"/>
                </a:xfrm>
                <a:custGeom>
                  <a:avLst/>
                  <a:gdLst>
                    <a:gd name="T0" fmla="*/ 0 w 4"/>
                    <a:gd name="T1" fmla="*/ 3 h 7"/>
                    <a:gd name="T2" fmla="*/ 4 w 4"/>
                    <a:gd name="T3" fmla="*/ 2 h 7"/>
                    <a:gd name="T4" fmla="*/ 0 w 4"/>
                    <a:gd name="T5" fmla="*/ 3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7">
                      <a:moveTo>
                        <a:pt x="0" y="3"/>
                      </a:moveTo>
                      <a:cubicBezTo>
                        <a:pt x="1" y="7"/>
                        <a:pt x="1" y="7"/>
                        <a:pt x="4" y="2"/>
                      </a:cubicBezTo>
                      <a:cubicBezTo>
                        <a:pt x="4" y="0"/>
                        <a:pt x="1" y="3"/>
                        <a:pt x="0" y="3"/>
                      </a:cubicBezTo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78" name="Group 1677">
                <a:extLst>
                  <a:ext uri="{FF2B5EF4-FFF2-40B4-BE49-F238E27FC236}">
                    <a16:creationId xmlns:a16="http://schemas.microsoft.com/office/drawing/2014/main" id="{AA9AFC5E-0628-C44C-B8A6-12205761871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28" y="519"/>
                <a:ext cx="2" cy="3"/>
                <a:chOff x="128" y="519"/>
                <a:chExt cx="2" cy="3"/>
              </a:xfrm>
            </p:grpSpPr>
            <p:sp>
              <p:nvSpPr>
                <p:cNvPr id="1685" name="Freeform 59">
                  <a:extLst>
                    <a:ext uri="{FF2B5EF4-FFF2-40B4-BE49-F238E27FC236}">
                      <a16:creationId xmlns:a16="http://schemas.microsoft.com/office/drawing/2014/main" id="{82F01E51-31A3-A94E-B6AF-FB5B50F231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" y="519"/>
                  <a:ext cx="2" cy="3"/>
                </a:xfrm>
                <a:custGeom>
                  <a:avLst/>
                  <a:gdLst>
                    <a:gd name="T0" fmla="*/ 0 w 16"/>
                    <a:gd name="T1" fmla="*/ 0 h 32"/>
                    <a:gd name="T2" fmla="*/ 16 w 16"/>
                    <a:gd name="T3" fmla="*/ 24 h 32"/>
                    <a:gd name="T4" fmla="*/ 0 w 16"/>
                    <a:gd name="T5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6" h="32">
                      <a:moveTo>
                        <a:pt x="0" y="0"/>
                      </a:moveTo>
                      <a:cubicBezTo>
                        <a:pt x="0" y="8"/>
                        <a:pt x="16" y="32"/>
                        <a:pt x="16" y="24"/>
                      </a:cubicBezTo>
                      <a:cubicBezTo>
                        <a:pt x="16" y="16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DBE4"/>
                </a:solidFill>
                <a:ln w="0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6" name="Freeform 60">
                  <a:extLst>
                    <a:ext uri="{FF2B5EF4-FFF2-40B4-BE49-F238E27FC236}">
                      <a16:creationId xmlns:a16="http://schemas.microsoft.com/office/drawing/2014/main" id="{556B7660-9049-FF42-9EAA-E3AF64E4E9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" y="519"/>
                  <a:ext cx="2" cy="3"/>
                </a:xfrm>
                <a:custGeom>
                  <a:avLst/>
                  <a:gdLst>
                    <a:gd name="T0" fmla="*/ 0 w 2"/>
                    <a:gd name="T1" fmla="*/ 0 h 3"/>
                    <a:gd name="T2" fmla="*/ 2 w 2"/>
                    <a:gd name="T3" fmla="*/ 2 h 3"/>
                    <a:gd name="T4" fmla="*/ 0 w 2"/>
                    <a:gd name="T5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cubicBezTo>
                        <a:pt x="0" y="1"/>
                        <a:pt x="2" y="3"/>
                        <a:pt x="2" y="2"/>
                      </a:cubicBezTo>
                      <a:cubicBezTo>
                        <a:pt x="2" y="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79" name="Group 1678">
                <a:extLst>
                  <a:ext uri="{FF2B5EF4-FFF2-40B4-BE49-F238E27FC236}">
                    <a16:creationId xmlns:a16="http://schemas.microsoft.com/office/drawing/2014/main" id="{B9867682-F16F-C145-BFEF-35CD89690B0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25" y="509"/>
                <a:ext cx="3" cy="1"/>
                <a:chOff x="125" y="509"/>
                <a:chExt cx="3" cy="1"/>
              </a:xfrm>
            </p:grpSpPr>
            <p:sp>
              <p:nvSpPr>
                <p:cNvPr id="1683" name="Freeform 57">
                  <a:extLst>
                    <a:ext uri="{FF2B5EF4-FFF2-40B4-BE49-F238E27FC236}">
                      <a16:creationId xmlns:a16="http://schemas.microsoft.com/office/drawing/2014/main" id="{A7954686-6EA2-EA46-ADE7-044F63A3E1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" y="509"/>
                  <a:ext cx="3" cy="1"/>
                </a:xfrm>
                <a:custGeom>
                  <a:avLst/>
                  <a:gdLst>
                    <a:gd name="T0" fmla="*/ 22 w 32"/>
                    <a:gd name="T1" fmla="*/ 0 h 16"/>
                    <a:gd name="T2" fmla="*/ 11 w 32"/>
                    <a:gd name="T3" fmla="*/ 16 h 16"/>
                    <a:gd name="T4" fmla="*/ 32 w 32"/>
                    <a:gd name="T5" fmla="*/ 8 h 16"/>
                    <a:gd name="T6" fmla="*/ 22 w 32"/>
                    <a:gd name="T7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2" h="16">
                      <a:moveTo>
                        <a:pt x="22" y="0"/>
                      </a:moveTo>
                      <a:cubicBezTo>
                        <a:pt x="22" y="8"/>
                        <a:pt x="0" y="8"/>
                        <a:pt x="11" y="16"/>
                      </a:cubicBezTo>
                      <a:lnTo>
                        <a:pt x="32" y="8"/>
                      </a:lnTo>
                      <a:cubicBezTo>
                        <a:pt x="32" y="8"/>
                        <a:pt x="22" y="0"/>
                        <a:pt x="22" y="0"/>
                      </a:cubicBezTo>
                      <a:close/>
                    </a:path>
                  </a:pathLst>
                </a:custGeom>
                <a:solidFill>
                  <a:srgbClr val="D4DBE4"/>
                </a:solidFill>
                <a:ln w="0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4" name="Freeform 58">
                  <a:extLst>
                    <a:ext uri="{FF2B5EF4-FFF2-40B4-BE49-F238E27FC236}">
                      <a16:creationId xmlns:a16="http://schemas.microsoft.com/office/drawing/2014/main" id="{5943F2E0-DFF6-7C41-8B47-F3AAF7EFD6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" y="509"/>
                  <a:ext cx="3" cy="1"/>
                </a:xfrm>
                <a:custGeom>
                  <a:avLst/>
                  <a:gdLst>
                    <a:gd name="T0" fmla="*/ 22 w 32"/>
                    <a:gd name="T1" fmla="*/ 0 h 16"/>
                    <a:gd name="T2" fmla="*/ 11 w 32"/>
                    <a:gd name="T3" fmla="*/ 16 h 16"/>
                    <a:gd name="T4" fmla="*/ 32 w 32"/>
                    <a:gd name="T5" fmla="*/ 8 h 16"/>
                    <a:gd name="T6" fmla="*/ 22 w 32"/>
                    <a:gd name="T7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2" h="16">
                      <a:moveTo>
                        <a:pt x="22" y="0"/>
                      </a:moveTo>
                      <a:cubicBezTo>
                        <a:pt x="22" y="8"/>
                        <a:pt x="0" y="8"/>
                        <a:pt x="11" y="16"/>
                      </a:cubicBezTo>
                      <a:lnTo>
                        <a:pt x="32" y="8"/>
                      </a:lnTo>
                      <a:cubicBezTo>
                        <a:pt x="32" y="8"/>
                        <a:pt x="22" y="0"/>
                        <a:pt x="22" y="0"/>
                      </a:cubicBez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80" name="Group 1679">
                <a:extLst>
                  <a:ext uri="{FF2B5EF4-FFF2-40B4-BE49-F238E27FC236}">
                    <a16:creationId xmlns:a16="http://schemas.microsoft.com/office/drawing/2014/main" id="{CA0C1273-86BD-334C-A832-BAD7C8D7DEC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20" y="524"/>
                <a:ext cx="7" cy="2"/>
                <a:chOff x="120" y="524"/>
                <a:chExt cx="7" cy="2"/>
              </a:xfrm>
            </p:grpSpPr>
            <p:sp>
              <p:nvSpPr>
                <p:cNvPr id="1681" name="Freeform 55">
                  <a:extLst>
                    <a:ext uri="{FF2B5EF4-FFF2-40B4-BE49-F238E27FC236}">
                      <a16:creationId xmlns:a16="http://schemas.microsoft.com/office/drawing/2014/main" id="{C5D6CD12-92C5-074E-A9B1-09F2B086E3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0" y="524"/>
                  <a:ext cx="7" cy="2"/>
                </a:xfrm>
                <a:custGeom>
                  <a:avLst/>
                  <a:gdLst>
                    <a:gd name="T0" fmla="*/ 28 w 64"/>
                    <a:gd name="T1" fmla="*/ 8 h 16"/>
                    <a:gd name="T2" fmla="*/ 55 w 64"/>
                    <a:gd name="T3" fmla="*/ 16 h 16"/>
                    <a:gd name="T4" fmla="*/ 10 w 64"/>
                    <a:gd name="T5" fmla="*/ 8 h 16"/>
                    <a:gd name="T6" fmla="*/ 28 w 64"/>
                    <a:gd name="T7" fmla="*/ 8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4" h="16">
                      <a:moveTo>
                        <a:pt x="28" y="8"/>
                      </a:moveTo>
                      <a:cubicBezTo>
                        <a:pt x="37" y="8"/>
                        <a:pt x="64" y="16"/>
                        <a:pt x="55" y="16"/>
                      </a:cubicBezTo>
                      <a:cubicBezTo>
                        <a:pt x="37" y="16"/>
                        <a:pt x="19" y="16"/>
                        <a:pt x="10" y="8"/>
                      </a:cubicBezTo>
                      <a:cubicBezTo>
                        <a:pt x="0" y="8"/>
                        <a:pt x="28" y="0"/>
                        <a:pt x="28" y="8"/>
                      </a:cubicBezTo>
                    </a:path>
                  </a:pathLst>
                </a:custGeom>
                <a:solidFill>
                  <a:srgbClr val="D4DBE4"/>
                </a:solidFill>
                <a:ln w="0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2" name="Freeform 56">
                  <a:extLst>
                    <a:ext uri="{FF2B5EF4-FFF2-40B4-BE49-F238E27FC236}">
                      <a16:creationId xmlns:a16="http://schemas.microsoft.com/office/drawing/2014/main" id="{B87F8347-6AA9-314D-9E8E-E49E1384ED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0" y="524"/>
                  <a:ext cx="7" cy="2"/>
                </a:xfrm>
                <a:custGeom>
                  <a:avLst/>
                  <a:gdLst>
                    <a:gd name="T0" fmla="*/ 3 w 7"/>
                    <a:gd name="T1" fmla="*/ 1 h 2"/>
                    <a:gd name="T2" fmla="*/ 6 w 7"/>
                    <a:gd name="T3" fmla="*/ 2 h 2"/>
                    <a:gd name="T4" fmla="*/ 1 w 7"/>
                    <a:gd name="T5" fmla="*/ 1 h 2"/>
                    <a:gd name="T6" fmla="*/ 3 w 7"/>
                    <a:gd name="T7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2">
                      <a:moveTo>
                        <a:pt x="3" y="1"/>
                      </a:moveTo>
                      <a:cubicBezTo>
                        <a:pt x="4" y="1"/>
                        <a:pt x="7" y="2"/>
                        <a:pt x="6" y="2"/>
                      </a:cubicBezTo>
                      <a:cubicBezTo>
                        <a:pt x="4" y="2"/>
                        <a:pt x="2" y="2"/>
                        <a:pt x="1" y="1"/>
                      </a:cubicBezTo>
                      <a:cubicBezTo>
                        <a:pt x="0" y="1"/>
                        <a:pt x="3" y="0"/>
                        <a:pt x="3" y="1"/>
                      </a:cubicBezTo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2030" name="TextBox 2029">
            <a:extLst>
              <a:ext uri="{FF2B5EF4-FFF2-40B4-BE49-F238E27FC236}">
                <a16:creationId xmlns:a16="http://schemas.microsoft.com/office/drawing/2014/main" id="{B6DE5677-2637-1F4D-A7D4-99D657894E6B}"/>
              </a:ext>
            </a:extLst>
          </p:cNvPr>
          <p:cNvSpPr txBox="1"/>
          <p:nvPr/>
        </p:nvSpPr>
        <p:spPr>
          <a:xfrm>
            <a:off x="8181897" y="1178444"/>
            <a:ext cx="676056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Arial" panose="020B0604020202020204" pitchFamily="34" charset="0"/>
              </a:rPr>
              <a:t>Norway</a:t>
            </a:r>
          </a:p>
        </p:txBody>
      </p:sp>
      <p:cxnSp>
        <p:nvCxnSpPr>
          <p:cNvPr id="2031" name="Straight Arrow Connector 40511">
            <a:extLst>
              <a:ext uri="{FF2B5EF4-FFF2-40B4-BE49-F238E27FC236}">
                <a16:creationId xmlns:a16="http://schemas.microsoft.com/office/drawing/2014/main" id="{2556D9F3-87C2-524D-A4FC-2817D9C82ADB}"/>
              </a:ext>
            </a:extLst>
          </p:cNvPr>
          <p:cNvCxnSpPr>
            <a:cxnSpLocks/>
            <a:stCxn id="416" idx="2"/>
            <a:endCxn id="1856" idx="59"/>
          </p:cNvCxnSpPr>
          <p:nvPr/>
        </p:nvCxnSpPr>
        <p:spPr>
          <a:xfrm flipH="1">
            <a:off x="8419667" y="2013113"/>
            <a:ext cx="109294" cy="1235859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2032" name="TextBox 2031">
            <a:extLst>
              <a:ext uri="{FF2B5EF4-FFF2-40B4-BE49-F238E27FC236}">
                <a16:creationId xmlns:a16="http://schemas.microsoft.com/office/drawing/2014/main" id="{3388E41E-A420-F440-B445-467F91983BB5}"/>
              </a:ext>
            </a:extLst>
          </p:cNvPr>
          <p:cNvSpPr txBox="1"/>
          <p:nvPr/>
        </p:nvSpPr>
        <p:spPr>
          <a:xfrm>
            <a:off x="9864133" y="989301"/>
            <a:ext cx="701623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Arial" panose="020B0604020202020204" pitchFamily="34" charset="0"/>
              </a:rPr>
              <a:t>Sweden</a:t>
            </a:r>
          </a:p>
        </p:txBody>
      </p:sp>
      <p:cxnSp>
        <p:nvCxnSpPr>
          <p:cNvPr id="2033" name="Straight Arrow Connector 40722">
            <a:extLst>
              <a:ext uri="{FF2B5EF4-FFF2-40B4-BE49-F238E27FC236}">
                <a16:creationId xmlns:a16="http://schemas.microsoft.com/office/drawing/2014/main" id="{F66C35B9-F195-1B44-B34A-5E331C79BB94}"/>
              </a:ext>
            </a:extLst>
          </p:cNvPr>
          <p:cNvCxnSpPr>
            <a:cxnSpLocks/>
            <a:stCxn id="418" idx="2"/>
            <a:endCxn id="1757" idx="23"/>
          </p:cNvCxnSpPr>
          <p:nvPr/>
        </p:nvCxnSpPr>
        <p:spPr>
          <a:xfrm flipH="1">
            <a:off x="8817499" y="1813356"/>
            <a:ext cx="1397446" cy="1448638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2034" name="TextBox 2033">
            <a:extLst>
              <a:ext uri="{FF2B5EF4-FFF2-40B4-BE49-F238E27FC236}">
                <a16:creationId xmlns:a16="http://schemas.microsoft.com/office/drawing/2014/main" id="{36C118DE-C88E-554A-90CB-8C8A48392F0A}"/>
              </a:ext>
            </a:extLst>
          </p:cNvPr>
          <p:cNvSpPr txBox="1"/>
          <p:nvPr/>
        </p:nvSpPr>
        <p:spPr>
          <a:xfrm>
            <a:off x="6958678" y="1874188"/>
            <a:ext cx="794760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Arial" panose="020B0604020202020204" pitchFamily="34" charset="0"/>
              </a:rPr>
              <a:t>Danmark</a:t>
            </a:r>
          </a:p>
        </p:txBody>
      </p:sp>
      <p:cxnSp>
        <p:nvCxnSpPr>
          <p:cNvPr id="2035" name="Straight Arrow Connector 40933">
            <a:extLst>
              <a:ext uri="{FF2B5EF4-FFF2-40B4-BE49-F238E27FC236}">
                <a16:creationId xmlns:a16="http://schemas.microsoft.com/office/drawing/2014/main" id="{F51BCC2E-D24B-4346-9201-D489908B8FE7}"/>
              </a:ext>
            </a:extLst>
          </p:cNvPr>
          <p:cNvCxnSpPr>
            <a:cxnSpLocks/>
            <a:stCxn id="417" idx="2"/>
            <a:endCxn id="1995" idx="39"/>
          </p:cNvCxnSpPr>
          <p:nvPr/>
        </p:nvCxnSpPr>
        <p:spPr>
          <a:xfrm>
            <a:off x="7356059" y="2646644"/>
            <a:ext cx="906225" cy="893139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2036" name="TextBox 2035">
            <a:extLst>
              <a:ext uri="{FF2B5EF4-FFF2-40B4-BE49-F238E27FC236}">
                <a16:creationId xmlns:a16="http://schemas.microsoft.com/office/drawing/2014/main" id="{EE590DD9-AD32-454A-9111-DB4BD107CDD6}"/>
              </a:ext>
            </a:extLst>
          </p:cNvPr>
          <p:cNvSpPr txBox="1"/>
          <p:nvPr/>
        </p:nvSpPr>
        <p:spPr>
          <a:xfrm>
            <a:off x="5817362" y="4342229"/>
            <a:ext cx="1040482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Arial" panose="020B0604020202020204" pitchFamily="34" charset="0"/>
              </a:rPr>
              <a:t>UK</a:t>
            </a:r>
          </a:p>
        </p:txBody>
      </p:sp>
      <p:cxnSp>
        <p:nvCxnSpPr>
          <p:cNvPr id="2037" name="Straight Arrow Connector 41144">
            <a:extLst>
              <a:ext uri="{FF2B5EF4-FFF2-40B4-BE49-F238E27FC236}">
                <a16:creationId xmlns:a16="http://schemas.microsoft.com/office/drawing/2014/main" id="{B65C5FAD-EF43-E442-8649-62DB63B0767B}"/>
              </a:ext>
            </a:extLst>
          </p:cNvPr>
          <p:cNvCxnSpPr>
            <a:cxnSpLocks/>
            <a:stCxn id="419" idx="3"/>
          </p:cNvCxnSpPr>
          <p:nvPr/>
        </p:nvCxnSpPr>
        <p:spPr>
          <a:xfrm flipV="1">
            <a:off x="6587817" y="3806832"/>
            <a:ext cx="1138162" cy="299383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2038" name="TextBox 2037">
            <a:extLst>
              <a:ext uri="{FF2B5EF4-FFF2-40B4-BE49-F238E27FC236}">
                <a16:creationId xmlns:a16="http://schemas.microsoft.com/office/drawing/2014/main" id="{271A6912-7CCC-9348-AC2F-0703208C94A2}"/>
              </a:ext>
            </a:extLst>
          </p:cNvPr>
          <p:cNvSpPr txBox="1"/>
          <p:nvPr/>
        </p:nvSpPr>
        <p:spPr>
          <a:xfrm>
            <a:off x="9998877" y="5662057"/>
            <a:ext cx="643125" cy="24622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Arial" panose="020B0604020202020204" pitchFamily="34" charset="0"/>
              </a:rPr>
              <a:t>Bulgaria</a:t>
            </a:r>
          </a:p>
        </p:txBody>
      </p:sp>
      <p:cxnSp>
        <p:nvCxnSpPr>
          <p:cNvPr id="2039" name="Straight Arrow Connector 41144">
            <a:extLst>
              <a:ext uri="{FF2B5EF4-FFF2-40B4-BE49-F238E27FC236}">
                <a16:creationId xmlns:a16="http://schemas.microsoft.com/office/drawing/2014/main" id="{C6CADEB0-3D40-CA4B-BE5F-5ABC2041800A}"/>
              </a:ext>
            </a:extLst>
          </p:cNvPr>
          <p:cNvCxnSpPr>
            <a:cxnSpLocks/>
            <a:stCxn id="420" idx="0"/>
            <a:endCxn id="2011" idx="25"/>
          </p:cNvCxnSpPr>
          <p:nvPr/>
        </p:nvCxnSpPr>
        <p:spPr>
          <a:xfrm flipH="1" flipV="1">
            <a:off x="9503868" y="4841925"/>
            <a:ext cx="802814" cy="315729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2040" name="TextBox 2039">
            <a:extLst>
              <a:ext uri="{FF2B5EF4-FFF2-40B4-BE49-F238E27FC236}">
                <a16:creationId xmlns:a16="http://schemas.microsoft.com/office/drawing/2014/main" id="{FC9200D7-2BFF-6241-A878-B900B25C5A07}"/>
              </a:ext>
            </a:extLst>
          </p:cNvPr>
          <p:cNvSpPr txBox="1"/>
          <p:nvPr/>
        </p:nvSpPr>
        <p:spPr>
          <a:xfrm>
            <a:off x="10649167" y="3432299"/>
            <a:ext cx="672404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Arial" panose="020B0604020202020204" pitchFamily="34" charset="0"/>
              </a:rPr>
              <a:t>Finland</a:t>
            </a:r>
          </a:p>
        </p:txBody>
      </p:sp>
      <p:cxnSp>
        <p:nvCxnSpPr>
          <p:cNvPr id="2041" name="Straight Arrow Connector 40933">
            <a:extLst>
              <a:ext uri="{FF2B5EF4-FFF2-40B4-BE49-F238E27FC236}">
                <a16:creationId xmlns:a16="http://schemas.microsoft.com/office/drawing/2014/main" id="{05354071-E421-BF4E-BDD4-500E3EDA9FC7}"/>
              </a:ext>
            </a:extLst>
          </p:cNvPr>
          <p:cNvCxnSpPr>
            <a:cxnSpLocks/>
            <a:stCxn id="4" idx="1"/>
          </p:cNvCxnSpPr>
          <p:nvPr/>
        </p:nvCxnSpPr>
        <p:spPr>
          <a:xfrm flipH="1" flipV="1">
            <a:off x="9378512" y="3041667"/>
            <a:ext cx="1341231" cy="92592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miter lim="800000"/>
            <a:tailEnd type="triangle" w="sm" len="sm"/>
          </a:ln>
          <a:effectLst/>
        </p:spPr>
      </p:cxnSp>
      <p:pic>
        <p:nvPicPr>
          <p:cNvPr id="416" name="Picture 415">
            <a:extLst>
              <a:ext uri="{FF2B5EF4-FFF2-40B4-BE49-F238E27FC236}">
                <a16:creationId xmlns:a16="http://schemas.microsoft.com/office/drawing/2014/main" id="{D4602DF6-0E42-3D41-B51E-14302403C8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9947" y="1495084"/>
            <a:ext cx="518029" cy="518029"/>
          </a:xfrm>
          <a:prstGeom prst="rect">
            <a:avLst/>
          </a:prstGeom>
        </p:spPr>
      </p:pic>
      <p:pic>
        <p:nvPicPr>
          <p:cNvPr id="417" name="Picture 416">
            <a:extLst>
              <a:ext uri="{FF2B5EF4-FFF2-40B4-BE49-F238E27FC236}">
                <a16:creationId xmlns:a16="http://schemas.microsoft.com/office/drawing/2014/main" id="{30B5737F-5C1A-9A4D-AFC1-513B588D87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008" y="2128615"/>
            <a:ext cx="520101" cy="518029"/>
          </a:xfrm>
          <a:prstGeom prst="rect">
            <a:avLst/>
          </a:prstGeom>
        </p:spPr>
      </p:pic>
      <p:pic>
        <p:nvPicPr>
          <p:cNvPr id="418" name="Picture 417">
            <a:extLst>
              <a:ext uri="{FF2B5EF4-FFF2-40B4-BE49-F238E27FC236}">
                <a16:creationId xmlns:a16="http://schemas.microsoft.com/office/drawing/2014/main" id="{047204EB-64F4-7D4A-BB74-CB4ECCCC40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4894" y="1295327"/>
            <a:ext cx="520101" cy="518029"/>
          </a:xfrm>
          <a:prstGeom prst="rect">
            <a:avLst/>
          </a:prstGeom>
        </p:spPr>
      </p:pic>
      <p:pic>
        <p:nvPicPr>
          <p:cNvPr id="419" name="Picture 418">
            <a:extLst>
              <a:ext uri="{FF2B5EF4-FFF2-40B4-BE49-F238E27FC236}">
                <a16:creationId xmlns:a16="http://schemas.microsoft.com/office/drawing/2014/main" id="{6F667385-FFF2-B848-A802-44EC5178EF8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9788" y="3847201"/>
            <a:ext cx="518029" cy="518029"/>
          </a:xfrm>
          <a:prstGeom prst="rect">
            <a:avLst/>
          </a:prstGeom>
        </p:spPr>
      </p:pic>
      <p:pic>
        <p:nvPicPr>
          <p:cNvPr id="420" name="Picture 419">
            <a:extLst>
              <a:ext uri="{FF2B5EF4-FFF2-40B4-BE49-F238E27FC236}">
                <a16:creationId xmlns:a16="http://schemas.microsoft.com/office/drawing/2014/main" id="{A69F7FEB-1A90-074E-A0E8-21B25FD0790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7608" y="5157654"/>
            <a:ext cx="518147" cy="51814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2635E14-16CA-564C-A3A7-135D8564E5D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9742" y="2868633"/>
            <a:ext cx="531253" cy="531253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E36CF6F-784E-EF44-BE3A-1B1473D8AE0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6779" y="1774208"/>
            <a:ext cx="2925137" cy="813553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20E6CC74-B195-6047-B5F4-BBD2AC80708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4834" y="1881600"/>
            <a:ext cx="2716852" cy="805845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0910FCB-21A9-4319-97A0-0388BFEDB898}"/>
              </a:ext>
            </a:extLst>
          </p:cNvPr>
          <p:cNvGrpSpPr/>
          <p:nvPr/>
        </p:nvGrpSpPr>
        <p:grpSpPr>
          <a:xfrm>
            <a:off x="664903" y="5106730"/>
            <a:ext cx="1044000" cy="945034"/>
            <a:chOff x="664903" y="5106730"/>
            <a:chExt cx="1044000" cy="945034"/>
          </a:xfrm>
        </p:grpSpPr>
        <p:sp>
          <p:nvSpPr>
            <p:cNvPr id="450" name="Rounded Rectangle 449">
              <a:extLst>
                <a:ext uri="{FF2B5EF4-FFF2-40B4-BE49-F238E27FC236}">
                  <a16:creationId xmlns:a16="http://schemas.microsoft.com/office/drawing/2014/main" id="{3FCEDEE4-CB3C-FB46-8FF5-58230F763496}"/>
                </a:ext>
              </a:extLst>
            </p:cNvPr>
            <p:cNvSpPr/>
            <p:nvPr/>
          </p:nvSpPr>
          <p:spPr>
            <a:xfrm>
              <a:off x="740334" y="5106730"/>
              <a:ext cx="893138" cy="945034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451" name="TextBox 450">
              <a:extLst>
                <a:ext uri="{FF2B5EF4-FFF2-40B4-BE49-F238E27FC236}">
                  <a16:creationId xmlns:a16="http://schemas.microsoft.com/office/drawing/2014/main" id="{0BF18D4C-DB77-C645-8314-4545306E036B}"/>
                </a:ext>
              </a:extLst>
            </p:cNvPr>
            <p:cNvSpPr txBox="1"/>
            <p:nvPr/>
          </p:nvSpPr>
          <p:spPr>
            <a:xfrm>
              <a:off x="664903" y="5220519"/>
              <a:ext cx="10440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+mn-cs"/>
                </a:rPr>
                <a:t>25%</a:t>
              </a:r>
            </a:p>
          </p:txBody>
        </p:sp>
        <p:sp>
          <p:nvSpPr>
            <p:cNvPr id="452" name="TextBox 451">
              <a:extLst>
                <a:ext uri="{FF2B5EF4-FFF2-40B4-BE49-F238E27FC236}">
                  <a16:creationId xmlns:a16="http://schemas.microsoft.com/office/drawing/2014/main" id="{3C51D8B5-2CF7-D249-9240-2AB84D604C43}"/>
                </a:ext>
              </a:extLst>
            </p:cNvPr>
            <p:cNvSpPr txBox="1"/>
            <p:nvPr/>
          </p:nvSpPr>
          <p:spPr>
            <a:xfrm>
              <a:off x="697835" y="5649478"/>
              <a:ext cx="9781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Growth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36FCD7B-D353-4B2E-BFBE-278927123317}"/>
              </a:ext>
            </a:extLst>
          </p:cNvPr>
          <p:cNvGrpSpPr/>
          <p:nvPr/>
        </p:nvGrpSpPr>
        <p:grpSpPr>
          <a:xfrm>
            <a:off x="1800817" y="5106730"/>
            <a:ext cx="1044000" cy="945034"/>
            <a:chOff x="1805619" y="5106730"/>
            <a:chExt cx="1044000" cy="945034"/>
          </a:xfrm>
        </p:grpSpPr>
        <p:sp>
          <p:nvSpPr>
            <p:cNvPr id="454" name="Rounded Rectangle 453">
              <a:extLst>
                <a:ext uri="{FF2B5EF4-FFF2-40B4-BE49-F238E27FC236}">
                  <a16:creationId xmlns:a16="http://schemas.microsoft.com/office/drawing/2014/main" id="{0E305F2F-9A5E-E248-92AC-E879C6C0A8B1}"/>
                </a:ext>
              </a:extLst>
            </p:cNvPr>
            <p:cNvSpPr/>
            <p:nvPr/>
          </p:nvSpPr>
          <p:spPr>
            <a:xfrm>
              <a:off x="1881050" y="5106730"/>
              <a:ext cx="893138" cy="945034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455" name="TextBox 454">
              <a:extLst>
                <a:ext uri="{FF2B5EF4-FFF2-40B4-BE49-F238E27FC236}">
                  <a16:creationId xmlns:a16="http://schemas.microsoft.com/office/drawing/2014/main" id="{F7CA272C-302D-5348-AAEF-C68F14F07724}"/>
                </a:ext>
              </a:extLst>
            </p:cNvPr>
            <p:cNvSpPr txBox="1"/>
            <p:nvPr/>
          </p:nvSpPr>
          <p:spPr>
            <a:xfrm>
              <a:off x="1805619" y="5220519"/>
              <a:ext cx="10440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456" name="TextBox 455">
              <a:extLst>
                <a:ext uri="{FF2B5EF4-FFF2-40B4-BE49-F238E27FC236}">
                  <a16:creationId xmlns:a16="http://schemas.microsoft.com/office/drawing/2014/main" id="{5B262E8F-4796-BE4F-843D-21C0408D1578}"/>
                </a:ext>
              </a:extLst>
            </p:cNvPr>
            <p:cNvSpPr txBox="1"/>
            <p:nvPr/>
          </p:nvSpPr>
          <p:spPr>
            <a:xfrm>
              <a:off x="1838551" y="5649478"/>
              <a:ext cx="9781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Office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5B8A568-BD1D-4A7C-A02E-BDC99FD4F4C8}"/>
              </a:ext>
            </a:extLst>
          </p:cNvPr>
          <p:cNvGrpSpPr/>
          <p:nvPr/>
        </p:nvGrpSpPr>
        <p:grpSpPr>
          <a:xfrm>
            <a:off x="2906023" y="5106730"/>
            <a:ext cx="1044000" cy="945034"/>
            <a:chOff x="2931821" y="5106730"/>
            <a:chExt cx="1044000" cy="945034"/>
          </a:xfrm>
        </p:grpSpPr>
        <p:sp>
          <p:nvSpPr>
            <p:cNvPr id="458" name="Rounded Rectangle 457">
              <a:extLst>
                <a:ext uri="{FF2B5EF4-FFF2-40B4-BE49-F238E27FC236}">
                  <a16:creationId xmlns:a16="http://schemas.microsoft.com/office/drawing/2014/main" id="{A3311AA3-14CE-D640-A89F-B413A404D53C}"/>
                </a:ext>
              </a:extLst>
            </p:cNvPr>
            <p:cNvSpPr/>
            <p:nvPr/>
          </p:nvSpPr>
          <p:spPr>
            <a:xfrm>
              <a:off x="3007252" y="5106730"/>
              <a:ext cx="935636" cy="945034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459" name="TextBox 458">
              <a:extLst>
                <a:ext uri="{FF2B5EF4-FFF2-40B4-BE49-F238E27FC236}">
                  <a16:creationId xmlns:a16="http://schemas.microsoft.com/office/drawing/2014/main" id="{4295F384-202F-054B-A8AF-7784F47D0D66}"/>
                </a:ext>
              </a:extLst>
            </p:cNvPr>
            <p:cNvSpPr txBox="1"/>
            <p:nvPr/>
          </p:nvSpPr>
          <p:spPr>
            <a:xfrm>
              <a:off x="2931821" y="5220519"/>
              <a:ext cx="10440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+mn-cs"/>
                </a:rPr>
                <a:t>+3k</a:t>
              </a:r>
            </a:p>
          </p:txBody>
        </p:sp>
        <p:sp>
          <p:nvSpPr>
            <p:cNvPr id="460" name="TextBox 459">
              <a:extLst>
                <a:ext uri="{FF2B5EF4-FFF2-40B4-BE49-F238E27FC236}">
                  <a16:creationId xmlns:a16="http://schemas.microsoft.com/office/drawing/2014/main" id="{73A47AE4-A19E-D74C-BB74-E700DF7BD0BD}"/>
                </a:ext>
              </a:extLst>
            </p:cNvPr>
            <p:cNvSpPr txBox="1"/>
            <p:nvPr/>
          </p:nvSpPr>
          <p:spPr>
            <a:xfrm>
              <a:off x="2964753" y="5649478"/>
              <a:ext cx="10110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Agent/</a:t>
              </a:r>
              <a:r>
                <a:rPr kumimoji="0" lang="en-GB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cust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F1D4479-C648-480F-8E11-EB288B9BDA9E}"/>
              </a:ext>
            </a:extLst>
          </p:cNvPr>
          <p:cNvGrpSpPr/>
          <p:nvPr/>
        </p:nvGrpSpPr>
        <p:grpSpPr>
          <a:xfrm>
            <a:off x="4041823" y="5106730"/>
            <a:ext cx="1044000" cy="945034"/>
            <a:chOff x="4083950" y="5106730"/>
            <a:chExt cx="1044000" cy="945034"/>
          </a:xfrm>
        </p:grpSpPr>
        <p:sp>
          <p:nvSpPr>
            <p:cNvPr id="462" name="Rounded Rectangle 461">
              <a:extLst>
                <a:ext uri="{FF2B5EF4-FFF2-40B4-BE49-F238E27FC236}">
                  <a16:creationId xmlns:a16="http://schemas.microsoft.com/office/drawing/2014/main" id="{137B9D27-67F9-8F44-9F3D-0FCB292289A9}"/>
                </a:ext>
              </a:extLst>
            </p:cNvPr>
            <p:cNvSpPr/>
            <p:nvPr/>
          </p:nvSpPr>
          <p:spPr>
            <a:xfrm>
              <a:off x="4159381" y="5106730"/>
              <a:ext cx="893138" cy="945034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463" name="TextBox 462">
              <a:extLst>
                <a:ext uri="{FF2B5EF4-FFF2-40B4-BE49-F238E27FC236}">
                  <a16:creationId xmlns:a16="http://schemas.microsoft.com/office/drawing/2014/main" id="{16952435-F6CD-AB49-93A1-F8F60F4C6136}"/>
                </a:ext>
              </a:extLst>
            </p:cNvPr>
            <p:cNvSpPr txBox="1"/>
            <p:nvPr/>
          </p:nvSpPr>
          <p:spPr>
            <a:xfrm>
              <a:off x="4083950" y="5220519"/>
              <a:ext cx="10440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+mn-cs"/>
                </a:rPr>
                <a:t>14</a:t>
              </a:r>
            </a:p>
          </p:txBody>
        </p:sp>
        <p:sp>
          <p:nvSpPr>
            <p:cNvPr id="464" name="TextBox 463">
              <a:extLst>
                <a:ext uri="{FF2B5EF4-FFF2-40B4-BE49-F238E27FC236}">
                  <a16:creationId xmlns:a16="http://schemas.microsoft.com/office/drawing/2014/main" id="{2386FDC8-61F5-6042-89EF-A2D2A9627F50}"/>
                </a:ext>
              </a:extLst>
            </p:cNvPr>
            <p:cNvSpPr txBox="1"/>
            <p:nvPr/>
          </p:nvSpPr>
          <p:spPr>
            <a:xfrm>
              <a:off x="4116882" y="5649478"/>
              <a:ext cx="9781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Partner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1F651EC-60D3-4309-8813-A99CDC5CAE61}"/>
              </a:ext>
            </a:extLst>
          </p:cNvPr>
          <p:cNvGrpSpPr/>
          <p:nvPr/>
        </p:nvGrpSpPr>
        <p:grpSpPr>
          <a:xfrm>
            <a:off x="5167464" y="5106730"/>
            <a:ext cx="1044000" cy="945034"/>
            <a:chOff x="5167464" y="5106730"/>
            <a:chExt cx="1044000" cy="945034"/>
          </a:xfrm>
        </p:grpSpPr>
        <p:sp>
          <p:nvSpPr>
            <p:cNvPr id="439" name="Rounded Rectangle 438">
              <a:extLst>
                <a:ext uri="{FF2B5EF4-FFF2-40B4-BE49-F238E27FC236}">
                  <a16:creationId xmlns:a16="http://schemas.microsoft.com/office/drawing/2014/main" id="{C58D0655-BE5D-6744-B8F8-816A7C65B54A}"/>
                </a:ext>
              </a:extLst>
            </p:cNvPr>
            <p:cNvSpPr/>
            <p:nvPr/>
          </p:nvSpPr>
          <p:spPr>
            <a:xfrm>
              <a:off x="5242895" y="5106730"/>
              <a:ext cx="893138" cy="945034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440" name="TextBox 439">
              <a:extLst>
                <a:ext uri="{FF2B5EF4-FFF2-40B4-BE49-F238E27FC236}">
                  <a16:creationId xmlns:a16="http://schemas.microsoft.com/office/drawing/2014/main" id="{8340C55D-078E-5A40-B926-6E191F510911}"/>
                </a:ext>
              </a:extLst>
            </p:cNvPr>
            <p:cNvSpPr txBox="1"/>
            <p:nvPr/>
          </p:nvSpPr>
          <p:spPr>
            <a:xfrm>
              <a:off x="5167464" y="5220519"/>
              <a:ext cx="10440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+mn-cs"/>
                </a:rPr>
                <a:t>+22k</a:t>
              </a:r>
            </a:p>
          </p:txBody>
        </p:sp>
        <p:sp>
          <p:nvSpPr>
            <p:cNvPr id="441" name="TextBox 440">
              <a:extLst>
                <a:ext uri="{FF2B5EF4-FFF2-40B4-BE49-F238E27FC236}">
                  <a16:creationId xmlns:a16="http://schemas.microsoft.com/office/drawing/2014/main" id="{84E69DB6-2CFF-8742-A007-A1ABC0C736EA}"/>
                </a:ext>
              </a:extLst>
            </p:cNvPr>
            <p:cNvSpPr txBox="1"/>
            <p:nvPr/>
          </p:nvSpPr>
          <p:spPr>
            <a:xfrm>
              <a:off x="5200396" y="5649478"/>
              <a:ext cx="9781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Ag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137342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9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2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000"/>
                            </p:stCondLst>
                            <p:childTnLst>
                              <p:par>
                                <p:cTn id="24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900" decel="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9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0"/>
                            </p:stCondLst>
                            <p:childTnLst>
                              <p:par>
                                <p:cTn id="38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000"/>
                            </p:stCondLst>
                            <p:childTnLst>
                              <p:par>
                                <p:cTn id="4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900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7000"/>
                            </p:stCondLst>
                            <p:childTnLst>
                              <p:par>
                                <p:cTn id="52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900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054F04A-8F2D-784F-9E20-AABC5AF5035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27" r="43958" b="59569"/>
          <a:stretch/>
        </p:blipFill>
        <p:spPr>
          <a:xfrm>
            <a:off x="0" y="568330"/>
            <a:ext cx="12192000" cy="628967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/>
              <a:t>Puzzel in UK / Europ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C228F32-F321-EA46-B128-22F18096A26C}"/>
              </a:ext>
            </a:extLst>
          </p:cNvPr>
          <p:cNvGrpSpPr/>
          <p:nvPr/>
        </p:nvGrpSpPr>
        <p:grpSpPr>
          <a:xfrm>
            <a:off x="7165591" y="1032316"/>
            <a:ext cx="4856808" cy="4595104"/>
            <a:chOff x="7593938" y="1900696"/>
            <a:chExt cx="3177297" cy="3006090"/>
          </a:xfrm>
        </p:grpSpPr>
        <p:grpSp>
          <p:nvGrpSpPr>
            <p:cNvPr id="1632" name="Group 61">
              <a:extLst>
                <a:ext uri="{FF2B5EF4-FFF2-40B4-BE49-F238E27FC236}">
                  <a16:creationId xmlns:a16="http://schemas.microsoft.com/office/drawing/2014/main" id="{3F0ADA33-CE4E-F847-A03D-739AEE22017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54976" y="1900696"/>
              <a:ext cx="3016259" cy="3006090"/>
              <a:chOff x="0" y="0"/>
              <a:chExt cx="786" cy="789"/>
            </a:xfrm>
          </p:grpSpPr>
          <p:sp>
            <p:nvSpPr>
              <p:cNvPr id="1633" name="Freeform 7">
                <a:extLst>
                  <a:ext uri="{FF2B5EF4-FFF2-40B4-BE49-F238E27FC236}">
                    <a16:creationId xmlns:a16="http://schemas.microsoft.com/office/drawing/2014/main" id="{59D9EB14-C684-1942-84C5-57F982AA0F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" y="659"/>
                <a:ext cx="48" cy="35"/>
              </a:xfrm>
              <a:custGeom>
                <a:avLst/>
                <a:gdLst>
                  <a:gd name="T0" fmla="*/ 2 w 48"/>
                  <a:gd name="T1" fmla="*/ 20 h 35"/>
                  <a:gd name="T2" fmla="*/ 4 w 48"/>
                  <a:gd name="T3" fmla="*/ 17 h 35"/>
                  <a:gd name="T4" fmla="*/ 4 w 48"/>
                  <a:gd name="T5" fmla="*/ 13 h 35"/>
                  <a:gd name="T6" fmla="*/ 7 w 48"/>
                  <a:gd name="T7" fmla="*/ 10 h 35"/>
                  <a:gd name="T8" fmla="*/ 7 w 48"/>
                  <a:gd name="T9" fmla="*/ 8 h 35"/>
                  <a:gd name="T10" fmla="*/ 5 w 48"/>
                  <a:gd name="T11" fmla="*/ 5 h 35"/>
                  <a:gd name="T12" fmla="*/ 4 w 48"/>
                  <a:gd name="T13" fmla="*/ 3 h 35"/>
                  <a:gd name="T14" fmla="*/ 5 w 48"/>
                  <a:gd name="T15" fmla="*/ 3 h 35"/>
                  <a:gd name="T16" fmla="*/ 7 w 48"/>
                  <a:gd name="T17" fmla="*/ 1 h 35"/>
                  <a:gd name="T18" fmla="*/ 10 w 48"/>
                  <a:gd name="T19" fmla="*/ 1 h 35"/>
                  <a:gd name="T20" fmla="*/ 17 w 48"/>
                  <a:gd name="T21" fmla="*/ 0 h 35"/>
                  <a:gd name="T22" fmla="*/ 22 w 48"/>
                  <a:gd name="T23" fmla="*/ 1 h 35"/>
                  <a:gd name="T24" fmla="*/ 29 w 48"/>
                  <a:gd name="T25" fmla="*/ 1 h 35"/>
                  <a:gd name="T26" fmla="*/ 31 w 48"/>
                  <a:gd name="T27" fmla="*/ 1 h 35"/>
                  <a:gd name="T28" fmla="*/ 31 w 48"/>
                  <a:gd name="T29" fmla="*/ 3 h 35"/>
                  <a:gd name="T30" fmla="*/ 31 w 48"/>
                  <a:gd name="T31" fmla="*/ 7 h 35"/>
                  <a:gd name="T32" fmla="*/ 32 w 48"/>
                  <a:gd name="T33" fmla="*/ 8 h 35"/>
                  <a:gd name="T34" fmla="*/ 36 w 48"/>
                  <a:gd name="T35" fmla="*/ 10 h 35"/>
                  <a:gd name="T36" fmla="*/ 39 w 48"/>
                  <a:gd name="T37" fmla="*/ 12 h 35"/>
                  <a:gd name="T38" fmla="*/ 44 w 48"/>
                  <a:gd name="T39" fmla="*/ 13 h 35"/>
                  <a:gd name="T40" fmla="*/ 48 w 48"/>
                  <a:gd name="T41" fmla="*/ 13 h 35"/>
                  <a:gd name="T42" fmla="*/ 48 w 48"/>
                  <a:gd name="T43" fmla="*/ 17 h 35"/>
                  <a:gd name="T44" fmla="*/ 46 w 48"/>
                  <a:gd name="T45" fmla="*/ 18 h 35"/>
                  <a:gd name="T46" fmla="*/ 41 w 48"/>
                  <a:gd name="T47" fmla="*/ 20 h 35"/>
                  <a:gd name="T48" fmla="*/ 39 w 48"/>
                  <a:gd name="T49" fmla="*/ 18 h 35"/>
                  <a:gd name="T50" fmla="*/ 36 w 48"/>
                  <a:gd name="T51" fmla="*/ 18 h 35"/>
                  <a:gd name="T52" fmla="*/ 31 w 48"/>
                  <a:gd name="T53" fmla="*/ 18 h 35"/>
                  <a:gd name="T54" fmla="*/ 27 w 48"/>
                  <a:gd name="T55" fmla="*/ 18 h 35"/>
                  <a:gd name="T56" fmla="*/ 24 w 48"/>
                  <a:gd name="T57" fmla="*/ 18 h 35"/>
                  <a:gd name="T58" fmla="*/ 22 w 48"/>
                  <a:gd name="T59" fmla="*/ 22 h 35"/>
                  <a:gd name="T60" fmla="*/ 17 w 48"/>
                  <a:gd name="T61" fmla="*/ 25 h 35"/>
                  <a:gd name="T62" fmla="*/ 12 w 48"/>
                  <a:gd name="T63" fmla="*/ 27 h 35"/>
                  <a:gd name="T64" fmla="*/ 9 w 48"/>
                  <a:gd name="T65" fmla="*/ 30 h 35"/>
                  <a:gd name="T66" fmla="*/ 7 w 48"/>
                  <a:gd name="T67" fmla="*/ 32 h 35"/>
                  <a:gd name="T68" fmla="*/ 4 w 48"/>
                  <a:gd name="T69" fmla="*/ 35 h 35"/>
                  <a:gd name="T70" fmla="*/ 2 w 48"/>
                  <a:gd name="T71" fmla="*/ 35 h 35"/>
                  <a:gd name="T72" fmla="*/ 2 w 48"/>
                  <a:gd name="T73" fmla="*/ 32 h 35"/>
                  <a:gd name="T74" fmla="*/ 2 w 48"/>
                  <a:gd name="T75" fmla="*/ 30 h 35"/>
                  <a:gd name="T76" fmla="*/ 5 w 48"/>
                  <a:gd name="T77" fmla="*/ 28 h 35"/>
                  <a:gd name="T78" fmla="*/ 10 w 48"/>
                  <a:gd name="T79" fmla="*/ 27 h 35"/>
                  <a:gd name="T80" fmla="*/ 12 w 48"/>
                  <a:gd name="T81" fmla="*/ 25 h 35"/>
                  <a:gd name="T82" fmla="*/ 9 w 48"/>
                  <a:gd name="T83" fmla="*/ 25 h 35"/>
                  <a:gd name="T84" fmla="*/ 4 w 48"/>
                  <a:gd name="T85" fmla="*/ 25 h 35"/>
                  <a:gd name="T86" fmla="*/ 2 w 48"/>
                  <a:gd name="T87" fmla="*/ 27 h 35"/>
                  <a:gd name="T88" fmla="*/ 0 w 48"/>
                  <a:gd name="T89" fmla="*/ 25 h 35"/>
                  <a:gd name="T90" fmla="*/ 0 w 48"/>
                  <a:gd name="T91" fmla="*/ 23 h 35"/>
                  <a:gd name="T92" fmla="*/ 2 w 48"/>
                  <a:gd name="T93" fmla="*/ 2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8" h="35">
                    <a:moveTo>
                      <a:pt x="2" y="20"/>
                    </a:moveTo>
                    <a:lnTo>
                      <a:pt x="4" y="17"/>
                    </a:lnTo>
                    <a:lnTo>
                      <a:pt x="4" y="13"/>
                    </a:lnTo>
                    <a:lnTo>
                      <a:pt x="7" y="10"/>
                    </a:lnTo>
                    <a:lnTo>
                      <a:pt x="7" y="8"/>
                    </a:lnTo>
                    <a:lnTo>
                      <a:pt x="5" y="5"/>
                    </a:lnTo>
                    <a:lnTo>
                      <a:pt x="4" y="3"/>
                    </a:lnTo>
                    <a:lnTo>
                      <a:pt x="5" y="3"/>
                    </a:lnTo>
                    <a:lnTo>
                      <a:pt x="7" y="1"/>
                    </a:lnTo>
                    <a:lnTo>
                      <a:pt x="10" y="1"/>
                    </a:lnTo>
                    <a:lnTo>
                      <a:pt x="17" y="0"/>
                    </a:lnTo>
                    <a:lnTo>
                      <a:pt x="22" y="1"/>
                    </a:lnTo>
                    <a:lnTo>
                      <a:pt x="29" y="1"/>
                    </a:lnTo>
                    <a:lnTo>
                      <a:pt x="31" y="1"/>
                    </a:lnTo>
                    <a:lnTo>
                      <a:pt x="31" y="3"/>
                    </a:lnTo>
                    <a:lnTo>
                      <a:pt x="31" y="7"/>
                    </a:lnTo>
                    <a:lnTo>
                      <a:pt x="32" y="8"/>
                    </a:lnTo>
                    <a:lnTo>
                      <a:pt x="36" y="10"/>
                    </a:lnTo>
                    <a:lnTo>
                      <a:pt x="39" y="12"/>
                    </a:lnTo>
                    <a:lnTo>
                      <a:pt x="44" y="13"/>
                    </a:lnTo>
                    <a:lnTo>
                      <a:pt x="48" y="13"/>
                    </a:lnTo>
                    <a:lnTo>
                      <a:pt x="48" y="17"/>
                    </a:lnTo>
                    <a:lnTo>
                      <a:pt x="46" y="18"/>
                    </a:lnTo>
                    <a:lnTo>
                      <a:pt x="41" y="20"/>
                    </a:lnTo>
                    <a:lnTo>
                      <a:pt x="39" y="18"/>
                    </a:lnTo>
                    <a:lnTo>
                      <a:pt x="36" y="18"/>
                    </a:lnTo>
                    <a:lnTo>
                      <a:pt x="31" y="18"/>
                    </a:lnTo>
                    <a:lnTo>
                      <a:pt x="27" y="18"/>
                    </a:lnTo>
                    <a:lnTo>
                      <a:pt x="24" y="18"/>
                    </a:lnTo>
                    <a:lnTo>
                      <a:pt x="22" y="22"/>
                    </a:lnTo>
                    <a:lnTo>
                      <a:pt x="17" y="25"/>
                    </a:lnTo>
                    <a:lnTo>
                      <a:pt x="12" y="27"/>
                    </a:lnTo>
                    <a:lnTo>
                      <a:pt x="9" y="30"/>
                    </a:lnTo>
                    <a:lnTo>
                      <a:pt x="7" y="32"/>
                    </a:lnTo>
                    <a:lnTo>
                      <a:pt x="4" y="35"/>
                    </a:lnTo>
                    <a:lnTo>
                      <a:pt x="2" y="35"/>
                    </a:lnTo>
                    <a:lnTo>
                      <a:pt x="2" y="32"/>
                    </a:lnTo>
                    <a:lnTo>
                      <a:pt x="2" y="30"/>
                    </a:lnTo>
                    <a:lnTo>
                      <a:pt x="5" y="28"/>
                    </a:lnTo>
                    <a:lnTo>
                      <a:pt x="10" y="27"/>
                    </a:lnTo>
                    <a:lnTo>
                      <a:pt x="12" y="25"/>
                    </a:lnTo>
                    <a:lnTo>
                      <a:pt x="9" y="25"/>
                    </a:lnTo>
                    <a:lnTo>
                      <a:pt x="4" y="25"/>
                    </a:lnTo>
                    <a:lnTo>
                      <a:pt x="2" y="27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2" y="20"/>
                    </a:lnTo>
                    <a:close/>
                  </a:path>
                </a:pathLst>
              </a:custGeom>
              <a:solidFill>
                <a:srgbClr val="D4DBE4"/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grpSp>
            <p:nvGrpSpPr>
              <p:cNvPr id="1634" name="Group 1633">
                <a:extLst>
                  <a:ext uri="{FF2B5EF4-FFF2-40B4-BE49-F238E27FC236}">
                    <a16:creationId xmlns:a16="http://schemas.microsoft.com/office/drawing/2014/main" id="{CBB1F146-60DF-3F41-803D-01165B8BB62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47" y="480"/>
                <a:ext cx="102" cy="51"/>
                <a:chOff x="347" y="480"/>
                <a:chExt cx="102" cy="51"/>
              </a:xfrm>
            </p:grpSpPr>
            <p:sp>
              <p:nvSpPr>
                <p:cNvPr id="2026" name="Freeform 400">
                  <a:extLst>
                    <a:ext uri="{FF2B5EF4-FFF2-40B4-BE49-F238E27FC236}">
                      <a16:creationId xmlns:a16="http://schemas.microsoft.com/office/drawing/2014/main" id="{CD95FAA3-ADB9-7846-B4AF-D9304B205B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" y="480"/>
                  <a:ext cx="102" cy="51"/>
                </a:xfrm>
                <a:custGeom>
                  <a:avLst/>
                  <a:gdLst>
                    <a:gd name="T0" fmla="*/ 4 w 102"/>
                    <a:gd name="T1" fmla="*/ 20 h 51"/>
                    <a:gd name="T2" fmla="*/ 6 w 102"/>
                    <a:gd name="T3" fmla="*/ 17 h 51"/>
                    <a:gd name="T4" fmla="*/ 7 w 102"/>
                    <a:gd name="T5" fmla="*/ 15 h 51"/>
                    <a:gd name="T6" fmla="*/ 11 w 102"/>
                    <a:gd name="T7" fmla="*/ 15 h 51"/>
                    <a:gd name="T8" fmla="*/ 16 w 102"/>
                    <a:gd name="T9" fmla="*/ 14 h 51"/>
                    <a:gd name="T10" fmla="*/ 21 w 102"/>
                    <a:gd name="T11" fmla="*/ 12 h 51"/>
                    <a:gd name="T12" fmla="*/ 26 w 102"/>
                    <a:gd name="T13" fmla="*/ 7 h 51"/>
                    <a:gd name="T14" fmla="*/ 34 w 102"/>
                    <a:gd name="T15" fmla="*/ 5 h 51"/>
                    <a:gd name="T16" fmla="*/ 34 w 102"/>
                    <a:gd name="T17" fmla="*/ 0 h 51"/>
                    <a:gd name="T18" fmla="*/ 39 w 102"/>
                    <a:gd name="T19" fmla="*/ 3 h 51"/>
                    <a:gd name="T20" fmla="*/ 43 w 102"/>
                    <a:gd name="T21" fmla="*/ 5 h 51"/>
                    <a:gd name="T22" fmla="*/ 48 w 102"/>
                    <a:gd name="T23" fmla="*/ 3 h 51"/>
                    <a:gd name="T24" fmla="*/ 53 w 102"/>
                    <a:gd name="T25" fmla="*/ 3 h 51"/>
                    <a:gd name="T26" fmla="*/ 56 w 102"/>
                    <a:gd name="T27" fmla="*/ 7 h 51"/>
                    <a:gd name="T28" fmla="*/ 63 w 102"/>
                    <a:gd name="T29" fmla="*/ 7 h 51"/>
                    <a:gd name="T30" fmla="*/ 68 w 102"/>
                    <a:gd name="T31" fmla="*/ 10 h 51"/>
                    <a:gd name="T32" fmla="*/ 68 w 102"/>
                    <a:gd name="T33" fmla="*/ 14 h 51"/>
                    <a:gd name="T34" fmla="*/ 70 w 102"/>
                    <a:gd name="T35" fmla="*/ 17 h 51"/>
                    <a:gd name="T36" fmla="*/ 75 w 102"/>
                    <a:gd name="T37" fmla="*/ 19 h 51"/>
                    <a:gd name="T38" fmla="*/ 78 w 102"/>
                    <a:gd name="T39" fmla="*/ 17 h 51"/>
                    <a:gd name="T40" fmla="*/ 78 w 102"/>
                    <a:gd name="T41" fmla="*/ 15 h 51"/>
                    <a:gd name="T42" fmla="*/ 81 w 102"/>
                    <a:gd name="T43" fmla="*/ 15 h 51"/>
                    <a:gd name="T44" fmla="*/ 88 w 102"/>
                    <a:gd name="T45" fmla="*/ 17 h 51"/>
                    <a:gd name="T46" fmla="*/ 90 w 102"/>
                    <a:gd name="T47" fmla="*/ 19 h 51"/>
                    <a:gd name="T48" fmla="*/ 93 w 102"/>
                    <a:gd name="T49" fmla="*/ 22 h 51"/>
                    <a:gd name="T50" fmla="*/ 98 w 102"/>
                    <a:gd name="T51" fmla="*/ 27 h 51"/>
                    <a:gd name="T52" fmla="*/ 100 w 102"/>
                    <a:gd name="T53" fmla="*/ 34 h 51"/>
                    <a:gd name="T54" fmla="*/ 92 w 102"/>
                    <a:gd name="T55" fmla="*/ 39 h 51"/>
                    <a:gd name="T56" fmla="*/ 85 w 102"/>
                    <a:gd name="T57" fmla="*/ 41 h 51"/>
                    <a:gd name="T58" fmla="*/ 81 w 102"/>
                    <a:gd name="T59" fmla="*/ 42 h 51"/>
                    <a:gd name="T60" fmla="*/ 76 w 102"/>
                    <a:gd name="T61" fmla="*/ 49 h 51"/>
                    <a:gd name="T62" fmla="*/ 70 w 102"/>
                    <a:gd name="T63" fmla="*/ 47 h 51"/>
                    <a:gd name="T64" fmla="*/ 61 w 102"/>
                    <a:gd name="T65" fmla="*/ 46 h 51"/>
                    <a:gd name="T66" fmla="*/ 56 w 102"/>
                    <a:gd name="T67" fmla="*/ 44 h 51"/>
                    <a:gd name="T68" fmla="*/ 51 w 102"/>
                    <a:gd name="T69" fmla="*/ 44 h 51"/>
                    <a:gd name="T70" fmla="*/ 48 w 102"/>
                    <a:gd name="T71" fmla="*/ 46 h 51"/>
                    <a:gd name="T72" fmla="*/ 43 w 102"/>
                    <a:gd name="T73" fmla="*/ 51 h 51"/>
                    <a:gd name="T74" fmla="*/ 38 w 102"/>
                    <a:gd name="T75" fmla="*/ 51 h 51"/>
                    <a:gd name="T76" fmla="*/ 32 w 102"/>
                    <a:gd name="T77" fmla="*/ 49 h 51"/>
                    <a:gd name="T78" fmla="*/ 27 w 102"/>
                    <a:gd name="T79" fmla="*/ 47 h 51"/>
                    <a:gd name="T80" fmla="*/ 21 w 102"/>
                    <a:gd name="T81" fmla="*/ 42 h 51"/>
                    <a:gd name="T82" fmla="*/ 12 w 102"/>
                    <a:gd name="T83" fmla="*/ 35 h 51"/>
                    <a:gd name="T84" fmla="*/ 7 w 102"/>
                    <a:gd name="T85" fmla="*/ 30 h 51"/>
                    <a:gd name="T86" fmla="*/ 6 w 102"/>
                    <a:gd name="T87" fmla="*/ 24 h 51"/>
                    <a:gd name="T88" fmla="*/ 0 w 102"/>
                    <a:gd name="T89" fmla="*/ 19 h 51"/>
                    <a:gd name="T90" fmla="*/ 0 w 102"/>
                    <a:gd name="T91" fmla="*/ 15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02" h="51">
                      <a:moveTo>
                        <a:pt x="4" y="19"/>
                      </a:moveTo>
                      <a:lnTo>
                        <a:pt x="4" y="20"/>
                      </a:lnTo>
                      <a:lnTo>
                        <a:pt x="6" y="19"/>
                      </a:lnTo>
                      <a:lnTo>
                        <a:pt x="6" y="17"/>
                      </a:lnTo>
                      <a:lnTo>
                        <a:pt x="7" y="17"/>
                      </a:lnTo>
                      <a:lnTo>
                        <a:pt x="7" y="15"/>
                      </a:lnTo>
                      <a:lnTo>
                        <a:pt x="9" y="15"/>
                      </a:lnTo>
                      <a:lnTo>
                        <a:pt x="11" y="15"/>
                      </a:lnTo>
                      <a:lnTo>
                        <a:pt x="14" y="14"/>
                      </a:lnTo>
                      <a:lnTo>
                        <a:pt x="16" y="14"/>
                      </a:lnTo>
                      <a:lnTo>
                        <a:pt x="19" y="12"/>
                      </a:lnTo>
                      <a:lnTo>
                        <a:pt x="21" y="12"/>
                      </a:lnTo>
                      <a:lnTo>
                        <a:pt x="22" y="9"/>
                      </a:lnTo>
                      <a:lnTo>
                        <a:pt x="26" y="7"/>
                      </a:lnTo>
                      <a:lnTo>
                        <a:pt x="31" y="7"/>
                      </a:lnTo>
                      <a:lnTo>
                        <a:pt x="34" y="5"/>
                      </a:lnTo>
                      <a:lnTo>
                        <a:pt x="34" y="2"/>
                      </a:lnTo>
                      <a:lnTo>
                        <a:pt x="34" y="0"/>
                      </a:lnTo>
                      <a:lnTo>
                        <a:pt x="38" y="0"/>
                      </a:lnTo>
                      <a:lnTo>
                        <a:pt x="39" y="3"/>
                      </a:lnTo>
                      <a:lnTo>
                        <a:pt x="41" y="5"/>
                      </a:lnTo>
                      <a:lnTo>
                        <a:pt x="43" y="5"/>
                      </a:lnTo>
                      <a:lnTo>
                        <a:pt x="46" y="7"/>
                      </a:lnTo>
                      <a:lnTo>
                        <a:pt x="48" y="3"/>
                      </a:lnTo>
                      <a:lnTo>
                        <a:pt x="49" y="3"/>
                      </a:lnTo>
                      <a:lnTo>
                        <a:pt x="53" y="3"/>
                      </a:lnTo>
                      <a:lnTo>
                        <a:pt x="54" y="7"/>
                      </a:lnTo>
                      <a:lnTo>
                        <a:pt x="56" y="7"/>
                      </a:lnTo>
                      <a:lnTo>
                        <a:pt x="59" y="7"/>
                      </a:lnTo>
                      <a:lnTo>
                        <a:pt x="63" y="7"/>
                      </a:lnTo>
                      <a:lnTo>
                        <a:pt x="65" y="10"/>
                      </a:lnTo>
                      <a:lnTo>
                        <a:pt x="68" y="10"/>
                      </a:lnTo>
                      <a:lnTo>
                        <a:pt x="68" y="12"/>
                      </a:lnTo>
                      <a:lnTo>
                        <a:pt x="68" y="14"/>
                      </a:lnTo>
                      <a:lnTo>
                        <a:pt x="66" y="14"/>
                      </a:lnTo>
                      <a:lnTo>
                        <a:pt x="70" y="17"/>
                      </a:lnTo>
                      <a:lnTo>
                        <a:pt x="73" y="19"/>
                      </a:lnTo>
                      <a:lnTo>
                        <a:pt x="75" y="19"/>
                      </a:lnTo>
                      <a:lnTo>
                        <a:pt x="76" y="19"/>
                      </a:lnTo>
                      <a:lnTo>
                        <a:pt x="78" y="17"/>
                      </a:lnTo>
                      <a:lnTo>
                        <a:pt x="76" y="15"/>
                      </a:lnTo>
                      <a:lnTo>
                        <a:pt x="78" y="15"/>
                      </a:lnTo>
                      <a:lnTo>
                        <a:pt x="80" y="15"/>
                      </a:lnTo>
                      <a:lnTo>
                        <a:pt x="81" y="15"/>
                      </a:lnTo>
                      <a:lnTo>
                        <a:pt x="85" y="17"/>
                      </a:lnTo>
                      <a:lnTo>
                        <a:pt x="88" y="17"/>
                      </a:lnTo>
                      <a:lnTo>
                        <a:pt x="90" y="17"/>
                      </a:lnTo>
                      <a:lnTo>
                        <a:pt x="90" y="19"/>
                      </a:lnTo>
                      <a:lnTo>
                        <a:pt x="90" y="20"/>
                      </a:lnTo>
                      <a:lnTo>
                        <a:pt x="93" y="22"/>
                      </a:lnTo>
                      <a:lnTo>
                        <a:pt x="97" y="24"/>
                      </a:lnTo>
                      <a:lnTo>
                        <a:pt x="98" y="27"/>
                      </a:lnTo>
                      <a:lnTo>
                        <a:pt x="102" y="30"/>
                      </a:lnTo>
                      <a:lnTo>
                        <a:pt x="100" y="34"/>
                      </a:lnTo>
                      <a:lnTo>
                        <a:pt x="100" y="35"/>
                      </a:lnTo>
                      <a:lnTo>
                        <a:pt x="92" y="39"/>
                      </a:lnTo>
                      <a:lnTo>
                        <a:pt x="92" y="41"/>
                      </a:lnTo>
                      <a:lnTo>
                        <a:pt x="85" y="41"/>
                      </a:lnTo>
                      <a:lnTo>
                        <a:pt x="80" y="44"/>
                      </a:lnTo>
                      <a:lnTo>
                        <a:pt x="81" y="42"/>
                      </a:lnTo>
                      <a:lnTo>
                        <a:pt x="76" y="51"/>
                      </a:lnTo>
                      <a:lnTo>
                        <a:pt x="76" y="49"/>
                      </a:lnTo>
                      <a:lnTo>
                        <a:pt x="75" y="47"/>
                      </a:lnTo>
                      <a:lnTo>
                        <a:pt x="70" y="47"/>
                      </a:lnTo>
                      <a:lnTo>
                        <a:pt x="65" y="47"/>
                      </a:lnTo>
                      <a:lnTo>
                        <a:pt x="61" y="46"/>
                      </a:lnTo>
                      <a:lnTo>
                        <a:pt x="58" y="44"/>
                      </a:lnTo>
                      <a:lnTo>
                        <a:pt x="56" y="44"/>
                      </a:lnTo>
                      <a:lnTo>
                        <a:pt x="53" y="44"/>
                      </a:lnTo>
                      <a:lnTo>
                        <a:pt x="51" y="44"/>
                      </a:lnTo>
                      <a:lnTo>
                        <a:pt x="49" y="44"/>
                      </a:lnTo>
                      <a:lnTo>
                        <a:pt x="48" y="46"/>
                      </a:lnTo>
                      <a:lnTo>
                        <a:pt x="46" y="47"/>
                      </a:lnTo>
                      <a:lnTo>
                        <a:pt x="43" y="51"/>
                      </a:lnTo>
                      <a:lnTo>
                        <a:pt x="41" y="51"/>
                      </a:lnTo>
                      <a:lnTo>
                        <a:pt x="38" y="51"/>
                      </a:lnTo>
                      <a:lnTo>
                        <a:pt x="34" y="51"/>
                      </a:lnTo>
                      <a:lnTo>
                        <a:pt x="32" y="49"/>
                      </a:lnTo>
                      <a:lnTo>
                        <a:pt x="29" y="49"/>
                      </a:lnTo>
                      <a:lnTo>
                        <a:pt x="27" y="47"/>
                      </a:lnTo>
                      <a:lnTo>
                        <a:pt x="22" y="44"/>
                      </a:lnTo>
                      <a:lnTo>
                        <a:pt x="21" y="42"/>
                      </a:lnTo>
                      <a:lnTo>
                        <a:pt x="17" y="39"/>
                      </a:lnTo>
                      <a:lnTo>
                        <a:pt x="12" y="35"/>
                      </a:lnTo>
                      <a:lnTo>
                        <a:pt x="9" y="34"/>
                      </a:lnTo>
                      <a:lnTo>
                        <a:pt x="7" y="30"/>
                      </a:lnTo>
                      <a:lnTo>
                        <a:pt x="7" y="25"/>
                      </a:lnTo>
                      <a:lnTo>
                        <a:pt x="6" y="24"/>
                      </a:lnTo>
                      <a:lnTo>
                        <a:pt x="2" y="22"/>
                      </a:lnTo>
                      <a:lnTo>
                        <a:pt x="0" y="19"/>
                      </a:lnTo>
                      <a:lnTo>
                        <a:pt x="0" y="17"/>
                      </a:lnTo>
                      <a:lnTo>
                        <a:pt x="0" y="15"/>
                      </a:lnTo>
                      <a:lnTo>
                        <a:pt x="4" y="19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7" name="Freeform 401">
                  <a:extLst>
                    <a:ext uri="{FF2B5EF4-FFF2-40B4-BE49-F238E27FC236}">
                      <a16:creationId xmlns:a16="http://schemas.microsoft.com/office/drawing/2014/main" id="{6129F894-151F-E140-93B6-CE1F1EB51B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" y="480"/>
                  <a:ext cx="102" cy="51"/>
                </a:xfrm>
                <a:custGeom>
                  <a:avLst/>
                  <a:gdLst>
                    <a:gd name="T0" fmla="*/ 4 w 102"/>
                    <a:gd name="T1" fmla="*/ 20 h 51"/>
                    <a:gd name="T2" fmla="*/ 6 w 102"/>
                    <a:gd name="T3" fmla="*/ 17 h 51"/>
                    <a:gd name="T4" fmla="*/ 7 w 102"/>
                    <a:gd name="T5" fmla="*/ 15 h 51"/>
                    <a:gd name="T6" fmla="*/ 11 w 102"/>
                    <a:gd name="T7" fmla="*/ 15 h 51"/>
                    <a:gd name="T8" fmla="*/ 16 w 102"/>
                    <a:gd name="T9" fmla="*/ 14 h 51"/>
                    <a:gd name="T10" fmla="*/ 21 w 102"/>
                    <a:gd name="T11" fmla="*/ 12 h 51"/>
                    <a:gd name="T12" fmla="*/ 26 w 102"/>
                    <a:gd name="T13" fmla="*/ 7 h 51"/>
                    <a:gd name="T14" fmla="*/ 34 w 102"/>
                    <a:gd name="T15" fmla="*/ 5 h 51"/>
                    <a:gd name="T16" fmla="*/ 34 w 102"/>
                    <a:gd name="T17" fmla="*/ 0 h 51"/>
                    <a:gd name="T18" fmla="*/ 39 w 102"/>
                    <a:gd name="T19" fmla="*/ 3 h 51"/>
                    <a:gd name="T20" fmla="*/ 43 w 102"/>
                    <a:gd name="T21" fmla="*/ 5 h 51"/>
                    <a:gd name="T22" fmla="*/ 48 w 102"/>
                    <a:gd name="T23" fmla="*/ 3 h 51"/>
                    <a:gd name="T24" fmla="*/ 53 w 102"/>
                    <a:gd name="T25" fmla="*/ 3 h 51"/>
                    <a:gd name="T26" fmla="*/ 56 w 102"/>
                    <a:gd name="T27" fmla="*/ 7 h 51"/>
                    <a:gd name="T28" fmla="*/ 63 w 102"/>
                    <a:gd name="T29" fmla="*/ 7 h 51"/>
                    <a:gd name="T30" fmla="*/ 68 w 102"/>
                    <a:gd name="T31" fmla="*/ 10 h 51"/>
                    <a:gd name="T32" fmla="*/ 68 w 102"/>
                    <a:gd name="T33" fmla="*/ 14 h 51"/>
                    <a:gd name="T34" fmla="*/ 70 w 102"/>
                    <a:gd name="T35" fmla="*/ 17 h 51"/>
                    <a:gd name="T36" fmla="*/ 75 w 102"/>
                    <a:gd name="T37" fmla="*/ 19 h 51"/>
                    <a:gd name="T38" fmla="*/ 78 w 102"/>
                    <a:gd name="T39" fmla="*/ 17 h 51"/>
                    <a:gd name="T40" fmla="*/ 78 w 102"/>
                    <a:gd name="T41" fmla="*/ 15 h 51"/>
                    <a:gd name="T42" fmla="*/ 81 w 102"/>
                    <a:gd name="T43" fmla="*/ 15 h 51"/>
                    <a:gd name="T44" fmla="*/ 88 w 102"/>
                    <a:gd name="T45" fmla="*/ 17 h 51"/>
                    <a:gd name="T46" fmla="*/ 90 w 102"/>
                    <a:gd name="T47" fmla="*/ 19 h 51"/>
                    <a:gd name="T48" fmla="*/ 93 w 102"/>
                    <a:gd name="T49" fmla="*/ 22 h 51"/>
                    <a:gd name="T50" fmla="*/ 98 w 102"/>
                    <a:gd name="T51" fmla="*/ 27 h 51"/>
                    <a:gd name="T52" fmla="*/ 100 w 102"/>
                    <a:gd name="T53" fmla="*/ 34 h 51"/>
                    <a:gd name="T54" fmla="*/ 92 w 102"/>
                    <a:gd name="T55" fmla="*/ 39 h 51"/>
                    <a:gd name="T56" fmla="*/ 85 w 102"/>
                    <a:gd name="T57" fmla="*/ 41 h 51"/>
                    <a:gd name="T58" fmla="*/ 81 w 102"/>
                    <a:gd name="T59" fmla="*/ 42 h 51"/>
                    <a:gd name="T60" fmla="*/ 76 w 102"/>
                    <a:gd name="T61" fmla="*/ 49 h 51"/>
                    <a:gd name="T62" fmla="*/ 70 w 102"/>
                    <a:gd name="T63" fmla="*/ 47 h 51"/>
                    <a:gd name="T64" fmla="*/ 61 w 102"/>
                    <a:gd name="T65" fmla="*/ 46 h 51"/>
                    <a:gd name="T66" fmla="*/ 56 w 102"/>
                    <a:gd name="T67" fmla="*/ 44 h 51"/>
                    <a:gd name="T68" fmla="*/ 51 w 102"/>
                    <a:gd name="T69" fmla="*/ 44 h 51"/>
                    <a:gd name="T70" fmla="*/ 48 w 102"/>
                    <a:gd name="T71" fmla="*/ 46 h 51"/>
                    <a:gd name="T72" fmla="*/ 43 w 102"/>
                    <a:gd name="T73" fmla="*/ 51 h 51"/>
                    <a:gd name="T74" fmla="*/ 38 w 102"/>
                    <a:gd name="T75" fmla="*/ 51 h 51"/>
                    <a:gd name="T76" fmla="*/ 32 w 102"/>
                    <a:gd name="T77" fmla="*/ 49 h 51"/>
                    <a:gd name="T78" fmla="*/ 27 w 102"/>
                    <a:gd name="T79" fmla="*/ 47 h 51"/>
                    <a:gd name="T80" fmla="*/ 21 w 102"/>
                    <a:gd name="T81" fmla="*/ 42 h 51"/>
                    <a:gd name="T82" fmla="*/ 12 w 102"/>
                    <a:gd name="T83" fmla="*/ 35 h 51"/>
                    <a:gd name="T84" fmla="*/ 7 w 102"/>
                    <a:gd name="T85" fmla="*/ 30 h 51"/>
                    <a:gd name="T86" fmla="*/ 6 w 102"/>
                    <a:gd name="T87" fmla="*/ 24 h 51"/>
                    <a:gd name="T88" fmla="*/ 0 w 102"/>
                    <a:gd name="T89" fmla="*/ 19 h 51"/>
                    <a:gd name="T90" fmla="*/ 0 w 102"/>
                    <a:gd name="T91" fmla="*/ 15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02" h="51">
                      <a:moveTo>
                        <a:pt x="4" y="19"/>
                      </a:moveTo>
                      <a:lnTo>
                        <a:pt x="4" y="20"/>
                      </a:lnTo>
                      <a:lnTo>
                        <a:pt x="6" y="19"/>
                      </a:lnTo>
                      <a:lnTo>
                        <a:pt x="6" y="17"/>
                      </a:lnTo>
                      <a:lnTo>
                        <a:pt x="7" y="17"/>
                      </a:lnTo>
                      <a:lnTo>
                        <a:pt x="7" y="15"/>
                      </a:lnTo>
                      <a:lnTo>
                        <a:pt x="9" y="15"/>
                      </a:lnTo>
                      <a:lnTo>
                        <a:pt x="11" y="15"/>
                      </a:lnTo>
                      <a:lnTo>
                        <a:pt x="14" y="14"/>
                      </a:lnTo>
                      <a:lnTo>
                        <a:pt x="16" y="14"/>
                      </a:lnTo>
                      <a:lnTo>
                        <a:pt x="19" y="12"/>
                      </a:lnTo>
                      <a:lnTo>
                        <a:pt x="21" y="12"/>
                      </a:lnTo>
                      <a:lnTo>
                        <a:pt x="22" y="9"/>
                      </a:lnTo>
                      <a:lnTo>
                        <a:pt x="26" y="7"/>
                      </a:lnTo>
                      <a:lnTo>
                        <a:pt x="31" y="7"/>
                      </a:lnTo>
                      <a:lnTo>
                        <a:pt x="34" y="5"/>
                      </a:lnTo>
                      <a:lnTo>
                        <a:pt x="34" y="2"/>
                      </a:lnTo>
                      <a:lnTo>
                        <a:pt x="34" y="0"/>
                      </a:lnTo>
                      <a:lnTo>
                        <a:pt x="38" y="0"/>
                      </a:lnTo>
                      <a:lnTo>
                        <a:pt x="39" y="3"/>
                      </a:lnTo>
                      <a:lnTo>
                        <a:pt x="41" y="5"/>
                      </a:lnTo>
                      <a:lnTo>
                        <a:pt x="43" y="5"/>
                      </a:lnTo>
                      <a:lnTo>
                        <a:pt x="46" y="7"/>
                      </a:lnTo>
                      <a:lnTo>
                        <a:pt x="48" y="3"/>
                      </a:lnTo>
                      <a:lnTo>
                        <a:pt x="49" y="3"/>
                      </a:lnTo>
                      <a:lnTo>
                        <a:pt x="53" y="3"/>
                      </a:lnTo>
                      <a:lnTo>
                        <a:pt x="54" y="7"/>
                      </a:lnTo>
                      <a:lnTo>
                        <a:pt x="56" y="7"/>
                      </a:lnTo>
                      <a:lnTo>
                        <a:pt x="59" y="7"/>
                      </a:lnTo>
                      <a:lnTo>
                        <a:pt x="63" y="7"/>
                      </a:lnTo>
                      <a:lnTo>
                        <a:pt x="65" y="10"/>
                      </a:lnTo>
                      <a:lnTo>
                        <a:pt x="68" y="10"/>
                      </a:lnTo>
                      <a:lnTo>
                        <a:pt x="68" y="12"/>
                      </a:lnTo>
                      <a:lnTo>
                        <a:pt x="68" y="14"/>
                      </a:lnTo>
                      <a:lnTo>
                        <a:pt x="66" y="14"/>
                      </a:lnTo>
                      <a:lnTo>
                        <a:pt x="70" y="17"/>
                      </a:lnTo>
                      <a:lnTo>
                        <a:pt x="73" y="19"/>
                      </a:lnTo>
                      <a:lnTo>
                        <a:pt x="75" y="19"/>
                      </a:lnTo>
                      <a:lnTo>
                        <a:pt x="76" y="19"/>
                      </a:lnTo>
                      <a:lnTo>
                        <a:pt x="78" y="17"/>
                      </a:lnTo>
                      <a:lnTo>
                        <a:pt x="76" y="15"/>
                      </a:lnTo>
                      <a:lnTo>
                        <a:pt x="78" y="15"/>
                      </a:lnTo>
                      <a:lnTo>
                        <a:pt x="80" y="15"/>
                      </a:lnTo>
                      <a:lnTo>
                        <a:pt x="81" y="15"/>
                      </a:lnTo>
                      <a:lnTo>
                        <a:pt x="85" y="17"/>
                      </a:lnTo>
                      <a:lnTo>
                        <a:pt x="88" y="17"/>
                      </a:lnTo>
                      <a:lnTo>
                        <a:pt x="90" y="17"/>
                      </a:lnTo>
                      <a:lnTo>
                        <a:pt x="90" y="19"/>
                      </a:lnTo>
                      <a:lnTo>
                        <a:pt x="90" y="20"/>
                      </a:lnTo>
                      <a:lnTo>
                        <a:pt x="93" y="22"/>
                      </a:lnTo>
                      <a:lnTo>
                        <a:pt x="97" y="24"/>
                      </a:lnTo>
                      <a:lnTo>
                        <a:pt x="98" y="27"/>
                      </a:lnTo>
                      <a:lnTo>
                        <a:pt x="102" y="30"/>
                      </a:lnTo>
                      <a:lnTo>
                        <a:pt x="100" y="34"/>
                      </a:lnTo>
                      <a:lnTo>
                        <a:pt x="100" y="35"/>
                      </a:lnTo>
                      <a:lnTo>
                        <a:pt x="92" y="39"/>
                      </a:lnTo>
                      <a:lnTo>
                        <a:pt x="92" y="41"/>
                      </a:lnTo>
                      <a:lnTo>
                        <a:pt x="85" y="41"/>
                      </a:lnTo>
                      <a:lnTo>
                        <a:pt x="80" y="44"/>
                      </a:lnTo>
                      <a:lnTo>
                        <a:pt x="81" y="42"/>
                      </a:lnTo>
                      <a:lnTo>
                        <a:pt x="76" y="51"/>
                      </a:lnTo>
                      <a:lnTo>
                        <a:pt x="76" y="49"/>
                      </a:lnTo>
                      <a:lnTo>
                        <a:pt x="75" y="47"/>
                      </a:lnTo>
                      <a:lnTo>
                        <a:pt x="70" y="47"/>
                      </a:lnTo>
                      <a:lnTo>
                        <a:pt x="65" y="47"/>
                      </a:lnTo>
                      <a:lnTo>
                        <a:pt x="61" y="46"/>
                      </a:lnTo>
                      <a:lnTo>
                        <a:pt x="58" y="44"/>
                      </a:lnTo>
                      <a:lnTo>
                        <a:pt x="56" y="44"/>
                      </a:lnTo>
                      <a:lnTo>
                        <a:pt x="53" y="44"/>
                      </a:lnTo>
                      <a:lnTo>
                        <a:pt x="51" y="44"/>
                      </a:lnTo>
                      <a:lnTo>
                        <a:pt x="49" y="44"/>
                      </a:lnTo>
                      <a:lnTo>
                        <a:pt x="48" y="46"/>
                      </a:lnTo>
                      <a:lnTo>
                        <a:pt x="46" y="47"/>
                      </a:lnTo>
                      <a:lnTo>
                        <a:pt x="43" y="51"/>
                      </a:lnTo>
                      <a:lnTo>
                        <a:pt x="41" y="51"/>
                      </a:lnTo>
                      <a:lnTo>
                        <a:pt x="38" y="51"/>
                      </a:lnTo>
                      <a:lnTo>
                        <a:pt x="34" y="51"/>
                      </a:lnTo>
                      <a:lnTo>
                        <a:pt x="32" y="49"/>
                      </a:lnTo>
                      <a:lnTo>
                        <a:pt x="29" y="49"/>
                      </a:lnTo>
                      <a:lnTo>
                        <a:pt x="27" y="47"/>
                      </a:lnTo>
                      <a:lnTo>
                        <a:pt x="22" y="44"/>
                      </a:lnTo>
                      <a:lnTo>
                        <a:pt x="21" y="42"/>
                      </a:lnTo>
                      <a:lnTo>
                        <a:pt x="17" y="39"/>
                      </a:lnTo>
                      <a:lnTo>
                        <a:pt x="12" y="35"/>
                      </a:lnTo>
                      <a:lnTo>
                        <a:pt x="9" y="34"/>
                      </a:lnTo>
                      <a:lnTo>
                        <a:pt x="7" y="30"/>
                      </a:lnTo>
                      <a:lnTo>
                        <a:pt x="7" y="25"/>
                      </a:lnTo>
                      <a:lnTo>
                        <a:pt x="6" y="24"/>
                      </a:lnTo>
                      <a:lnTo>
                        <a:pt x="2" y="22"/>
                      </a:lnTo>
                      <a:lnTo>
                        <a:pt x="0" y="19"/>
                      </a:lnTo>
                      <a:lnTo>
                        <a:pt x="0" y="17"/>
                      </a:lnTo>
                      <a:lnTo>
                        <a:pt x="0" y="15"/>
                      </a:lnTo>
                      <a:lnTo>
                        <a:pt x="4" y="19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35" name="Group 1634">
                <a:extLst>
                  <a:ext uri="{FF2B5EF4-FFF2-40B4-BE49-F238E27FC236}">
                    <a16:creationId xmlns:a16="http://schemas.microsoft.com/office/drawing/2014/main" id="{A2B75272-3A38-B646-B701-6F8F98875F3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23" y="510"/>
                <a:ext cx="88" cy="38"/>
                <a:chOff x="423" y="510"/>
                <a:chExt cx="88" cy="38"/>
              </a:xfrm>
            </p:grpSpPr>
            <p:sp>
              <p:nvSpPr>
                <p:cNvPr id="2024" name="Freeform 398">
                  <a:extLst>
                    <a:ext uri="{FF2B5EF4-FFF2-40B4-BE49-F238E27FC236}">
                      <a16:creationId xmlns:a16="http://schemas.microsoft.com/office/drawing/2014/main" id="{C123E865-9A27-5247-8C5B-050D04F495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" y="510"/>
                  <a:ext cx="88" cy="38"/>
                </a:xfrm>
                <a:custGeom>
                  <a:avLst/>
                  <a:gdLst>
                    <a:gd name="T0" fmla="*/ 26 w 88"/>
                    <a:gd name="T1" fmla="*/ 0 h 38"/>
                    <a:gd name="T2" fmla="*/ 34 w 88"/>
                    <a:gd name="T3" fmla="*/ 4 h 38"/>
                    <a:gd name="T4" fmla="*/ 41 w 88"/>
                    <a:gd name="T5" fmla="*/ 2 h 38"/>
                    <a:gd name="T6" fmla="*/ 46 w 88"/>
                    <a:gd name="T7" fmla="*/ 5 h 38"/>
                    <a:gd name="T8" fmla="*/ 49 w 88"/>
                    <a:gd name="T9" fmla="*/ 9 h 38"/>
                    <a:gd name="T10" fmla="*/ 56 w 88"/>
                    <a:gd name="T11" fmla="*/ 5 h 38"/>
                    <a:gd name="T12" fmla="*/ 64 w 88"/>
                    <a:gd name="T13" fmla="*/ 7 h 38"/>
                    <a:gd name="T14" fmla="*/ 69 w 88"/>
                    <a:gd name="T15" fmla="*/ 4 h 38"/>
                    <a:gd name="T16" fmla="*/ 76 w 88"/>
                    <a:gd name="T17" fmla="*/ 4 h 38"/>
                    <a:gd name="T18" fmla="*/ 81 w 88"/>
                    <a:gd name="T19" fmla="*/ 7 h 38"/>
                    <a:gd name="T20" fmla="*/ 88 w 88"/>
                    <a:gd name="T21" fmla="*/ 11 h 38"/>
                    <a:gd name="T22" fmla="*/ 86 w 88"/>
                    <a:gd name="T23" fmla="*/ 14 h 38"/>
                    <a:gd name="T24" fmla="*/ 85 w 88"/>
                    <a:gd name="T25" fmla="*/ 19 h 38"/>
                    <a:gd name="T26" fmla="*/ 83 w 88"/>
                    <a:gd name="T27" fmla="*/ 24 h 38"/>
                    <a:gd name="T28" fmla="*/ 78 w 88"/>
                    <a:gd name="T29" fmla="*/ 26 h 38"/>
                    <a:gd name="T30" fmla="*/ 69 w 88"/>
                    <a:gd name="T31" fmla="*/ 22 h 38"/>
                    <a:gd name="T32" fmla="*/ 61 w 88"/>
                    <a:gd name="T33" fmla="*/ 22 h 38"/>
                    <a:gd name="T34" fmla="*/ 56 w 88"/>
                    <a:gd name="T35" fmla="*/ 27 h 38"/>
                    <a:gd name="T36" fmla="*/ 49 w 88"/>
                    <a:gd name="T37" fmla="*/ 29 h 38"/>
                    <a:gd name="T38" fmla="*/ 39 w 88"/>
                    <a:gd name="T39" fmla="*/ 31 h 38"/>
                    <a:gd name="T40" fmla="*/ 31 w 88"/>
                    <a:gd name="T41" fmla="*/ 32 h 38"/>
                    <a:gd name="T42" fmla="*/ 27 w 88"/>
                    <a:gd name="T43" fmla="*/ 36 h 38"/>
                    <a:gd name="T44" fmla="*/ 26 w 88"/>
                    <a:gd name="T45" fmla="*/ 38 h 38"/>
                    <a:gd name="T46" fmla="*/ 21 w 88"/>
                    <a:gd name="T47" fmla="*/ 38 h 38"/>
                    <a:gd name="T48" fmla="*/ 16 w 88"/>
                    <a:gd name="T49" fmla="*/ 38 h 38"/>
                    <a:gd name="T50" fmla="*/ 10 w 88"/>
                    <a:gd name="T51" fmla="*/ 36 h 38"/>
                    <a:gd name="T52" fmla="*/ 7 w 88"/>
                    <a:gd name="T53" fmla="*/ 32 h 38"/>
                    <a:gd name="T54" fmla="*/ 5 w 88"/>
                    <a:gd name="T55" fmla="*/ 31 h 38"/>
                    <a:gd name="T56" fmla="*/ 0 w 88"/>
                    <a:gd name="T57" fmla="*/ 22 h 38"/>
                    <a:gd name="T58" fmla="*/ 5 w 88"/>
                    <a:gd name="T59" fmla="*/ 12 h 38"/>
                    <a:gd name="T60" fmla="*/ 9 w 88"/>
                    <a:gd name="T61" fmla="*/ 11 h 38"/>
                    <a:gd name="T62" fmla="*/ 24 w 88"/>
                    <a:gd name="T63" fmla="*/ 5 h 38"/>
                    <a:gd name="T64" fmla="*/ 26 w 88"/>
                    <a:gd name="T65" fmla="*/ 0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88" h="38">
                      <a:moveTo>
                        <a:pt x="26" y="0"/>
                      </a:moveTo>
                      <a:lnTo>
                        <a:pt x="26" y="0"/>
                      </a:lnTo>
                      <a:lnTo>
                        <a:pt x="31" y="2"/>
                      </a:lnTo>
                      <a:lnTo>
                        <a:pt x="34" y="4"/>
                      </a:lnTo>
                      <a:lnTo>
                        <a:pt x="37" y="4"/>
                      </a:lnTo>
                      <a:lnTo>
                        <a:pt x="41" y="2"/>
                      </a:lnTo>
                      <a:lnTo>
                        <a:pt x="42" y="4"/>
                      </a:lnTo>
                      <a:lnTo>
                        <a:pt x="46" y="5"/>
                      </a:lnTo>
                      <a:lnTo>
                        <a:pt x="48" y="7"/>
                      </a:lnTo>
                      <a:lnTo>
                        <a:pt x="49" y="9"/>
                      </a:lnTo>
                      <a:lnTo>
                        <a:pt x="53" y="7"/>
                      </a:lnTo>
                      <a:lnTo>
                        <a:pt x="56" y="5"/>
                      </a:lnTo>
                      <a:lnTo>
                        <a:pt x="61" y="5"/>
                      </a:lnTo>
                      <a:lnTo>
                        <a:pt x="64" y="7"/>
                      </a:lnTo>
                      <a:lnTo>
                        <a:pt x="66" y="5"/>
                      </a:lnTo>
                      <a:lnTo>
                        <a:pt x="69" y="4"/>
                      </a:lnTo>
                      <a:lnTo>
                        <a:pt x="73" y="4"/>
                      </a:lnTo>
                      <a:lnTo>
                        <a:pt x="76" y="4"/>
                      </a:lnTo>
                      <a:lnTo>
                        <a:pt x="80" y="5"/>
                      </a:lnTo>
                      <a:lnTo>
                        <a:pt x="81" y="7"/>
                      </a:lnTo>
                      <a:lnTo>
                        <a:pt x="85" y="11"/>
                      </a:lnTo>
                      <a:lnTo>
                        <a:pt x="88" y="11"/>
                      </a:lnTo>
                      <a:lnTo>
                        <a:pt x="88" y="12"/>
                      </a:lnTo>
                      <a:lnTo>
                        <a:pt x="86" y="14"/>
                      </a:lnTo>
                      <a:lnTo>
                        <a:pt x="85" y="17"/>
                      </a:lnTo>
                      <a:lnTo>
                        <a:pt x="85" y="19"/>
                      </a:lnTo>
                      <a:lnTo>
                        <a:pt x="83" y="22"/>
                      </a:lnTo>
                      <a:lnTo>
                        <a:pt x="83" y="24"/>
                      </a:lnTo>
                      <a:lnTo>
                        <a:pt x="83" y="26"/>
                      </a:lnTo>
                      <a:lnTo>
                        <a:pt x="78" y="26"/>
                      </a:lnTo>
                      <a:lnTo>
                        <a:pt x="75" y="22"/>
                      </a:lnTo>
                      <a:lnTo>
                        <a:pt x="69" y="22"/>
                      </a:lnTo>
                      <a:lnTo>
                        <a:pt x="66" y="22"/>
                      </a:lnTo>
                      <a:lnTo>
                        <a:pt x="61" y="22"/>
                      </a:lnTo>
                      <a:lnTo>
                        <a:pt x="56" y="24"/>
                      </a:lnTo>
                      <a:lnTo>
                        <a:pt x="56" y="27"/>
                      </a:lnTo>
                      <a:lnTo>
                        <a:pt x="53" y="27"/>
                      </a:lnTo>
                      <a:lnTo>
                        <a:pt x="49" y="29"/>
                      </a:lnTo>
                      <a:lnTo>
                        <a:pt x="44" y="29"/>
                      </a:lnTo>
                      <a:lnTo>
                        <a:pt x="39" y="31"/>
                      </a:lnTo>
                      <a:lnTo>
                        <a:pt x="34" y="32"/>
                      </a:lnTo>
                      <a:lnTo>
                        <a:pt x="31" y="32"/>
                      </a:lnTo>
                      <a:lnTo>
                        <a:pt x="29" y="36"/>
                      </a:lnTo>
                      <a:lnTo>
                        <a:pt x="27" y="36"/>
                      </a:lnTo>
                      <a:lnTo>
                        <a:pt x="27" y="38"/>
                      </a:lnTo>
                      <a:lnTo>
                        <a:pt x="26" y="38"/>
                      </a:lnTo>
                      <a:lnTo>
                        <a:pt x="24" y="38"/>
                      </a:lnTo>
                      <a:lnTo>
                        <a:pt x="21" y="38"/>
                      </a:lnTo>
                      <a:lnTo>
                        <a:pt x="19" y="38"/>
                      </a:lnTo>
                      <a:lnTo>
                        <a:pt x="16" y="38"/>
                      </a:lnTo>
                      <a:lnTo>
                        <a:pt x="14" y="38"/>
                      </a:lnTo>
                      <a:lnTo>
                        <a:pt x="10" y="36"/>
                      </a:lnTo>
                      <a:lnTo>
                        <a:pt x="9" y="34"/>
                      </a:lnTo>
                      <a:lnTo>
                        <a:pt x="7" y="32"/>
                      </a:lnTo>
                      <a:lnTo>
                        <a:pt x="5" y="32"/>
                      </a:lnTo>
                      <a:lnTo>
                        <a:pt x="5" y="31"/>
                      </a:lnTo>
                      <a:lnTo>
                        <a:pt x="2" y="29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5" y="12"/>
                      </a:lnTo>
                      <a:lnTo>
                        <a:pt x="4" y="14"/>
                      </a:lnTo>
                      <a:lnTo>
                        <a:pt x="9" y="11"/>
                      </a:lnTo>
                      <a:lnTo>
                        <a:pt x="16" y="9"/>
                      </a:lnTo>
                      <a:lnTo>
                        <a:pt x="24" y="5"/>
                      </a:lnTo>
                      <a:lnTo>
                        <a:pt x="24" y="4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5" name="Freeform 399">
                  <a:extLst>
                    <a:ext uri="{FF2B5EF4-FFF2-40B4-BE49-F238E27FC236}">
                      <a16:creationId xmlns:a16="http://schemas.microsoft.com/office/drawing/2014/main" id="{15060641-C462-3841-A5C1-904161D06D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" y="510"/>
                  <a:ext cx="88" cy="38"/>
                </a:xfrm>
                <a:custGeom>
                  <a:avLst/>
                  <a:gdLst>
                    <a:gd name="T0" fmla="*/ 26 w 88"/>
                    <a:gd name="T1" fmla="*/ 0 h 38"/>
                    <a:gd name="T2" fmla="*/ 34 w 88"/>
                    <a:gd name="T3" fmla="*/ 4 h 38"/>
                    <a:gd name="T4" fmla="*/ 41 w 88"/>
                    <a:gd name="T5" fmla="*/ 2 h 38"/>
                    <a:gd name="T6" fmla="*/ 46 w 88"/>
                    <a:gd name="T7" fmla="*/ 5 h 38"/>
                    <a:gd name="T8" fmla="*/ 49 w 88"/>
                    <a:gd name="T9" fmla="*/ 9 h 38"/>
                    <a:gd name="T10" fmla="*/ 56 w 88"/>
                    <a:gd name="T11" fmla="*/ 5 h 38"/>
                    <a:gd name="T12" fmla="*/ 64 w 88"/>
                    <a:gd name="T13" fmla="*/ 7 h 38"/>
                    <a:gd name="T14" fmla="*/ 69 w 88"/>
                    <a:gd name="T15" fmla="*/ 4 h 38"/>
                    <a:gd name="T16" fmla="*/ 76 w 88"/>
                    <a:gd name="T17" fmla="*/ 4 h 38"/>
                    <a:gd name="T18" fmla="*/ 81 w 88"/>
                    <a:gd name="T19" fmla="*/ 7 h 38"/>
                    <a:gd name="T20" fmla="*/ 88 w 88"/>
                    <a:gd name="T21" fmla="*/ 11 h 38"/>
                    <a:gd name="T22" fmla="*/ 86 w 88"/>
                    <a:gd name="T23" fmla="*/ 14 h 38"/>
                    <a:gd name="T24" fmla="*/ 85 w 88"/>
                    <a:gd name="T25" fmla="*/ 19 h 38"/>
                    <a:gd name="T26" fmla="*/ 83 w 88"/>
                    <a:gd name="T27" fmla="*/ 24 h 38"/>
                    <a:gd name="T28" fmla="*/ 78 w 88"/>
                    <a:gd name="T29" fmla="*/ 26 h 38"/>
                    <a:gd name="T30" fmla="*/ 69 w 88"/>
                    <a:gd name="T31" fmla="*/ 22 h 38"/>
                    <a:gd name="T32" fmla="*/ 61 w 88"/>
                    <a:gd name="T33" fmla="*/ 22 h 38"/>
                    <a:gd name="T34" fmla="*/ 56 w 88"/>
                    <a:gd name="T35" fmla="*/ 27 h 38"/>
                    <a:gd name="T36" fmla="*/ 49 w 88"/>
                    <a:gd name="T37" fmla="*/ 29 h 38"/>
                    <a:gd name="T38" fmla="*/ 39 w 88"/>
                    <a:gd name="T39" fmla="*/ 31 h 38"/>
                    <a:gd name="T40" fmla="*/ 31 w 88"/>
                    <a:gd name="T41" fmla="*/ 32 h 38"/>
                    <a:gd name="T42" fmla="*/ 27 w 88"/>
                    <a:gd name="T43" fmla="*/ 36 h 38"/>
                    <a:gd name="T44" fmla="*/ 26 w 88"/>
                    <a:gd name="T45" fmla="*/ 38 h 38"/>
                    <a:gd name="T46" fmla="*/ 21 w 88"/>
                    <a:gd name="T47" fmla="*/ 38 h 38"/>
                    <a:gd name="T48" fmla="*/ 16 w 88"/>
                    <a:gd name="T49" fmla="*/ 38 h 38"/>
                    <a:gd name="T50" fmla="*/ 10 w 88"/>
                    <a:gd name="T51" fmla="*/ 36 h 38"/>
                    <a:gd name="T52" fmla="*/ 7 w 88"/>
                    <a:gd name="T53" fmla="*/ 32 h 38"/>
                    <a:gd name="T54" fmla="*/ 5 w 88"/>
                    <a:gd name="T55" fmla="*/ 31 h 38"/>
                    <a:gd name="T56" fmla="*/ 0 w 88"/>
                    <a:gd name="T57" fmla="*/ 22 h 38"/>
                    <a:gd name="T58" fmla="*/ 5 w 88"/>
                    <a:gd name="T59" fmla="*/ 12 h 38"/>
                    <a:gd name="T60" fmla="*/ 9 w 88"/>
                    <a:gd name="T61" fmla="*/ 11 h 38"/>
                    <a:gd name="T62" fmla="*/ 24 w 88"/>
                    <a:gd name="T63" fmla="*/ 5 h 38"/>
                    <a:gd name="T64" fmla="*/ 26 w 88"/>
                    <a:gd name="T65" fmla="*/ 0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88" h="38">
                      <a:moveTo>
                        <a:pt x="26" y="0"/>
                      </a:moveTo>
                      <a:lnTo>
                        <a:pt x="26" y="0"/>
                      </a:lnTo>
                      <a:lnTo>
                        <a:pt x="31" y="2"/>
                      </a:lnTo>
                      <a:lnTo>
                        <a:pt x="34" y="4"/>
                      </a:lnTo>
                      <a:lnTo>
                        <a:pt x="37" y="4"/>
                      </a:lnTo>
                      <a:lnTo>
                        <a:pt x="41" y="2"/>
                      </a:lnTo>
                      <a:lnTo>
                        <a:pt x="42" y="4"/>
                      </a:lnTo>
                      <a:lnTo>
                        <a:pt x="46" y="5"/>
                      </a:lnTo>
                      <a:lnTo>
                        <a:pt x="48" y="7"/>
                      </a:lnTo>
                      <a:lnTo>
                        <a:pt x="49" y="9"/>
                      </a:lnTo>
                      <a:lnTo>
                        <a:pt x="53" y="7"/>
                      </a:lnTo>
                      <a:lnTo>
                        <a:pt x="56" y="5"/>
                      </a:lnTo>
                      <a:lnTo>
                        <a:pt x="61" y="5"/>
                      </a:lnTo>
                      <a:lnTo>
                        <a:pt x="64" y="7"/>
                      </a:lnTo>
                      <a:lnTo>
                        <a:pt x="66" y="5"/>
                      </a:lnTo>
                      <a:lnTo>
                        <a:pt x="69" y="4"/>
                      </a:lnTo>
                      <a:lnTo>
                        <a:pt x="73" y="4"/>
                      </a:lnTo>
                      <a:lnTo>
                        <a:pt x="76" y="4"/>
                      </a:lnTo>
                      <a:lnTo>
                        <a:pt x="80" y="5"/>
                      </a:lnTo>
                      <a:lnTo>
                        <a:pt x="81" y="7"/>
                      </a:lnTo>
                      <a:lnTo>
                        <a:pt x="85" y="11"/>
                      </a:lnTo>
                      <a:lnTo>
                        <a:pt x="88" y="11"/>
                      </a:lnTo>
                      <a:lnTo>
                        <a:pt x="88" y="12"/>
                      </a:lnTo>
                      <a:lnTo>
                        <a:pt x="86" y="14"/>
                      </a:lnTo>
                      <a:lnTo>
                        <a:pt x="85" y="17"/>
                      </a:lnTo>
                      <a:lnTo>
                        <a:pt x="85" y="19"/>
                      </a:lnTo>
                      <a:lnTo>
                        <a:pt x="83" y="22"/>
                      </a:lnTo>
                      <a:lnTo>
                        <a:pt x="83" y="24"/>
                      </a:lnTo>
                      <a:lnTo>
                        <a:pt x="83" y="26"/>
                      </a:lnTo>
                      <a:lnTo>
                        <a:pt x="78" y="26"/>
                      </a:lnTo>
                      <a:lnTo>
                        <a:pt x="75" y="22"/>
                      </a:lnTo>
                      <a:lnTo>
                        <a:pt x="69" y="22"/>
                      </a:lnTo>
                      <a:lnTo>
                        <a:pt x="66" y="22"/>
                      </a:lnTo>
                      <a:lnTo>
                        <a:pt x="61" y="22"/>
                      </a:lnTo>
                      <a:lnTo>
                        <a:pt x="56" y="24"/>
                      </a:lnTo>
                      <a:lnTo>
                        <a:pt x="56" y="27"/>
                      </a:lnTo>
                      <a:lnTo>
                        <a:pt x="53" y="27"/>
                      </a:lnTo>
                      <a:lnTo>
                        <a:pt x="49" y="29"/>
                      </a:lnTo>
                      <a:lnTo>
                        <a:pt x="44" y="29"/>
                      </a:lnTo>
                      <a:lnTo>
                        <a:pt x="39" y="31"/>
                      </a:lnTo>
                      <a:lnTo>
                        <a:pt x="34" y="32"/>
                      </a:lnTo>
                      <a:lnTo>
                        <a:pt x="31" y="32"/>
                      </a:lnTo>
                      <a:lnTo>
                        <a:pt x="29" y="36"/>
                      </a:lnTo>
                      <a:lnTo>
                        <a:pt x="27" y="36"/>
                      </a:lnTo>
                      <a:lnTo>
                        <a:pt x="27" y="38"/>
                      </a:lnTo>
                      <a:lnTo>
                        <a:pt x="26" y="38"/>
                      </a:lnTo>
                      <a:lnTo>
                        <a:pt x="24" y="38"/>
                      </a:lnTo>
                      <a:lnTo>
                        <a:pt x="21" y="38"/>
                      </a:lnTo>
                      <a:lnTo>
                        <a:pt x="19" y="38"/>
                      </a:lnTo>
                      <a:lnTo>
                        <a:pt x="16" y="38"/>
                      </a:lnTo>
                      <a:lnTo>
                        <a:pt x="14" y="38"/>
                      </a:lnTo>
                      <a:lnTo>
                        <a:pt x="10" y="36"/>
                      </a:lnTo>
                      <a:lnTo>
                        <a:pt x="9" y="34"/>
                      </a:lnTo>
                      <a:lnTo>
                        <a:pt x="7" y="32"/>
                      </a:lnTo>
                      <a:lnTo>
                        <a:pt x="5" y="32"/>
                      </a:lnTo>
                      <a:lnTo>
                        <a:pt x="5" y="31"/>
                      </a:lnTo>
                      <a:lnTo>
                        <a:pt x="2" y="29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5" y="12"/>
                      </a:lnTo>
                      <a:lnTo>
                        <a:pt x="4" y="14"/>
                      </a:lnTo>
                      <a:lnTo>
                        <a:pt x="9" y="11"/>
                      </a:lnTo>
                      <a:lnTo>
                        <a:pt x="16" y="9"/>
                      </a:lnTo>
                      <a:lnTo>
                        <a:pt x="24" y="5"/>
                      </a:lnTo>
                      <a:lnTo>
                        <a:pt x="24" y="4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36" name="Group 1635">
                <a:extLst>
                  <a:ext uri="{FF2B5EF4-FFF2-40B4-BE49-F238E27FC236}">
                    <a16:creationId xmlns:a16="http://schemas.microsoft.com/office/drawing/2014/main" id="{F721B0BC-C65B-D149-AC79-91391875C0F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9" y="524"/>
                <a:ext cx="119" cy="49"/>
                <a:chOff x="309" y="524"/>
                <a:chExt cx="119" cy="49"/>
              </a:xfrm>
            </p:grpSpPr>
            <p:sp>
              <p:nvSpPr>
                <p:cNvPr id="2022" name="Freeform 396">
                  <a:extLst>
                    <a:ext uri="{FF2B5EF4-FFF2-40B4-BE49-F238E27FC236}">
                      <a16:creationId xmlns:a16="http://schemas.microsoft.com/office/drawing/2014/main" id="{16DD5226-A533-D343-BDA2-EB569FA52D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9" y="524"/>
                  <a:ext cx="119" cy="49"/>
                </a:xfrm>
                <a:custGeom>
                  <a:avLst/>
                  <a:gdLst>
                    <a:gd name="T0" fmla="*/ 11 w 119"/>
                    <a:gd name="T1" fmla="*/ 40 h 49"/>
                    <a:gd name="T2" fmla="*/ 8 w 119"/>
                    <a:gd name="T3" fmla="*/ 39 h 49"/>
                    <a:gd name="T4" fmla="*/ 0 w 119"/>
                    <a:gd name="T5" fmla="*/ 30 h 49"/>
                    <a:gd name="T6" fmla="*/ 5 w 119"/>
                    <a:gd name="T7" fmla="*/ 29 h 49"/>
                    <a:gd name="T8" fmla="*/ 8 w 119"/>
                    <a:gd name="T9" fmla="*/ 30 h 49"/>
                    <a:gd name="T10" fmla="*/ 13 w 119"/>
                    <a:gd name="T11" fmla="*/ 32 h 49"/>
                    <a:gd name="T12" fmla="*/ 17 w 119"/>
                    <a:gd name="T13" fmla="*/ 29 h 49"/>
                    <a:gd name="T14" fmla="*/ 23 w 119"/>
                    <a:gd name="T15" fmla="*/ 30 h 49"/>
                    <a:gd name="T16" fmla="*/ 30 w 119"/>
                    <a:gd name="T17" fmla="*/ 29 h 49"/>
                    <a:gd name="T18" fmla="*/ 35 w 119"/>
                    <a:gd name="T19" fmla="*/ 27 h 49"/>
                    <a:gd name="T20" fmla="*/ 42 w 119"/>
                    <a:gd name="T21" fmla="*/ 27 h 49"/>
                    <a:gd name="T22" fmla="*/ 47 w 119"/>
                    <a:gd name="T23" fmla="*/ 25 h 49"/>
                    <a:gd name="T24" fmla="*/ 50 w 119"/>
                    <a:gd name="T25" fmla="*/ 25 h 49"/>
                    <a:gd name="T26" fmla="*/ 54 w 119"/>
                    <a:gd name="T27" fmla="*/ 27 h 49"/>
                    <a:gd name="T28" fmla="*/ 52 w 119"/>
                    <a:gd name="T29" fmla="*/ 22 h 49"/>
                    <a:gd name="T30" fmla="*/ 54 w 119"/>
                    <a:gd name="T31" fmla="*/ 15 h 49"/>
                    <a:gd name="T32" fmla="*/ 59 w 119"/>
                    <a:gd name="T33" fmla="*/ 12 h 49"/>
                    <a:gd name="T34" fmla="*/ 62 w 119"/>
                    <a:gd name="T35" fmla="*/ 8 h 49"/>
                    <a:gd name="T36" fmla="*/ 65 w 119"/>
                    <a:gd name="T37" fmla="*/ 7 h 49"/>
                    <a:gd name="T38" fmla="*/ 70 w 119"/>
                    <a:gd name="T39" fmla="*/ 5 h 49"/>
                    <a:gd name="T40" fmla="*/ 76 w 119"/>
                    <a:gd name="T41" fmla="*/ 7 h 49"/>
                    <a:gd name="T42" fmla="*/ 81 w 119"/>
                    <a:gd name="T43" fmla="*/ 7 h 49"/>
                    <a:gd name="T44" fmla="*/ 86 w 119"/>
                    <a:gd name="T45" fmla="*/ 2 h 49"/>
                    <a:gd name="T46" fmla="*/ 89 w 119"/>
                    <a:gd name="T47" fmla="*/ 0 h 49"/>
                    <a:gd name="T48" fmla="*/ 94 w 119"/>
                    <a:gd name="T49" fmla="*/ 0 h 49"/>
                    <a:gd name="T50" fmla="*/ 99 w 119"/>
                    <a:gd name="T51" fmla="*/ 2 h 49"/>
                    <a:gd name="T52" fmla="*/ 108 w 119"/>
                    <a:gd name="T53" fmla="*/ 3 h 49"/>
                    <a:gd name="T54" fmla="*/ 114 w 119"/>
                    <a:gd name="T55" fmla="*/ 5 h 49"/>
                    <a:gd name="T56" fmla="*/ 116 w 119"/>
                    <a:gd name="T57" fmla="*/ 15 h 49"/>
                    <a:gd name="T58" fmla="*/ 119 w 119"/>
                    <a:gd name="T59" fmla="*/ 18 h 49"/>
                    <a:gd name="T60" fmla="*/ 119 w 119"/>
                    <a:gd name="T61" fmla="*/ 22 h 49"/>
                    <a:gd name="T62" fmla="*/ 113 w 119"/>
                    <a:gd name="T63" fmla="*/ 25 h 49"/>
                    <a:gd name="T64" fmla="*/ 109 w 119"/>
                    <a:gd name="T65" fmla="*/ 27 h 49"/>
                    <a:gd name="T66" fmla="*/ 109 w 119"/>
                    <a:gd name="T67" fmla="*/ 32 h 49"/>
                    <a:gd name="T68" fmla="*/ 108 w 119"/>
                    <a:gd name="T69" fmla="*/ 35 h 49"/>
                    <a:gd name="T70" fmla="*/ 106 w 119"/>
                    <a:gd name="T71" fmla="*/ 39 h 49"/>
                    <a:gd name="T72" fmla="*/ 103 w 119"/>
                    <a:gd name="T73" fmla="*/ 42 h 49"/>
                    <a:gd name="T74" fmla="*/ 99 w 119"/>
                    <a:gd name="T75" fmla="*/ 44 h 49"/>
                    <a:gd name="T76" fmla="*/ 96 w 119"/>
                    <a:gd name="T77" fmla="*/ 44 h 49"/>
                    <a:gd name="T78" fmla="*/ 92 w 119"/>
                    <a:gd name="T79" fmla="*/ 45 h 49"/>
                    <a:gd name="T80" fmla="*/ 89 w 119"/>
                    <a:gd name="T81" fmla="*/ 45 h 49"/>
                    <a:gd name="T82" fmla="*/ 82 w 119"/>
                    <a:gd name="T83" fmla="*/ 45 h 49"/>
                    <a:gd name="T84" fmla="*/ 81 w 119"/>
                    <a:gd name="T85" fmla="*/ 49 h 49"/>
                    <a:gd name="T86" fmla="*/ 77 w 119"/>
                    <a:gd name="T87" fmla="*/ 49 h 49"/>
                    <a:gd name="T88" fmla="*/ 74 w 119"/>
                    <a:gd name="T89" fmla="*/ 49 h 49"/>
                    <a:gd name="T90" fmla="*/ 69 w 119"/>
                    <a:gd name="T91" fmla="*/ 49 h 49"/>
                    <a:gd name="T92" fmla="*/ 65 w 119"/>
                    <a:gd name="T93" fmla="*/ 49 h 49"/>
                    <a:gd name="T94" fmla="*/ 60 w 119"/>
                    <a:gd name="T95" fmla="*/ 49 h 49"/>
                    <a:gd name="T96" fmla="*/ 55 w 119"/>
                    <a:gd name="T97" fmla="*/ 47 h 49"/>
                    <a:gd name="T98" fmla="*/ 50 w 119"/>
                    <a:gd name="T99" fmla="*/ 47 h 49"/>
                    <a:gd name="T100" fmla="*/ 45 w 119"/>
                    <a:gd name="T101" fmla="*/ 45 h 49"/>
                    <a:gd name="T102" fmla="*/ 42 w 119"/>
                    <a:gd name="T103" fmla="*/ 44 h 49"/>
                    <a:gd name="T104" fmla="*/ 40 w 119"/>
                    <a:gd name="T105" fmla="*/ 39 h 49"/>
                    <a:gd name="T106" fmla="*/ 38 w 119"/>
                    <a:gd name="T107" fmla="*/ 37 h 49"/>
                    <a:gd name="T108" fmla="*/ 35 w 119"/>
                    <a:gd name="T109" fmla="*/ 39 h 49"/>
                    <a:gd name="T110" fmla="*/ 28 w 119"/>
                    <a:gd name="T111" fmla="*/ 39 h 49"/>
                    <a:gd name="T112" fmla="*/ 25 w 119"/>
                    <a:gd name="T113" fmla="*/ 40 h 49"/>
                    <a:gd name="T114" fmla="*/ 22 w 119"/>
                    <a:gd name="T115" fmla="*/ 42 h 49"/>
                    <a:gd name="T116" fmla="*/ 17 w 119"/>
                    <a:gd name="T117" fmla="*/ 42 h 49"/>
                    <a:gd name="T118" fmla="*/ 13 w 119"/>
                    <a:gd name="T119" fmla="*/ 4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19" h="49">
                      <a:moveTo>
                        <a:pt x="13" y="40"/>
                      </a:moveTo>
                      <a:lnTo>
                        <a:pt x="11" y="40"/>
                      </a:lnTo>
                      <a:lnTo>
                        <a:pt x="10" y="42"/>
                      </a:lnTo>
                      <a:lnTo>
                        <a:pt x="8" y="39"/>
                      </a:lnTo>
                      <a:lnTo>
                        <a:pt x="5" y="37"/>
                      </a:lnTo>
                      <a:lnTo>
                        <a:pt x="0" y="30"/>
                      </a:lnTo>
                      <a:lnTo>
                        <a:pt x="3" y="29"/>
                      </a:lnTo>
                      <a:lnTo>
                        <a:pt x="5" y="29"/>
                      </a:lnTo>
                      <a:lnTo>
                        <a:pt x="8" y="29"/>
                      </a:lnTo>
                      <a:lnTo>
                        <a:pt x="8" y="30"/>
                      </a:lnTo>
                      <a:lnTo>
                        <a:pt x="11" y="32"/>
                      </a:lnTo>
                      <a:lnTo>
                        <a:pt x="13" y="32"/>
                      </a:lnTo>
                      <a:lnTo>
                        <a:pt x="15" y="30"/>
                      </a:lnTo>
                      <a:lnTo>
                        <a:pt x="17" y="29"/>
                      </a:lnTo>
                      <a:lnTo>
                        <a:pt x="20" y="29"/>
                      </a:lnTo>
                      <a:lnTo>
                        <a:pt x="23" y="30"/>
                      </a:lnTo>
                      <a:lnTo>
                        <a:pt x="27" y="30"/>
                      </a:lnTo>
                      <a:lnTo>
                        <a:pt x="30" y="29"/>
                      </a:lnTo>
                      <a:lnTo>
                        <a:pt x="32" y="27"/>
                      </a:lnTo>
                      <a:lnTo>
                        <a:pt x="35" y="27"/>
                      </a:lnTo>
                      <a:lnTo>
                        <a:pt x="38" y="27"/>
                      </a:lnTo>
                      <a:lnTo>
                        <a:pt x="42" y="27"/>
                      </a:lnTo>
                      <a:lnTo>
                        <a:pt x="44" y="25"/>
                      </a:lnTo>
                      <a:lnTo>
                        <a:pt x="47" y="25"/>
                      </a:lnTo>
                      <a:lnTo>
                        <a:pt x="49" y="25"/>
                      </a:lnTo>
                      <a:lnTo>
                        <a:pt x="50" y="25"/>
                      </a:lnTo>
                      <a:lnTo>
                        <a:pt x="52" y="29"/>
                      </a:lnTo>
                      <a:lnTo>
                        <a:pt x="54" y="27"/>
                      </a:lnTo>
                      <a:lnTo>
                        <a:pt x="54" y="25"/>
                      </a:lnTo>
                      <a:lnTo>
                        <a:pt x="52" y="22"/>
                      </a:lnTo>
                      <a:lnTo>
                        <a:pt x="52" y="17"/>
                      </a:lnTo>
                      <a:lnTo>
                        <a:pt x="54" y="15"/>
                      </a:lnTo>
                      <a:lnTo>
                        <a:pt x="57" y="13"/>
                      </a:lnTo>
                      <a:lnTo>
                        <a:pt x="59" y="12"/>
                      </a:lnTo>
                      <a:lnTo>
                        <a:pt x="60" y="10"/>
                      </a:lnTo>
                      <a:lnTo>
                        <a:pt x="62" y="8"/>
                      </a:lnTo>
                      <a:lnTo>
                        <a:pt x="64" y="7"/>
                      </a:lnTo>
                      <a:lnTo>
                        <a:pt x="65" y="7"/>
                      </a:lnTo>
                      <a:lnTo>
                        <a:pt x="67" y="5"/>
                      </a:lnTo>
                      <a:lnTo>
                        <a:pt x="70" y="5"/>
                      </a:lnTo>
                      <a:lnTo>
                        <a:pt x="72" y="7"/>
                      </a:lnTo>
                      <a:lnTo>
                        <a:pt x="76" y="7"/>
                      </a:lnTo>
                      <a:lnTo>
                        <a:pt x="79" y="7"/>
                      </a:lnTo>
                      <a:lnTo>
                        <a:pt x="81" y="7"/>
                      </a:lnTo>
                      <a:lnTo>
                        <a:pt x="84" y="3"/>
                      </a:lnTo>
                      <a:lnTo>
                        <a:pt x="86" y="2"/>
                      </a:lnTo>
                      <a:lnTo>
                        <a:pt x="87" y="0"/>
                      </a:lnTo>
                      <a:lnTo>
                        <a:pt x="89" y="0"/>
                      </a:lnTo>
                      <a:lnTo>
                        <a:pt x="91" y="0"/>
                      </a:lnTo>
                      <a:lnTo>
                        <a:pt x="94" y="0"/>
                      </a:lnTo>
                      <a:lnTo>
                        <a:pt x="96" y="0"/>
                      </a:lnTo>
                      <a:lnTo>
                        <a:pt x="99" y="2"/>
                      </a:lnTo>
                      <a:lnTo>
                        <a:pt x="103" y="3"/>
                      </a:lnTo>
                      <a:lnTo>
                        <a:pt x="108" y="3"/>
                      </a:lnTo>
                      <a:lnTo>
                        <a:pt x="113" y="3"/>
                      </a:lnTo>
                      <a:lnTo>
                        <a:pt x="114" y="5"/>
                      </a:lnTo>
                      <a:lnTo>
                        <a:pt x="114" y="8"/>
                      </a:lnTo>
                      <a:lnTo>
                        <a:pt x="116" y="15"/>
                      </a:lnTo>
                      <a:lnTo>
                        <a:pt x="119" y="17"/>
                      </a:lnTo>
                      <a:lnTo>
                        <a:pt x="119" y="18"/>
                      </a:lnTo>
                      <a:lnTo>
                        <a:pt x="119" y="20"/>
                      </a:lnTo>
                      <a:lnTo>
                        <a:pt x="119" y="22"/>
                      </a:lnTo>
                      <a:lnTo>
                        <a:pt x="118" y="25"/>
                      </a:lnTo>
                      <a:lnTo>
                        <a:pt x="113" y="25"/>
                      </a:lnTo>
                      <a:lnTo>
                        <a:pt x="109" y="25"/>
                      </a:lnTo>
                      <a:lnTo>
                        <a:pt x="109" y="27"/>
                      </a:lnTo>
                      <a:lnTo>
                        <a:pt x="111" y="29"/>
                      </a:lnTo>
                      <a:lnTo>
                        <a:pt x="109" y="32"/>
                      </a:lnTo>
                      <a:lnTo>
                        <a:pt x="108" y="34"/>
                      </a:lnTo>
                      <a:lnTo>
                        <a:pt x="108" y="35"/>
                      </a:lnTo>
                      <a:lnTo>
                        <a:pt x="108" y="39"/>
                      </a:lnTo>
                      <a:lnTo>
                        <a:pt x="106" y="39"/>
                      </a:lnTo>
                      <a:lnTo>
                        <a:pt x="103" y="40"/>
                      </a:lnTo>
                      <a:lnTo>
                        <a:pt x="103" y="42"/>
                      </a:lnTo>
                      <a:lnTo>
                        <a:pt x="99" y="42"/>
                      </a:lnTo>
                      <a:lnTo>
                        <a:pt x="99" y="44"/>
                      </a:lnTo>
                      <a:lnTo>
                        <a:pt x="97" y="44"/>
                      </a:lnTo>
                      <a:lnTo>
                        <a:pt x="96" y="44"/>
                      </a:lnTo>
                      <a:lnTo>
                        <a:pt x="94" y="44"/>
                      </a:lnTo>
                      <a:lnTo>
                        <a:pt x="92" y="45"/>
                      </a:lnTo>
                      <a:lnTo>
                        <a:pt x="91" y="45"/>
                      </a:lnTo>
                      <a:lnTo>
                        <a:pt x="89" y="45"/>
                      </a:lnTo>
                      <a:lnTo>
                        <a:pt x="86" y="45"/>
                      </a:lnTo>
                      <a:lnTo>
                        <a:pt x="82" y="45"/>
                      </a:lnTo>
                      <a:lnTo>
                        <a:pt x="81" y="47"/>
                      </a:lnTo>
                      <a:lnTo>
                        <a:pt x="81" y="49"/>
                      </a:lnTo>
                      <a:lnTo>
                        <a:pt x="79" y="49"/>
                      </a:lnTo>
                      <a:lnTo>
                        <a:pt x="77" y="49"/>
                      </a:lnTo>
                      <a:lnTo>
                        <a:pt x="76" y="49"/>
                      </a:lnTo>
                      <a:lnTo>
                        <a:pt x="74" y="49"/>
                      </a:lnTo>
                      <a:lnTo>
                        <a:pt x="72" y="49"/>
                      </a:lnTo>
                      <a:lnTo>
                        <a:pt x="69" y="49"/>
                      </a:lnTo>
                      <a:lnTo>
                        <a:pt x="67" y="49"/>
                      </a:lnTo>
                      <a:lnTo>
                        <a:pt x="65" y="49"/>
                      </a:lnTo>
                      <a:lnTo>
                        <a:pt x="62" y="49"/>
                      </a:lnTo>
                      <a:lnTo>
                        <a:pt x="60" y="49"/>
                      </a:lnTo>
                      <a:lnTo>
                        <a:pt x="59" y="47"/>
                      </a:lnTo>
                      <a:lnTo>
                        <a:pt x="55" y="47"/>
                      </a:lnTo>
                      <a:lnTo>
                        <a:pt x="52" y="47"/>
                      </a:lnTo>
                      <a:lnTo>
                        <a:pt x="50" y="47"/>
                      </a:lnTo>
                      <a:lnTo>
                        <a:pt x="47" y="45"/>
                      </a:lnTo>
                      <a:lnTo>
                        <a:pt x="45" y="45"/>
                      </a:lnTo>
                      <a:lnTo>
                        <a:pt x="44" y="44"/>
                      </a:lnTo>
                      <a:lnTo>
                        <a:pt x="42" y="44"/>
                      </a:lnTo>
                      <a:lnTo>
                        <a:pt x="42" y="40"/>
                      </a:lnTo>
                      <a:lnTo>
                        <a:pt x="40" y="39"/>
                      </a:lnTo>
                      <a:lnTo>
                        <a:pt x="40" y="37"/>
                      </a:lnTo>
                      <a:lnTo>
                        <a:pt x="38" y="37"/>
                      </a:lnTo>
                      <a:lnTo>
                        <a:pt x="37" y="39"/>
                      </a:lnTo>
                      <a:lnTo>
                        <a:pt x="35" y="39"/>
                      </a:lnTo>
                      <a:lnTo>
                        <a:pt x="32" y="39"/>
                      </a:lnTo>
                      <a:lnTo>
                        <a:pt x="28" y="39"/>
                      </a:lnTo>
                      <a:lnTo>
                        <a:pt x="27" y="40"/>
                      </a:lnTo>
                      <a:lnTo>
                        <a:pt x="25" y="40"/>
                      </a:lnTo>
                      <a:lnTo>
                        <a:pt x="23" y="42"/>
                      </a:lnTo>
                      <a:lnTo>
                        <a:pt x="22" y="42"/>
                      </a:lnTo>
                      <a:lnTo>
                        <a:pt x="18" y="42"/>
                      </a:lnTo>
                      <a:lnTo>
                        <a:pt x="17" y="42"/>
                      </a:lnTo>
                      <a:lnTo>
                        <a:pt x="15" y="42"/>
                      </a:lnTo>
                      <a:lnTo>
                        <a:pt x="13" y="4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3" name="Freeform 397">
                  <a:extLst>
                    <a:ext uri="{FF2B5EF4-FFF2-40B4-BE49-F238E27FC236}">
                      <a16:creationId xmlns:a16="http://schemas.microsoft.com/office/drawing/2014/main" id="{F9AB9BE7-090B-C347-B290-B21CB2EF65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9" y="524"/>
                  <a:ext cx="119" cy="49"/>
                </a:xfrm>
                <a:custGeom>
                  <a:avLst/>
                  <a:gdLst>
                    <a:gd name="T0" fmla="*/ 11 w 119"/>
                    <a:gd name="T1" fmla="*/ 40 h 49"/>
                    <a:gd name="T2" fmla="*/ 8 w 119"/>
                    <a:gd name="T3" fmla="*/ 39 h 49"/>
                    <a:gd name="T4" fmla="*/ 0 w 119"/>
                    <a:gd name="T5" fmla="*/ 30 h 49"/>
                    <a:gd name="T6" fmla="*/ 5 w 119"/>
                    <a:gd name="T7" fmla="*/ 29 h 49"/>
                    <a:gd name="T8" fmla="*/ 8 w 119"/>
                    <a:gd name="T9" fmla="*/ 30 h 49"/>
                    <a:gd name="T10" fmla="*/ 13 w 119"/>
                    <a:gd name="T11" fmla="*/ 32 h 49"/>
                    <a:gd name="T12" fmla="*/ 17 w 119"/>
                    <a:gd name="T13" fmla="*/ 29 h 49"/>
                    <a:gd name="T14" fmla="*/ 23 w 119"/>
                    <a:gd name="T15" fmla="*/ 30 h 49"/>
                    <a:gd name="T16" fmla="*/ 30 w 119"/>
                    <a:gd name="T17" fmla="*/ 29 h 49"/>
                    <a:gd name="T18" fmla="*/ 35 w 119"/>
                    <a:gd name="T19" fmla="*/ 27 h 49"/>
                    <a:gd name="T20" fmla="*/ 42 w 119"/>
                    <a:gd name="T21" fmla="*/ 27 h 49"/>
                    <a:gd name="T22" fmla="*/ 47 w 119"/>
                    <a:gd name="T23" fmla="*/ 25 h 49"/>
                    <a:gd name="T24" fmla="*/ 50 w 119"/>
                    <a:gd name="T25" fmla="*/ 25 h 49"/>
                    <a:gd name="T26" fmla="*/ 54 w 119"/>
                    <a:gd name="T27" fmla="*/ 27 h 49"/>
                    <a:gd name="T28" fmla="*/ 52 w 119"/>
                    <a:gd name="T29" fmla="*/ 22 h 49"/>
                    <a:gd name="T30" fmla="*/ 54 w 119"/>
                    <a:gd name="T31" fmla="*/ 15 h 49"/>
                    <a:gd name="T32" fmla="*/ 59 w 119"/>
                    <a:gd name="T33" fmla="*/ 12 h 49"/>
                    <a:gd name="T34" fmla="*/ 62 w 119"/>
                    <a:gd name="T35" fmla="*/ 8 h 49"/>
                    <a:gd name="T36" fmla="*/ 65 w 119"/>
                    <a:gd name="T37" fmla="*/ 7 h 49"/>
                    <a:gd name="T38" fmla="*/ 70 w 119"/>
                    <a:gd name="T39" fmla="*/ 5 h 49"/>
                    <a:gd name="T40" fmla="*/ 76 w 119"/>
                    <a:gd name="T41" fmla="*/ 7 h 49"/>
                    <a:gd name="T42" fmla="*/ 81 w 119"/>
                    <a:gd name="T43" fmla="*/ 7 h 49"/>
                    <a:gd name="T44" fmla="*/ 86 w 119"/>
                    <a:gd name="T45" fmla="*/ 2 h 49"/>
                    <a:gd name="T46" fmla="*/ 89 w 119"/>
                    <a:gd name="T47" fmla="*/ 0 h 49"/>
                    <a:gd name="T48" fmla="*/ 94 w 119"/>
                    <a:gd name="T49" fmla="*/ 0 h 49"/>
                    <a:gd name="T50" fmla="*/ 99 w 119"/>
                    <a:gd name="T51" fmla="*/ 2 h 49"/>
                    <a:gd name="T52" fmla="*/ 108 w 119"/>
                    <a:gd name="T53" fmla="*/ 3 h 49"/>
                    <a:gd name="T54" fmla="*/ 114 w 119"/>
                    <a:gd name="T55" fmla="*/ 5 h 49"/>
                    <a:gd name="T56" fmla="*/ 116 w 119"/>
                    <a:gd name="T57" fmla="*/ 15 h 49"/>
                    <a:gd name="T58" fmla="*/ 119 w 119"/>
                    <a:gd name="T59" fmla="*/ 18 h 49"/>
                    <a:gd name="T60" fmla="*/ 119 w 119"/>
                    <a:gd name="T61" fmla="*/ 22 h 49"/>
                    <a:gd name="T62" fmla="*/ 113 w 119"/>
                    <a:gd name="T63" fmla="*/ 25 h 49"/>
                    <a:gd name="T64" fmla="*/ 109 w 119"/>
                    <a:gd name="T65" fmla="*/ 27 h 49"/>
                    <a:gd name="T66" fmla="*/ 109 w 119"/>
                    <a:gd name="T67" fmla="*/ 32 h 49"/>
                    <a:gd name="T68" fmla="*/ 108 w 119"/>
                    <a:gd name="T69" fmla="*/ 35 h 49"/>
                    <a:gd name="T70" fmla="*/ 106 w 119"/>
                    <a:gd name="T71" fmla="*/ 39 h 49"/>
                    <a:gd name="T72" fmla="*/ 103 w 119"/>
                    <a:gd name="T73" fmla="*/ 42 h 49"/>
                    <a:gd name="T74" fmla="*/ 99 w 119"/>
                    <a:gd name="T75" fmla="*/ 44 h 49"/>
                    <a:gd name="T76" fmla="*/ 96 w 119"/>
                    <a:gd name="T77" fmla="*/ 44 h 49"/>
                    <a:gd name="T78" fmla="*/ 92 w 119"/>
                    <a:gd name="T79" fmla="*/ 45 h 49"/>
                    <a:gd name="T80" fmla="*/ 89 w 119"/>
                    <a:gd name="T81" fmla="*/ 45 h 49"/>
                    <a:gd name="T82" fmla="*/ 82 w 119"/>
                    <a:gd name="T83" fmla="*/ 45 h 49"/>
                    <a:gd name="T84" fmla="*/ 81 w 119"/>
                    <a:gd name="T85" fmla="*/ 49 h 49"/>
                    <a:gd name="T86" fmla="*/ 77 w 119"/>
                    <a:gd name="T87" fmla="*/ 49 h 49"/>
                    <a:gd name="T88" fmla="*/ 74 w 119"/>
                    <a:gd name="T89" fmla="*/ 49 h 49"/>
                    <a:gd name="T90" fmla="*/ 69 w 119"/>
                    <a:gd name="T91" fmla="*/ 49 h 49"/>
                    <a:gd name="T92" fmla="*/ 65 w 119"/>
                    <a:gd name="T93" fmla="*/ 49 h 49"/>
                    <a:gd name="T94" fmla="*/ 60 w 119"/>
                    <a:gd name="T95" fmla="*/ 49 h 49"/>
                    <a:gd name="T96" fmla="*/ 55 w 119"/>
                    <a:gd name="T97" fmla="*/ 47 h 49"/>
                    <a:gd name="T98" fmla="*/ 50 w 119"/>
                    <a:gd name="T99" fmla="*/ 47 h 49"/>
                    <a:gd name="T100" fmla="*/ 45 w 119"/>
                    <a:gd name="T101" fmla="*/ 45 h 49"/>
                    <a:gd name="T102" fmla="*/ 42 w 119"/>
                    <a:gd name="T103" fmla="*/ 44 h 49"/>
                    <a:gd name="T104" fmla="*/ 40 w 119"/>
                    <a:gd name="T105" fmla="*/ 39 h 49"/>
                    <a:gd name="T106" fmla="*/ 38 w 119"/>
                    <a:gd name="T107" fmla="*/ 37 h 49"/>
                    <a:gd name="T108" fmla="*/ 35 w 119"/>
                    <a:gd name="T109" fmla="*/ 39 h 49"/>
                    <a:gd name="T110" fmla="*/ 28 w 119"/>
                    <a:gd name="T111" fmla="*/ 39 h 49"/>
                    <a:gd name="T112" fmla="*/ 25 w 119"/>
                    <a:gd name="T113" fmla="*/ 40 h 49"/>
                    <a:gd name="T114" fmla="*/ 22 w 119"/>
                    <a:gd name="T115" fmla="*/ 42 h 49"/>
                    <a:gd name="T116" fmla="*/ 17 w 119"/>
                    <a:gd name="T117" fmla="*/ 42 h 49"/>
                    <a:gd name="T118" fmla="*/ 13 w 119"/>
                    <a:gd name="T119" fmla="*/ 4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19" h="49">
                      <a:moveTo>
                        <a:pt x="13" y="40"/>
                      </a:moveTo>
                      <a:lnTo>
                        <a:pt x="11" y="40"/>
                      </a:lnTo>
                      <a:lnTo>
                        <a:pt x="10" y="42"/>
                      </a:lnTo>
                      <a:lnTo>
                        <a:pt x="8" y="39"/>
                      </a:lnTo>
                      <a:lnTo>
                        <a:pt x="5" y="37"/>
                      </a:lnTo>
                      <a:lnTo>
                        <a:pt x="0" y="30"/>
                      </a:lnTo>
                      <a:lnTo>
                        <a:pt x="3" y="29"/>
                      </a:lnTo>
                      <a:lnTo>
                        <a:pt x="5" y="29"/>
                      </a:lnTo>
                      <a:lnTo>
                        <a:pt x="8" y="29"/>
                      </a:lnTo>
                      <a:lnTo>
                        <a:pt x="8" y="30"/>
                      </a:lnTo>
                      <a:lnTo>
                        <a:pt x="11" y="32"/>
                      </a:lnTo>
                      <a:lnTo>
                        <a:pt x="13" y="32"/>
                      </a:lnTo>
                      <a:lnTo>
                        <a:pt x="15" y="30"/>
                      </a:lnTo>
                      <a:lnTo>
                        <a:pt x="17" y="29"/>
                      </a:lnTo>
                      <a:lnTo>
                        <a:pt x="20" y="29"/>
                      </a:lnTo>
                      <a:lnTo>
                        <a:pt x="23" y="30"/>
                      </a:lnTo>
                      <a:lnTo>
                        <a:pt x="27" y="30"/>
                      </a:lnTo>
                      <a:lnTo>
                        <a:pt x="30" y="29"/>
                      </a:lnTo>
                      <a:lnTo>
                        <a:pt x="32" y="27"/>
                      </a:lnTo>
                      <a:lnTo>
                        <a:pt x="35" y="27"/>
                      </a:lnTo>
                      <a:lnTo>
                        <a:pt x="38" y="27"/>
                      </a:lnTo>
                      <a:lnTo>
                        <a:pt x="42" y="27"/>
                      </a:lnTo>
                      <a:lnTo>
                        <a:pt x="44" y="25"/>
                      </a:lnTo>
                      <a:lnTo>
                        <a:pt x="47" y="25"/>
                      </a:lnTo>
                      <a:lnTo>
                        <a:pt x="49" y="25"/>
                      </a:lnTo>
                      <a:lnTo>
                        <a:pt x="50" y="25"/>
                      </a:lnTo>
                      <a:lnTo>
                        <a:pt x="52" y="29"/>
                      </a:lnTo>
                      <a:lnTo>
                        <a:pt x="54" y="27"/>
                      </a:lnTo>
                      <a:lnTo>
                        <a:pt x="54" y="25"/>
                      </a:lnTo>
                      <a:lnTo>
                        <a:pt x="52" y="22"/>
                      </a:lnTo>
                      <a:lnTo>
                        <a:pt x="52" y="17"/>
                      </a:lnTo>
                      <a:lnTo>
                        <a:pt x="54" y="15"/>
                      </a:lnTo>
                      <a:lnTo>
                        <a:pt x="57" y="13"/>
                      </a:lnTo>
                      <a:lnTo>
                        <a:pt x="59" y="12"/>
                      </a:lnTo>
                      <a:lnTo>
                        <a:pt x="60" y="10"/>
                      </a:lnTo>
                      <a:lnTo>
                        <a:pt x="62" y="8"/>
                      </a:lnTo>
                      <a:lnTo>
                        <a:pt x="64" y="7"/>
                      </a:lnTo>
                      <a:lnTo>
                        <a:pt x="65" y="7"/>
                      </a:lnTo>
                      <a:lnTo>
                        <a:pt x="67" y="5"/>
                      </a:lnTo>
                      <a:lnTo>
                        <a:pt x="70" y="5"/>
                      </a:lnTo>
                      <a:lnTo>
                        <a:pt x="72" y="7"/>
                      </a:lnTo>
                      <a:lnTo>
                        <a:pt x="76" y="7"/>
                      </a:lnTo>
                      <a:lnTo>
                        <a:pt x="79" y="7"/>
                      </a:lnTo>
                      <a:lnTo>
                        <a:pt x="81" y="7"/>
                      </a:lnTo>
                      <a:lnTo>
                        <a:pt x="84" y="3"/>
                      </a:lnTo>
                      <a:lnTo>
                        <a:pt x="86" y="2"/>
                      </a:lnTo>
                      <a:lnTo>
                        <a:pt x="87" y="0"/>
                      </a:lnTo>
                      <a:lnTo>
                        <a:pt x="89" y="0"/>
                      </a:lnTo>
                      <a:lnTo>
                        <a:pt x="91" y="0"/>
                      </a:lnTo>
                      <a:lnTo>
                        <a:pt x="94" y="0"/>
                      </a:lnTo>
                      <a:lnTo>
                        <a:pt x="96" y="0"/>
                      </a:lnTo>
                      <a:lnTo>
                        <a:pt x="99" y="2"/>
                      </a:lnTo>
                      <a:lnTo>
                        <a:pt x="103" y="3"/>
                      </a:lnTo>
                      <a:lnTo>
                        <a:pt x="108" y="3"/>
                      </a:lnTo>
                      <a:lnTo>
                        <a:pt x="113" y="3"/>
                      </a:lnTo>
                      <a:lnTo>
                        <a:pt x="114" y="5"/>
                      </a:lnTo>
                      <a:lnTo>
                        <a:pt x="114" y="8"/>
                      </a:lnTo>
                      <a:lnTo>
                        <a:pt x="116" y="15"/>
                      </a:lnTo>
                      <a:lnTo>
                        <a:pt x="119" y="17"/>
                      </a:lnTo>
                      <a:lnTo>
                        <a:pt x="119" y="18"/>
                      </a:lnTo>
                      <a:lnTo>
                        <a:pt x="119" y="20"/>
                      </a:lnTo>
                      <a:lnTo>
                        <a:pt x="119" y="22"/>
                      </a:lnTo>
                      <a:lnTo>
                        <a:pt x="118" y="25"/>
                      </a:lnTo>
                      <a:lnTo>
                        <a:pt x="113" y="25"/>
                      </a:lnTo>
                      <a:lnTo>
                        <a:pt x="109" y="25"/>
                      </a:lnTo>
                      <a:lnTo>
                        <a:pt x="109" y="27"/>
                      </a:lnTo>
                      <a:lnTo>
                        <a:pt x="111" y="29"/>
                      </a:lnTo>
                      <a:lnTo>
                        <a:pt x="109" y="32"/>
                      </a:lnTo>
                      <a:lnTo>
                        <a:pt x="108" y="34"/>
                      </a:lnTo>
                      <a:lnTo>
                        <a:pt x="108" y="35"/>
                      </a:lnTo>
                      <a:lnTo>
                        <a:pt x="108" y="39"/>
                      </a:lnTo>
                      <a:lnTo>
                        <a:pt x="106" y="39"/>
                      </a:lnTo>
                      <a:lnTo>
                        <a:pt x="103" y="40"/>
                      </a:lnTo>
                      <a:lnTo>
                        <a:pt x="103" y="42"/>
                      </a:lnTo>
                      <a:lnTo>
                        <a:pt x="99" y="42"/>
                      </a:lnTo>
                      <a:lnTo>
                        <a:pt x="99" y="44"/>
                      </a:lnTo>
                      <a:lnTo>
                        <a:pt x="97" y="44"/>
                      </a:lnTo>
                      <a:lnTo>
                        <a:pt x="96" y="44"/>
                      </a:lnTo>
                      <a:lnTo>
                        <a:pt x="94" y="44"/>
                      </a:lnTo>
                      <a:lnTo>
                        <a:pt x="92" y="45"/>
                      </a:lnTo>
                      <a:lnTo>
                        <a:pt x="91" y="45"/>
                      </a:lnTo>
                      <a:lnTo>
                        <a:pt x="89" y="45"/>
                      </a:lnTo>
                      <a:lnTo>
                        <a:pt x="86" y="45"/>
                      </a:lnTo>
                      <a:lnTo>
                        <a:pt x="82" y="45"/>
                      </a:lnTo>
                      <a:lnTo>
                        <a:pt x="81" y="47"/>
                      </a:lnTo>
                      <a:lnTo>
                        <a:pt x="81" y="49"/>
                      </a:lnTo>
                      <a:lnTo>
                        <a:pt x="79" y="49"/>
                      </a:lnTo>
                      <a:lnTo>
                        <a:pt x="77" y="49"/>
                      </a:lnTo>
                      <a:lnTo>
                        <a:pt x="76" y="49"/>
                      </a:lnTo>
                      <a:lnTo>
                        <a:pt x="74" y="49"/>
                      </a:lnTo>
                      <a:lnTo>
                        <a:pt x="72" y="49"/>
                      </a:lnTo>
                      <a:lnTo>
                        <a:pt x="69" y="49"/>
                      </a:lnTo>
                      <a:lnTo>
                        <a:pt x="67" y="49"/>
                      </a:lnTo>
                      <a:lnTo>
                        <a:pt x="65" y="49"/>
                      </a:lnTo>
                      <a:lnTo>
                        <a:pt x="62" y="49"/>
                      </a:lnTo>
                      <a:lnTo>
                        <a:pt x="60" y="49"/>
                      </a:lnTo>
                      <a:lnTo>
                        <a:pt x="59" y="47"/>
                      </a:lnTo>
                      <a:lnTo>
                        <a:pt x="55" y="47"/>
                      </a:lnTo>
                      <a:lnTo>
                        <a:pt x="52" y="47"/>
                      </a:lnTo>
                      <a:lnTo>
                        <a:pt x="50" y="47"/>
                      </a:lnTo>
                      <a:lnTo>
                        <a:pt x="47" y="45"/>
                      </a:lnTo>
                      <a:lnTo>
                        <a:pt x="45" y="45"/>
                      </a:lnTo>
                      <a:lnTo>
                        <a:pt x="44" y="44"/>
                      </a:lnTo>
                      <a:lnTo>
                        <a:pt x="42" y="44"/>
                      </a:lnTo>
                      <a:lnTo>
                        <a:pt x="42" y="40"/>
                      </a:lnTo>
                      <a:lnTo>
                        <a:pt x="40" y="39"/>
                      </a:lnTo>
                      <a:lnTo>
                        <a:pt x="40" y="37"/>
                      </a:lnTo>
                      <a:lnTo>
                        <a:pt x="38" y="37"/>
                      </a:lnTo>
                      <a:lnTo>
                        <a:pt x="37" y="39"/>
                      </a:lnTo>
                      <a:lnTo>
                        <a:pt x="35" y="39"/>
                      </a:lnTo>
                      <a:lnTo>
                        <a:pt x="32" y="39"/>
                      </a:lnTo>
                      <a:lnTo>
                        <a:pt x="28" y="39"/>
                      </a:lnTo>
                      <a:lnTo>
                        <a:pt x="27" y="40"/>
                      </a:lnTo>
                      <a:lnTo>
                        <a:pt x="25" y="40"/>
                      </a:lnTo>
                      <a:lnTo>
                        <a:pt x="23" y="42"/>
                      </a:lnTo>
                      <a:lnTo>
                        <a:pt x="22" y="42"/>
                      </a:lnTo>
                      <a:lnTo>
                        <a:pt x="18" y="42"/>
                      </a:lnTo>
                      <a:lnTo>
                        <a:pt x="17" y="42"/>
                      </a:lnTo>
                      <a:lnTo>
                        <a:pt x="15" y="42"/>
                      </a:lnTo>
                      <a:lnTo>
                        <a:pt x="13" y="4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37" name="Group 1636">
                <a:extLst>
                  <a:ext uri="{FF2B5EF4-FFF2-40B4-BE49-F238E27FC236}">
                    <a16:creationId xmlns:a16="http://schemas.microsoft.com/office/drawing/2014/main" id="{FA4C3978-731E-9F4A-B6C3-D000F92327B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9" y="554"/>
                <a:ext cx="10" cy="12"/>
                <a:chOff x="309" y="554"/>
                <a:chExt cx="10" cy="12"/>
              </a:xfrm>
            </p:grpSpPr>
            <p:sp>
              <p:nvSpPr>
                <p:cNvPr id="2020" name="Freeform 394">
                  <a:extLst>
                    <a:ext uri="{FF2B5EF4-FFF2-40B4-BE49-F238E27FC236}">
                      <a16:creationId xmlns:a16="http://schemas.microsoft.com/office/drawing/2014/main" id="{9C683BAE-075E-2A49-B9D3-3A74CEFF3F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9" y="554"/>
                  <a:ext cx="10" cy="12"/>
                </a:xfrm>
                <a:custGeom>
                  <a:avLst/>
                  <a:gdLst>
                    <a:gd name="T0" fmla="*/ 10 w 10"/>
                    <a:gd name="T1" fmla="*/ 12 h 12"/>
                    <a:gd name="T2" fmla="*/ 6 w 10"/>
                    <a:gd name="T3" fmla="*/ 10 h 12"/>
                    <a:gd name="T4" fmla="*/ 5 w 10"/>
                    <a:gd name="T5" fmla="*/ 10 h 12"/>
                    <a:gd name="T6" fmla="*/ 3 w 10"/>
                    <a:gd name="T7" fmla="*/ 9 h 12"/>
                    <a:gd name="T8" fmla="*/ 1 w 10"/>
                    <a:gd name="T9" fmla="*/ 7 h 12"/>
                    <a:gd name="T10" fmla="*/ 0 w 10"/>
                    <a:gd name="T11" fmla="*/ 5 h 12"/>
                    <a:gd name="T12" fmla="*/ 1 w 10"/>
                    <a:gd name="T13" fmla="*/ 4 h 12"/>
                    <a:gd name="T14" fmla="*/ 1 w 10"/>
                    <a:gd name="T15" fmla="*/ 2 h 12"/>
                    <a:gd name="T16" fmla="*/ 0 w 10"/>
                    <a:gd name="T17" fmla="*/ 0 h 12"/>
                    <a:gd name="T18" fmla="*/ 5 w 10"/>
                    <a:gd name="T19" fmla="*/ 7 h 12"/>
                    <a:gd name="T20" fmla="*/ 8 w 10"/>
                    <a:gd name="T21" fmla="*/ 9 h 12"/>
                    <a:gd name="T22" fmla="*/ 10 w 10"/>
                    <a:gd name="T2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" h="12">
                      <a:moveTo>
                        <a:pt x="10" y="12"/>
                      </a:moveTo>
                      <a:lnTo>
                        <a:pt x="6" y="10"/>
                      </a:lnTo>
                      <a:lnTo>
                        <a:pt x="5" y="10"/>
                      </a:lnTo>
                      <a:lnTo>
                        <a:pt x="3" y="9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1" y="4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5" y="7"/>
                      </a:lnTo>
                      <a:lnTo>
                        <a:pt x="8" y="9"/>
                      </a:lnTo>
                      <a:lnTo>
                        <a:pt x="10" y="1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1" name="Freeform 395">
                  <a:extLst>
                    <a:ext uri="{FF2B5EF4-FFF2-40B4-BE49-F238E27FC236}">
                      <a16:creationId xmlns:a16="http://schemas.microsoft.com/office/drawing/2014/main" id="{9B560323-493C-5E45-9295-ED96F089CA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9" y="554"/>
                  <a:ext cx="10" cy="12"/>
                </a:xfrm>
                <a:custGeom>
                  <a:avLst/>
                  <a:gdLst>
                    <a:gd name="T0" fmla="*/ 10 w 10"/>
                    <a:gd name="T1" fmla="*/ 12 h 12"/>
                    <a:gd name="T2" fmla="*/ 6 w 10"/>
                    <a:gd name="T3" fmla="*/ 10 h 12"/>
                    <a:gd name="T4" fmla="*/ 5 w 10"/>
                    <a:gd name="T5" fmla="*/ 10 h 12"/>
                    <a:gd name="T6" fmla="*/ 3 w 10"/>
                    <a:gd name="T7" fmla="*/ 9 h 12"/>
                    <a:gd name="T8" fmla="*/ 1 w 10"/>
                    <a:gd name="T9" fmla="*/ 7 h 12"/>
                    <a:gd name="T10" fmla="*/ 0 w 10"/>
                    <a:gd name="T11" fmla="*/ 5 h 12"/>
                    <a:gd name="T12" fmla="*/ 1 w 10"/>
                    <a:gd name="T13" fmla="*/ 4 h 12"/>
                    <a:gd name="T14" fmla="*/ 1 w 10"/>
                    <a:gd name="T15" fmla="*/ 2 h 12"/>
                    <a:gd name="T16" fmla="*/ 0 w 10"/>
                    <a:gd name="T17" fmla="*/ 0 h 12"/>
                    <a:gd name="T18" fmla="*/ 5 w 10"/>
                    <a:gd name="T19" fmla="*/ 7 h 12"/>
                    <a:gd name="T20" fmla="*/ 8 w 10"/>
                    <a:gd name="T21" fmla="*/ 9 h 12"/>
                    <a:gd name="T22" fmla="*/ 10 w 10"/>
                    <a:gd name="T2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" h="12">
                      <a:moveTo>
                        <a:pt x="10" y="12"/>
                      </a:moveTo>
                      <a:lnTo>
                        <a:pt x="6" y="10"/>
                      </a:lnTo>
                      <a:lnTo>
                        <a:pt x="5" y="10"/>
                      </a:lnTo>
                      <a:lnTo>
                        <a:pt x="3" y="9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1" y="4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5" y="7"/>
                      </a:lnTo>
                      <a:lnTo>
                        <a:pt x="8" y="9"/>
                      </a:lnTo>
                      <a:lnTo>
                        <a:pt x="10" y="1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38" name="Group 1637">
                <a:extLst>
                  <a:ext uri="{FF2B5EF4-FFF2-40B4-BE49-F238E27FC236}">
                    <a16:creationId xmlns:a16="http://schemas.microsoft.com/office/drawing/2014/main" id="{3805EB3D-3C4E-344B-855B-77543A4A896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62" y="649"/>
                <a:ext cx="27" cy="55"/>
                <a:chOff x="462" y="649"/>
                <a:chExt cx="27" cy="55"/>
              </a:xfrm>
            </p:grpSpPr>
            <p:sp>
              <p:nvSpPr>
                <p:cNvPr id="2018" name="Freeform 392">
                  <a:extLst>
                    <a:ext uri="{FF2B5EF4-FFF2-40B4-BE49-F238E27FC236}">
                      <a16:creationId xmlns:a16="http://schemas.microsoft.com/office/drawing/2014/main" id="{1B5C570B-58E3-4E4B-9934-4D20C5C9D0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2" y="649"/>
                  <a:ext cx="27" cy="55"/>
                </a:xfrm>
                <a:custGeom>
                  <a:avLst/>
                  <a:gdLst>
                    <a:gd name="T0" fmla="*/ 27 w 27"/>
                    <a:gd name="T1" fmla="*/ 33 h 55"/>
                    <a:gd name="T2" fmla="*/ 25 w 27"/>
                    <a:gd name="T3" fmla="*/ 32 h 55"/>
                    <a:gd name="T4" fmla="*/ 22 w 27"/>
                    <a:gd name="T5" fmla="*/ 28 h 55"/>
                    <a:gd name="T6" fmla="*/ 19 w 27"/>
                    <a:gd name="T7" fmla="*/ 23 h 55"/>
                    <a:gd name="T8" fmla="*/ 19 w 27"/>
                    <a:gd name="T9" fmla="*/ 20 h 55"/>
                    <a:gd name="T10" fmla="*/ 20 w 27"/>
                    <a:gd name="T11" fmla="*/ 15 h 55"/>
                    <a:gd name="T12" fmla="*/ 20 w 27"/>
                    <a:gd name="T13" fmla="*/ 10 h 55"/>
                    <a:gd name="T14" fmla="*/ 17 w 27"/>
                    <a:gd name="T15" fmla="*/ 6 h 55"/>
                    <a:gd name="T16" fmla="*/ 15 w 27"/>
                    <a:gd name="T17" fmla="*/ 5 h 55"/>
                    <a:gd name="T18" fmla="*/ 14 w 27"/>
                    <a:gd name="T19" fmla="*/ 1 h 55"/>
                    <a:gd name="T20" fmla="*/ 12 w 27"/>
                    <a:gd name="T21" fmla="*/ 0 h 55"/>
                    <a:gd name="T22" fmla="*/ 7 w 27"/>
                    <a:gd name="T23" fmla="*/ 0 h 55"/>
                    <a:gd name="T24" fmla="*/ 3 w 27"/>
                    <a:gd name="T25" fmla="*/ 1 h 55"/>
                    <a:gd name="T26" fmla="*/ 2 w 27"/>
                    <a:gd name="T27" fmla="*/ 5 h 55"/>
                    <a:gd name="T28" fmla="*/ 2 w 27"/>
                    <a:gd name="T29" fmla="*/ 8 h 55"/>
                    <a:gd name="T30" fmla="*/ 2 w 27"/>
                    <a:gd name="T31" fmla="*/ 10 h 55"/>
                    <a:gd name="T32" fmla="*/ 0 w 27"/>
                    <a:gd name="T33" fmla="*/ 15 h 55"/>
                    <a:gd name="T34" fmla="*/ 3 w 27"/>
                    <a:gd name="T35" fmla="*/ 15 h 55"/>
                    <a:gd name="T36" fmla="*/ 3 w 27"/>
                    <a:gd name="T37" fmla="*/ 17 h 55"/>
                    <a:gd name="T38" fmla="*/ 3 w 27"/>
                    <a:gd name="T39" fmla="*/ 20 h 55"/>
                    <a:gd name="T40" fmla="*/ 2 w 27"/>
                    <a:gd name="T41" fmla="*/ 22 h 55"/>
                    <a:gd name="T42" fmla="*/ 2 w 27"/>
                    <a:gd name="T43" fmla="*/ 23 h 55"/>
                    <a:gd name="T44" fmla="*/ 2 w 27"/>
                    <a:gd name="T45" fmla="*/ 25 h 55"/>
                    <a:gd name="T46" fmla="*/ 3 w 27"/>
                    <a:gd name="T47" fmla="*/ 27 h 55"/>
                    <a:gd name="T48" fmla="*/ 2 w 27"/>
                    <a:gd name="T49" fmla="*/ 30 h 55"/>
                    <a:gd name="T50" fmla="*/ 2 w 27"/>
                    <a:gd name="T51" fmla="*/ 32 h 55"/>
                    <a:gd name="T52" fmla="*/ 0 w 27"/>
                    <a:gd name="T53" fmla="*/ 35 h 55"/>
                    <a:gd name="T54" fmla="*/ 2 w 27"/>
                    <a:gd name="T55" fmla="*/ 38 h 55"/>
                    <a:gd name="T56" fmla="*/ 2 w 27"/>
                    <a:gd name="T57" fmla="*/ 42 h 55"/>
                    <a:gd name="T58" fmla="*/ 0 w 27"/>
                    <a:gd name="T59" fmla="*/ 42 h 55"/>
                    <a:gd name="T60" fmla="*/ 2 w 27"/>
                    <a:gd name="T61" fmla="*/ 44 h 55"/>
                    <a:gd name="T62" fmla="*/ 3 w 27"/>
                    <a:gd name="T63" fmla="*/ 47 h 55"/>
                    <a:gd name="T64" fmla="*/ 9 w 27"/>
                    <a:gd name="T65" fmla="*/ 49 h 55"/>
                    <a:gd name="T66" fmla="*/ 10 w 27"/>
                    <a:gd name="T67" fmla="*/ 52 h 55"/>
                    <a:gd name="T68" fmla="*/ 10 w 27"/>
                    <a:gd name="T69" fmla="*/ 54 h 55"/>
                    <a:gd name="T70" fmla="*/ 14 w 27"/>
                    <a:gd name="T71" fmla="*/ 55 h 55"/>
                    <a:gd name="T72" fmla="*/ 17 w 27"/>
                    <a:gd name="T73" fmla="*/ 54 h 55"/>
                    <a:gd name="T74" fmla="*/ 17 w 27"/>
                    <a:gd name="T75" fmla="*/ 52 h 55"/>
                    <a:gd name="T76" fmla="*/ 19 w 27"/>
                    <a:gd name="T77" fmla="*/ 49 h 55"/>
                    <a:gd name="T78" fmla="*/ 20 w 27"/>
                    <a:gd name="T79" fmla="*/ 47 h 55"/>
                    <a:gd name="T80" fmla="*/ 24 w 27"/>
                    <a:gd name="T81" fmla="*/ 44 h 55"/>
                    <a:gd name="T82" fmla="*/ 27 w 27"/>
                    <a:gd name="T83" fmla="*/ 40 h 55"/>
                    <a:gd name="T84" fmla="*/ 27 w 27"/>
                    <a:gd name="T85" fmla="*/ 37 h 55"/>
                    <a:gd name="T86" fmla="*/ 27 w 27"/>
                    <a:gd name="T87" fmla="*/ 33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7" h="55">
                      <a:moveTo>
                        <a:pt x="27" y="33"/>
                      </a:moveTo>
                      <a:lnTo>
                        <a:pt x="25" y="32"/>
                      </a:lnTo>
                      <a:lnTo>
                        <a:pt x="22" y="28"/>
                      </a:lnTo>
                      <a:lnTo>
                        <a:pt x="19" y="23"/>
                      </a:lnTo>
                      <a:lnTo>
                        <a:pt x="19" y="20"/>
                      </a:lnTo>
                      <a:lnTo>
                        <a:pt x="20" y="15"/>
                      </a:lnTo>
                      <a:lnTo>
                        <a:pt x="20" y="10"/>
                      </a:lnTo>
                      <a:lnTo>
                        <a:pt x="17" y="6"/>
                      </a:lnTo>
                      <a:lnTo>
                        <a:pt x="15" y="5"/>
                      </a:lnTo>
                      <a:lnTo>
                        <a:pt x="14" y="1"/>
                      </a:lnTo>
                      <a:lnTo>
                        <a:pt x="12" y="0"/>
                      </a:lnTo>
                      <a:lnTo>
                        <a:pt x="7" y="0"/>
                      </a:lnTo>
                      <a:lnTo>
                        <a:pt x="3" y="1"/>
                      </a:lnTo>
                      <a:lnTo>
                        <a:pt x="2" y="5"/>
                      </a:lnTo>
                      <a:lnTo>
                        <a:pt x="2" y="8"/>
                      </a:lnTo>
                      <a:lnTo>
                        <a:pt x="2" y="10"/>
                      </a:lnTo>
                      <a:lnTo>
                        <a:pt x="0" y="15"/>
                      </a:lnTo>
                      <a:lnTo>
                        <a:pt x="3" y="15"/>
                      </a:lnTo>
                      <a:lnTo>
                        <a:pt x="3" y="17"/>
                      </a:lnTo>
                      <a:lnTo>
                        <a:pt x="3" y="20"/>
                      </a:lnTo>
                      <a:lnTo>
                        <a:pt x="2" y="22"/>
                      </a:lnTo>
                      <a:lnTo>
                        <a:pt x="2" y="23"/>
                      </a:lnTo>
                      <a:lnTo>
                        <a:pt x="2" y="25"/>
                      </a:lnTo>
                      <a:lnTo>
                        <a:pt x="3" y="27"/>
                      </a:lnTo>
                      <a:lnTo>
                        <a:pt x="2" y="30"/>
                      </a:lnTo>
                      <a:lnTo>
                        <a:pt x="2" y="32"/>
                      </a:lnTo>
                      <a:lnTo>
                        <a:pt x="0" y="35"/>
                      </a:lnTo>
                      <a:lnTo>
                        <a:pt x="2" y="38"/>
                      </a:lnTo>
                      <a:lnTo>
                        <a:pt x="2" y="42"/>
                      </a:lnTo>
                      <a:lnTo>
                        <a:pt x="0" y="42"/>
                      </a:lnTo>
                      <a:lnTo>
                        <a:pt x="2" y="44"/>
                      </a:lnTo>
                      <a:lnTo>
                        <a:pt x="3" y="47"/>
                      </a:lnTo>
                      <a:lnTo>
                        <a:pt x="9" y="49"/>
                      </a:lnTo>
                      <a:lnTo>
                        <a:pt x="10" y="52"/>
                      </a:lnTo>
                      <a:lnTo>
                        <a:pt x="10" y="54"/>
                      </a:lnTo>
                      <a:lnTo>
                        <a:pt x="14" y="55"/>
                      </a:lnTo>
                      <a:lnTo>
                        <a:pt x="17" y="54"/>
                      </a:lnTo>
                      <a:lnTo>
                        <a:pt x="17" y="52"/>
                      </a:lnTo>
                      <a:lnTo>
                        <a:pt x="19" y="49"/>
                      </a:lnTo>
                      <a:lnTo>
                        <a:pt x="20" y="47"/>
                      </a:lnTo>
                      <a:lnTo>
                        <a:pt x="24" y="44"/>
                      </a:lnTo>
                      <a:lnTo>
                        <a:pt x="27" y="40"/>
                      </a:lnTo>
                      <a:lnTo>
                        <a:pt x="27" y="37"/>
                      </a:lnTo>
                      <a:lnTo>
                        <a:pt x="27" y="3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9" name="Freeform 393">
                  <a:extLst>
                    <a:ext uri="{FF2B5EF4-FFF2-40B4-BE49-F238E27FC236}">
                      <a16:creationId xmlns:a16="http://schemas.microsoft.com/office/drawing/2014/main" id="{37612B46-70B2-CB41-846A-DECB51FBF8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2" y="649"/>
                  <a:ext cx="27" cy="55"/>
                </a:xfrm>
                <a:custGeom>
                  <a:avLst/>
                  <a:gdLst>
                    <a:gd name="T0" fmla="*/ 27 w 27"/>
                    <a:gd name="T1" fmla="*/ 33 h 55"/>
                    <a:gd name="T2" fmla="*/ 25 w 27"/>
                    <a:gd name="T3" fmla="*/ 32 h 55"/>
                    <a:gd name="T4" fmla="*/ 22 w 27"/>
                    <a:gd name="T5" fmla="*/ 28 h 55"/>
                    <a:gd name="T6" fmla="*/ 19 w 27"/>
                    <a:gd name="T7" fmla="*/ 23 h 55"/>
                    <a:gd name="T8" fmla="*/ 19 w 27"/>
                    <a:gd name="T9" fmla="*/ 20 h 55"/>
                    <a:gd name="T10" fmla="*/ 20 w 27"/>
                    <a:gd name="T11" fmla="*/ 15 h 55"/>
                    <a:gd name="T12" fmla="*/ 20 w 27"/>
                    <a:gd name="T13" fmla="*/ 10 h 55"/>
                    <a:gd name="T14" fmla="*/ 17 w 27"/>
                    <a:gd name="T15" fmla="*/ 6 h 55"/>
                    <a:gd name="T16" fmla="*/ 15 w 27"/>
                    <a:gd name="T17" fmla="*/ 5 h 55"/>
                    <a:gd name="T18" fmla="*/ 14 w 27"/>
                    <a:gd name="T19" fmla="*/ 1 h 55"/>
                    <a:gd name="T20" fmla="*/ 12 w 27"/>
                    <a:gd name="T21" fmla="*/ 0 h 55"/>
                    <a:gd name="T22" fmla="*/ 7 w 27"/>
                    <a:gd name="T23" fmla="*/ 0 h 55"/>
                    <a:gd name="T24" fmla="*/ 3 w 27"/>
                    <a:gd name="T25" fmla="*/ 1 h 55"/>
                    <a:gd name="T26" fmla="*/ 2 w 27"/>
                    <a:gd name="T27" fmla="*/ 5 h 55"/>
                    <a:gd name="T28" fmla="*/ 2 w 27"/>
                    <a:gd name="T29" fmla="*/ 8 h 55"/>
                    <a:gd name="T30" fmla="*/ 2 w 27"/>
                    <a:gd name="T31" fmla="*/ 10 h 55"/>
                    <a:gd name="T32" fmla="*/ 0 w 27"/>
                    <a:gd name="T33" fmla="*/ 15 h 55"/>
                    <a:gd name="T34" fmla="*/ 3 w 27"/>
                    <a:gd name="T35" fmla="*/ 15 h 55"/>
                    <a:gd name="T36" fmla="*/ 3 w 27"/>
                    <a:gd name="T37" fmla="*/ 17 h 55"/>
                    <a:gd name="T38" fmla="*/ 3 w 27"/>
                    <a:gd name="T39" fmla="*/ 20 h 55"/>
                    <a:gd name="T40" fmla="*/ 2 w 27"/>
                    <a:gd name="T41" fmla="*/ 22 h 55"/>
                    <a:gd name="T42" fmla="*/ 2 w 27"/>
                    <a:gd name="T43" fmla="*/ 23 h 55"/>
                    <a:gd name="T44" fmla="*/ 2 w 27"/>
                    <a:gd name="T45" fmla="*/ 25 h 55"/>
                    <a:gd name="T46" fmla="*/ 3 w 27"/>
                    <a:gd name="T47" fmla="*/ 27 h 55"/>
                    <a:gd name="T48" fmla="*/ 2 w 27"/>
                    <a:gd name="T49" fmla="*/ 30 h 55"/>
                    <a:gd name="T50" fmla="*/ 2 w 27"/>
                    <a:gd name="T51" fmla="*/ 32 h 55"/>
                    <a:gd name="T52" fmla="*/ 0 w 27"/>
                    <a:gd name="T53" fmla="*/ 35 h 55"/>
                    <a:gd name="T54" fmla="*/ 2 w 27"/>
                    <a:gd name="T55" fmla="*/ 38 h 55"/>
                    <a:gd name="T56" fmla="*/ 2 w 27"/>
                    <a:gd name="T57" fmla="*/ 42 h 55"/>
                    <a:gd name="T58" fmla="*/ 0 w 27"/>
                    <a:gd name="T59" fmla="*/ 42 h 55"/>
                    <a:gd name="T60" fmla="*/ 2 w 27"/>
                    <a:gd name="T61" fmla="*/ 44 h 55"/>
                    <a:gd name="T62" fmla="*/ 3 w 27"/>
                    <a:gd name="T63" fmla="*/ 47 h 55"/>
                    <a:gd name="T64" fmla="*/ 9 w 27"/>
                    <a:gd name="T65" fmla="*/ 49 h 55"/>
                    <a:gd name="T66" fmla="*/ 10 w 27"/>
                    <a:gd name="T67" fmla="*/ 52 h 55"/>
                    <a:gd name="T68" fmla="*/ 10 w 27"/>
                    <a:gd name="T69" fmla="*/ 54 h 55"/>
                    <a:gd name="T70" fmla="*/ 14 w 27"/>
                    <a:gd name="T71" fmla="*/ 55 h 55"/>
                    <a:gd name="T72" fmla="*/ 17 w 27"/>
                    <a:gd name="T73" fmla="*/ 54 h 55"/>
                    <a:gd name="T74" fmla="*/ 17 w 27"/>
                    <a:gd name="T75" fmla="*/ 52 h 55"/>
                    <a:gd name="T76" fmla="*/ 19 w 27"/>
                    <a:gd name="T77" fmla="*/ 49 h 55"/>
                    <a:gd name="T78" fmla="*/ 20 w 27"/>
                    <a:gd name="T79" fmla="*/ 47 h 55"/>
                    <a:gd name="T80" fmla="*/ 24 w 27"/>
                    <a:gd name="T81" fmla="*/ 44 h 55"/>
                    <a:gd name="T82" fmla="*/ 27 w 27"/>
                    <a:gd name="T83" fmla="*/ 40 h 55"/>
                    <a:gd name="T84" fmla="*/ 27 w 27"/>
                    <a:gd name="T85" fmla="*/ 37 h 55"/>
                    <a:gd name="T86" fmla="*/ 27 w 27"/>
                    <a:gd name="T87" fmla="*/ 33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7" h="55">
                      <a:moveTo>
                        <a:pt x="27" y="33"/>
                      </a:moveTo>
                      <a:lnTo>
                        <a:pt x="25" y="32"/>
                      </a:lnTo>
                      <a:lnTo>
                        <a:pt x="22" y="28"/>
                      </a:lnTo>
                      <a:lnTo>
                        <a:pt x="19" y="23"/>
                      </a:lnTo>
                      <a:lnTo>
                        <a:pt x="19" y="20"/>
                      </a:lnTo>
                      <a:lnTo>
                        <a:pt x="20" y="15"/>
                      </a:lnTo>
                      <a:lnTo>
                        <a:pt x="20" y="10"/>
                      </a:lnTo>
                      <a:lnTo>
                        <a:pt x="17" y="6"/>
                      </a:lnTo>
                      <a:lnTo>
                        <a:pt x="15" y="5"/>
                      </a:lnTo>
                      <a:lnTo>
                        <a:pt x="14" y="1"/>
                      </a:lnTo>
                      <a:lnTo>
                        <a:pt x="12" y="0"/>
                      </a:lnTo>
                      <a:lnTo>
                        <a:pt x="7" y="0"/>
                      </a:lnTo>
                      <a:lnTo>
                        <a:pt x="3" y="1"/>
                      </a:lnTo>
                      <a:lnTo>
                        <a:pt x="2" y="5"/>
                      </a:lnTo>
                      <a:lnTo>
                        <a:pt x="2" y="8"/>
                      </a:lnTo>
                      <a:lnTo>
                        <a:pt x="2" y="10"/>
                      </a:lnTo>
                      <a:lnTo>
                        <a:pt x="0" y="15"/>
                      </a:lnTo>
                      <a:lnTo>
                        <a:pt x="3" y="15"/>
                      </a:lnTo>
                      <a:lnTo>
                        <a:pt x="3" y="17"/>
                      </a:lnTo>
                      <a:lnTo>
                        <a:pt x="3" y="20"/>
                      </a:lnTo>
                      <a:lnTo>
                        <a:pt x="2" y="22"/>
                      </a:lnTo>
                      <a:lnTo>
                        <a:pt x="2" y="23"/>
                      </a:lnTo>
                      <a:lnTo>
                        <a:pt x="2" y="25"/>
                      </a:lnTo>
                      <a:lnTo>
                        <a:pt x="3" y="27"/>
                      </a:lnTo>
                      <a:lnTo>
                        <a:pt x="2" y="30"/>
                      </a:lnTo>
                      <a:lnTo>
                        <a:pt x="2" y="32"/>
                      </a:lnTo>
                      <a:lnTo>
                        <a:pt x="0" y="35"/>
                      </a:lnTo>
                      <a:lnTo>
                        <a:pt x="2" y="38"/>
                      </a:lnTo>
                      <a:lnTo>
                        <a:pt x="2" y="42"/>
                      </a:lnTo>
                      <a:lnTo>
                        <a:pt x="0" y="42"/>
                      </a:lnTo>
                      <a:lnTo>
                        <a:pt x="2" y="44"/>
                      </a:lnTo>
                      <a:lnTo>
                        <a:pt x="3" y="47"/>
                      </a:lnTo>
                      <a:lnTo>
                        <a:pt x="9" y="49"/>
                      </a:lnTo>
                      <a:lnTo>
                        <a:pt x="10" y="52"/>
                      </a:lnTo>
                      <a:lnTo>
                        <a:pt x="10" y="54"/>
                      </a:lnTo>
                      <a:lnTo>
                        <a:pt x="14" y="55"/>
                      </a:lnTo>
                      <a:lnTo>
                        <a:pt x="17" y="54"/>
                      </a:lnTo>
                      <a:lnTo>
                        <a:pt x="17" y="52"/>
                      </a:lnTo>
                      <a:lnTo>
                        <a:pt x="19" y="49"/>
                      </a:lnTo>
                      <a:lnTo>
                        <a:pt x="20" y="47"/>
                      </a:lnTo>
                      <a:lnTo>
                        <a:pt x="24" y="44"/>
                      </a:lnTo>
                      <a:lnTo>
                        <a:pt x="27" y="40"/>
                      </a:lnTo>
                      <a:lnTo>
                        <a:pt x="27" y="37"/>
                      </a:lnTo>
                      <a:lnTo>
                        <a:pt x="27" y="3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39" name="Group 1638">
                <a:extLst>
                  <a:ext uri="{FF2B5EF4-FFF2-40B4-BE49-F238E27FC236}">
                    <a16:creationId xmlns:a16="http://schemas.microsoft.com/office/drawing/2014/main" id="{2C9A3392-B0FB-6D43-9D62-E9A44BA0426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82" y="649"/>
                <a:ext cx="7" cy="3"/>
                <a:chOff x="182" y="649"/>
                <a:chExt cx="7" cy="3"/>
              </a:xfrm>
            </p:grpSpPr>
            <p:sp>
              <p:nvSpPr>
                <p:cNvPr id="2016" name="Freeform 390">
                  <a:extLst>
                    <a:ext uri="{FF2B5EF4-FFF2-40B4-BE49-F238E27FC236}">
                      <a16:creationId xmlns:a16="http://schemas.microsoft.com/office/drawing/2014/main" id="{A62D5AA3-893B-7B46-9E32-BC4C7F57B7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" y="649"/>
                  <a:ext cx="7" cy="3"/>
                </a:xfrm>
                <a:custGeom>
                  <a:avLst/>
                  <a:gdLst>
                    <a:gd name="T0" fmla="*/ 4 w 7"/>
                    <a:gd name="T1" fmla="*/ 1 h 3"/>
                    <a:gd name="T2" fmla="*/ 4 w 7"/>
                    <a:gd name="T3" fmla="*/ 3 h 3"/>
                    <a:gd name="T4" fmla="*/ 5 w 7"/>
                    <a:gd name="T5" fmla="*/ 3 h 3"/>
                    <a:gd name="T6" fmla="*/ 7 w 7"/>
                    <a:gd name="T7" fmla="*/ 1 h 3"/>
                    <a:gd name="T8" fmla="*/ 5 w 7"/>
                    <a:gd name="T9" fmla="*/ 0 h 3"/>
                    <a:gd name="T10" fmla="*/ 2 w 7"/>
                    <a:gd name="T11" fmla="*/ 0 h 3"/>
                    <a:gd name="T12" fmla="*/ 0 w 7"/>
                    <a:gd name="T13" fmla="*/ 0 h 3"/>
                    <a:gd name="T14" fmla="*/ 4 w 7"/>
                    <a:gd name="T15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3">
                      <a:moveTo>
                        <a:pt x="4" y="1"/>
                      </a:moveTo>
                      <a:lnTo>
                        <a:pt x="4" y="3"/>
                      </a:lnTo>
                      <a:lnTo>
                        <a:pt x="5" y="3"/>
                      </a:lnTo>
                      <a:lnTo>
                        <a:pt x="7" y="1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7" name="Freeform 391">
                  <a:extLst>
                    <a:ext uri="{FF2B5EF4-FFF2-40B4-BE49-F238E27FC236}">
                      <a16:creationId xmlns:a16="http://schemas.microsoft.com/office/drawing/2014/main" id="{5679BB21-A14A-C949-85D2-C01112ACE1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" y="649"/>
                  <a:ext cx="7" cy="3"/>
                </a:xfrm>
                <a:custGeom>
                  <a:avLst/>
                  <a:gdLst>
                    <a:gd name="T0" fmla="*/ 4 w 7"/>
                    <a:gd name="T1" fmla="*/ 1 h 3"/>
                    <a:gd name="T2" fmla="*/ 4 w 7"/>
                    <a:gd name="T3" fmla="*/ 3 h 3"/>
                    <a:gd name="T4" fmla="*/ 5 w 7"/>
                    <a:gd name="T5" fmla="*/ 3 h 3"/>
                    <a:gd name="T6" fmla="*/ 7 w 7"/>
                    <a:gd name="T7" fmla="*/ 1 h 3"/>
                    <a:gd name="T8" fmla="*/ 5 w 7"/>
                    <a:gd name="T9" fmla="*/ 0 h 3"/>
                    <a:gd name="T10" fmla="*/ 2 w 7"/>
                    <a:gd name="T11" fmla="*/ 0 h 3"/>
                    <a:gd name="T12" fmla="*/ 0 w 7"/>
                    <a:gd name="T13" fmla="*/ 0 h 3"/>
                    <a:gd name="T14" fmla="*/ 4 w 7"/>
                    <a:gd name="T15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3">
                      <a:moveTo>
                        <a:pt x="4" y="1"/>
                      </a:moveTo>
                      <a:lnTo>
                        <a:pt x="4" y="3"/>
                      </a:lnTo>
                      <a:lnTo>
                        <a:pt x="5" y="3"/>
                      </a:lnTo>
                      <a:lnTo>
                        <a:pt x="7" y="1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40" name="Group 1639">
                <a:extLst>
                  <a:ext uri="{FF2B5EF4-FFF2-40B4-BE49-F238E27FC236}">
                    <a16:creationId xmlns:a16="http://schemas.microsoft.com/office/drawing/2014/main" id="{F01FD2A1-A761-F44C-B341-D66994A4D1B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04" y="473"/>
                <a:ext cx="54" cy="39"/>
                <a:chOff x="204" y="473"/>
                <a:chExt cx="54" cy="39"/>
              </a:xfrm>
            </p:grpSpPr>
            <p:sp>
              <p:nvSpPr>
                <p:cNvPr id="2014" name="Freeform 388">
                  <a:extLst>
                    <a:ext uri="{FF2B5EF4-FFF2-40B4-BE49-F238E27FC236}">
                      <a16:creationId xmlns:a16="http://schemas.microsoft.com/office/drawing/2014/main" id="{85EDD143-56F8-B749-9CD3-F25AC24ED1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" y="473"/>
                  <a:ext cx="54" cy="39"/>
                </a:xfrm>
                <a:custGeom>
                  <a:avLst/>
                  <a:gdLst>
                    <a:gd name="T0" fmla="*/ 52 w 54"/>
                    <a:gd name="T1" fmla="*/ 16 h 39"/>
                    <a:gd name="T2" fmla="*/ 52 w 54"/>
                    <a:gd name="T3" fmla="*/ 17 h 39"/>
                    <a:gd name="T4" fmla="*/ 52 w 54"/>
                    <a:gd name="T5" fmla="*/ 19 h 39"/>
                    <a:gd name="T6" fmla="*/ 54 w 54"/>
                    <a:gd name="T7" fmla="*/ 21 h 39"/>
                    <a:gd name="T8" fmla="*/ 54 w 54"/>
                    <a:gd name="T9" fmla="*/ 22 h 39"/>
                    <a:gd name="T10" fmla="*/ 51 w 54"/>
                    <a:gd name="T11" fmla="*/ 27 h 39"/>
                    <a:gd name="T12" fmla="*/ 49 w 54"/>
                    <a:gd name="T13" fmla="*/ 27 h 39"/>
                    <a:gd name="T14" fmla="*/ 46 w 54"/>
                    <a:gd name="T15" fmla="*/ 29 h 39"/>
                    <a:gd name="T16" fmla="*/ 44 w 54"/>
                    <a:gd name="T17" fmla="*/ 32 h 39"/>
                    <a:gd name="T18" fmla="*/ 46 w 54"/>
                    <a:gd name="T19" fmla="*/ 34 h 39"/>
                    <a:gd name="T20" fmla="*/ 46 w 54"/>
                    <a:gd name="T21" fmla="*/ 37 h 39"/>
                    <a:gd name="T22" fmla="*/ 44 w 54"/>
                    <a:gd name="T23" fmla="*/ 39 h 39"/>
                    <a:gd name="T24" fmla="*/ 41 w 54"/>
                    <a:gd name="T25" fmla="*/ 37 h 39"/>
                    <a:gd name="T26" fmla="*/ 39 w 54"/>
                    <a:gd name="T27" fmla="*/ 36 h 39"/>
                    <a:gd name="T28" fmla="*/ 36 w 54"/>
                    <a:gd name="T29" fmla="*/ 36 h 39"/>
                    <a:gd name="T30" fmla="*/ 36 w 54"/>
                    <a:gd name="T31" fmla="*/ 34 h 39"/>
                    <a:gd name="T32" fmla="*/ 34 w 54"/>
                    <a:gd name="T33" fmla="*/ 32 h 39"/>
                    <a:gd name="T34" fmla="*/ 34 w 54"/>
                    <a:gd name="T35" fmla="*/ 29 h 39"/>
                    <a:gd name="T36" fmla="*/ 34 w 54"/>
                    <a:gd name="T37" fmla="*/ 27 h 39"/>
                    <a:gd name="T38" fmla="*/ 32 w 54"/>
                    <a:gd name="T39" fmla="*/ 27 h 39"/>
                    <a:gd name="T40" fmla="*/ 30 w 54"/>
                    <a:gd name="T41" fmla="*/ 29 h 39"/>
                    <a:gd name="T42" fmla="*/ 29 w 54"/>
                    <a:gd name="T43" fmla="*/ 31 h 39"/>
                    <a:gd name="T44" fmla="*/ 27 w 54"/>
                    <a:gd name="T45" fmla="*/ 31 h 39"/>
                    <a:gd name="T46" fmla="*/ 24 w 54"/>
                    <a:gd name="T47" fmla="*/ 31 h 39"/>
                    <a:gd name="T48" fmla="*/ 24 w 54"/>
                    <a:gd name="T49" fmla="*/ 26 h 39"/>
                    <a:gd name="T50" fmla="*/ 22 w 54"/>
                    <a:gd name="T51" fmla="*/ 24 h 39"/>
                    <a:gd name="T52" fmla="*/ 20 w 54"/>
                    <a:gd name="T53" fmla="*/ 22 h 39"/>
                    <a:gd name="T54" fmla="*/ 17 w 54"/>
                    <a:gd name="T55" fmla="*/ 22 h 39"/>
                    <a:gd name="T56" fmla="*/ 15 w 54"/>
                    <a:gd name="T57" fmla="*/ 21 h 39"/>
                    <a:gd name="T58" fmla="*/ 14 w 54"/>
                    <a:gd name="T59" fmla="*/ 21 h 39"/>
                    <a:gd name="T60" fmla="*/ 10 w 54"/>
                    <a:gd name="T61" fmla="*/ 19 h 39"/>
                    <a:gd name="T62" fmla="*/ 9 w 54"/>
                    <a:gd name="T63" fmla="*/ 17 h 39"/>
                    <a:gd name="T64" fmla="*/ 9 w 54"/>
                    <a:gd name="T65" fmla="*/ 16 h 39"/>
                    <a:gd name="T66" fmla="*/ 5 w 54"/>
                    <a:gd name="T67" fmla="*/ 16 h 39"/>
                    <a:gd name="T68" fmla="*/ 2 w 54"/>
                    <a:gd name="T69" fmla="*/ 14 h 39"/>
                    <a:gd name="T70" fmla="*/ 0 w 54"/>
                    <a:gd name="T71" fmla="*/ 12 h 39"/>
                    <a:gd name="T72" fmla="*/ 0 w 54"/>
                    <a:gd name="T73" fmla="*/ 9 h 39"/>
                    <a:gd name="T74" fmla="*/ 0 w 54"/>
                    <a:gd name="T75" fmla="*/ 7 h 39"/>
                    <a:gd name="T76" fmla="*/ 4 w 54"/>
                    <a:gd name="T77" fmla="*/ 5 h 39"/>
                    <a:gd name="T78" fmla="*/ 7 w 54"/>
                    <a:gd name="T79" fmla="*/ 4 h 39"/>
                    <a:gd name="T80" fmla="*/ 10 w 54"/>
                    <a:gd name="T81" fmla="*/ 2 h 39"/>
                    <a:gd name="T82" fmla="*/ 12 w 54"/>
                    <a:gd name="T83" fmla="*/ 2 h 39"/>
                    <a:gd name="T84" fmla="*/ 14 w 54"/>
                    <a:gd name="T85" fmla="*/ 4 h 39"/>
                    <a:gd name="T86" fmla="*/ 17 w 54"/>
                    <a:gd name="T87" fmla="*/ 5 h 39"/>
                    <a:gd name="T88" fmla="*/ 19 w 54"/>
                    <a:gd name="T89" fmla="*/ 5 h 39"/>
                    <a:gd name="T90" fmla="*/ 22 w 54"/>
                    <a:gd name="T91" fmla="*/ 4 h 39"/>
                    <a:gd name="T92" fmla="*/ 27 w 54"/>
                    <a:gd name="T93" fmla="*/ 2 h 39"/>
                    <a:gd name="T94" fmla="*/ 30 w 54"/>
                    <a:gd name="T95" fmla="*/ 0 h 39"/>
                    <a:gd name="T96" fmla="*/ 34 w 54"/>
                    <a:gd name="T97" fmla="*/ 0 h 39"/>
                    <a:gd name="T98" fmla="*/ 36 w 54"/>
                    <a:gd name="T99" fmla="*/ 2 h 39"/>
                    <a:gd name="T100" fmla="*/ 37 w 54"/>
                    <a:gd name="T101" fmla="*/ 2 h 39"/>
                    <a:gd name="T102" fmla="*/ 37 w 54"/>
                    <a:gd name="T103" fmla="*/ 4 h 39"/>
                    <a:gd name="T104" fmla="*/ 39 w 54"/>
                    <a:gd name="T105" fmla="*/ 4 h 39"/>
                    <a:gd name="T106" fmla="*/ 42 w 54"/>
                    <a:gd name="T107" fmla="*/ 5 h 39"/>
                    <a:gd name="T108" fmla="*/ 44 w 54"/>
                    <a:gd name="T109" fmla="*/ 5 h 39"/>
                    <a:gd name="T110" fmla="*/ 46 w 54"/>
                    <a:gd name="T111" fmla="*/ 9 h 39"/>
                    <a:gd name="T112" fmla="*/ 44 w 54"/>
                    <a:gd name="T113" fmla="*/ 10 h 39"/>
                    <a:gd name="T114" fmla="*/ 46 w 54"/>
                    <a:gd name="T115" fmla="*/ 14 h 39"/>
                    <a:gd name="T116" fmla="*/ 47 w 54"/>
                    <a:gd name="T117" fmla="*/ 16 h 39"/>
                    <a:gd name="T118" fmla="*/ 51 w 54"/>
                    <a:gd name="T119" fmla="*/ 16 h 39"/>
                    <a:gd name="T120" fmla="*/ 52 w 54"/>
                    <a:gd name="T121" fmla="*/ 16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54" h="39">
                      <a:moveTo>
                        <a:pt x="52" y="16"/>
                      </a:moveTo>
                      <a:lnTo>
                        <a:pt x="52" y="17"/>
                      </a:lnTo>
                      <a:lnTo>
                        <a:pt x="52" y="19"/>
                      </a:lnTo>
                      <a:lnTo>
                        <a:pt x="54" y="21"/>
                      </a:lnTo>
                      <a:lnTo>
                        <a:pt x="54" y="22"/>
                      </a:lnTo>
                      <a:lnTo>
                        <a:pt x="51" y="27"/>
                      </a:lnTo>
                      <a:lnTo>
                        <a:pt x="49" y="27"/>
                      </a:lnTo>
                      <a:lnTo>
                        <a:pt x="46" y="29"/>
                      </a:lnTo>
                      <a:lnTo>
                        <a:pt x="44" y="32"/>
                      </a:lnTo>
                      <a:lnTo>
                        <a:pt x="46" y="34"/>
                      </a:lnTo>
                      <a:lnTo>
                        <a:pt x="46" y="37"/>
                      </a:lnTo>
                      <a:lnTo>
                        <a:pt x="44" y="39"/>
                      </a:lnTo>
                      <a:lnTo>
                        <a:pt x="41" y="37"/>
                      </a:lnTo>
                      <a:lnTo>
                        <a:pt x="39" y="36"/>
                      </a:lnTo>
                      <a:lnTo>
                        <a:pt x="36" y="36"/>
                      </a:lnTo>
                      <a:lnTo>
                        <a:pt x="36" y="34"/>
                      </a:lnTo>
                      <a:lnTo>
                        <a:pt x="34" y="32"/>
                      </a:lnTo>
                      <a:lnTo>
                        <a:pt x="34" y="29"/>
                      </a:lnTo>
                      <a:lnTo>
                        <a:pt x="34" y="27"/>
                      </a:lnTo>
                      <a:lnTo>
                        <a:pt x="32" y="27"/>
                      </a:lnTo>
                      <a:lnTo>
                        <a:pt x="30" y="29"/>
                      </a:lnTo>
                      <a:lnTo>
                        <a:pt x="29" y="31"/>
                      </a:lnTo>
                      <a:lnTo>
                        <a:pt x="27" y="31"/>
                      </a:lnTo>
                      <a:lnTo>
                        <a:pt x="24" y="31"/>
                      </a:lnTo>
                      <a:lnTo>
                        <a:pt x="24" y="26"/>
                      </a:lnTo>
                      <a:lnTo>
                        <a:pt x="22" y="24"/>
                      </a:lnTo>
                      <a:lnTo>
                        <a:pt x="20" y="22"/>
                      </a:lnTo>
                      <a:lnTo>
                        <a:pt x="17" y="22"/>
                      </a:lnTo>
                      <a:lnTo>
                        <a:pt x="15" y="21"/>
                      </a:lnTo>
                      <a:lnTo>
                        <a:pt x="14" y="21"/>
                      </a:lnTo>
                      <a:lnTo>
                        <a:pt x="10" y="19"/>
                      </a:lnTo>
                      <a:lnTo>
                        <a:pt x="9" y="17"/>
                      </a:lnTo>
                      <a:lnTo>
                        <a:pt x="9" y="16"/>
                      </a:lnTo>
                      <a:lnTo>
                        <a:pt x="5" y="16"/>
                      </a:lnTo>
                      <a:lnTo>
                        <a:pt x="2" y="14"/>
                      </a:lnTo>
                      <a:lnTo>
                        <a:pt x="0" y="12"/>
                      </a:lnTo>
                      <a:lnTo>
                        <a:pt x="0" y="9"/>
                      </a:lnTo>
                      <a:lnTo>
                        <a:pt x="0" y="7"/>
                      </a:lnTo>
                      <a:lnTo>
                        <a:pt x="4" y="5"/>
                      </a:lnTo>
                      <a:lnTo>
                        <a:pt x="7" y="4"/>
                      </a:lnTo>
                      <a:lnTo>
                        <a:pt x="10" y="2"/>
                      </a:lnTo>
                      <a:lnTo>
                        <a:pt x="12" y="2"/>
                      </a:lnTo>
                      <a:lnTo>
                        <a:pt x="14" y="4"/>
                      </a:lnTo>
                      <a:lnTo>
                        <a:pt x="17" y="5"/>
                      </a:lnTo>
                      <a:lnTo>
                        <a:pt x="19" y="5"/>
                      </a:lnTo>
                      <a:lnTo>
                        <a:pt x="22" y="4"/>
                      </a:lnTo>
                      <a:lnTo>
                        <a:pt x="27" y="2"/>
                      </a:lnTo>
                      <a:lnTo>
                        <a:pt x="30" y="0"/>
                      </a:lnTo>
                      <a:lnTo>
                        <a:pt x="34" y="0"/>
                      </a:lnTo>
                      <a:lnTo>
                        <a:pt x="36" y="2"/>
                      </a:lnTo>
                      <a:lnTo>
                        <a:pt x="37" y="2"/>
                      </a:lnTo>
                      <a:lnTo>
                        <a:pt x="37" y="4"/>
                      </a:lnTo>
                      <a:lnTo>
                        <a:pt x="39" y="4"/>
                      </a:lnTo>
                      <a:lnTo>
                        <a:pt x="42" y="5"/>
                      </a:lnTo>
                      <a:lnTo>
                        <a:pt x="44" y="5"/>
                      </a:lnTo>
                      <a:lnTo>
                        <a:pt x="46" y="9"/>
                      </a:lnTo>
                      <a:lnTo>
                        <a:pt x="44" y="10"/>
                      </a:lnTo>
                      <a:lnTo>
                        <a:pt x="46" y="14"/>
                      </a:lnTo>
                      <a:lnTo>
                        <a:pt x="47" y="16"/>
                      </a:lnTo>
                      <a:lnTo>
                        <a:pt x="51" y="16"/>
                      </a:lnTo>
                      <a:lnTo>
                        <a:pt x="52" y="16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5" name="Freeform 389">
                  <a:extLst>
                    <a:ext uri="{FF2B5EF4-FFF2-40B4-BE49-F238E27FC236}">
                      <a16:creationId xmlns:a16="http://schemas.microsoft.com/office/drawing/2014/main" id="{411E76C0-195A-2948-9AF8-68522CBFF4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" y="473"/>
                  <a:ext cx="54" cy="39"/>
                </a:xfrm>
                <a:custGeom>
                  <a:avLst/>
                  <a:gdLst>
                    <a:gd name="T0" fmla="*/ 52 w 54"/>
                    <a:gd name="T1" fmla="*/ 16 h 39"/>
                    <a:gd name="T2" fmla="*/ 52 w 54"/>
                    <a:gd name="T3" fmla="*/ 17 h 39"/>
                    <a:gd name="T4" fmla="*/ 52 w 54"/>
                    <a:gd name="T5" fmla="*/ 19 h 39"/>
                    <a:gd name="T6" fmla="*/ 54 w 54"/>
                    <a:gd name="T7" fmla="*/ 21 h 39"/>
                    <a:gd name="T8" fmla="*/ 54 w 54"/>
                    <a:gd name="T9" fmla="*/ 22 h 39"/>
                    <a:gd name="T10" fmla="*/ 51 w 54"/>
                    <a:gd name="T11" fmla="*/ 27 h 39"/>
                    <a:gd name="T12" fmla="*/ 49 w 54"/>
                    <a:gd name="T13" fmla="*/ 27 h 39"/>
                    <a:gd name="T14" fmla="*/ 46 w 54"/>
                    <a:gd name="T15" fmla="*/ 29 h 39"/>
                    <a:gd name="T16" fmla="*/ 44 w 54"/>
                    <a:gd name="T17" fmla="*/ 32 h 39"/>
                    <a:gd name="T18" fmla="*/ 46 w 54"/>
                    <a:gd name="T19" fmla="*/ 34 h 39"/>
                    <a:gd name="T20" fmla="*/ 46 w 54"/>
                    <a:gd name="T21" fmla="*/ 37 h 39"/>
                    <a:gd name="T22" fmla="*/ 44 w 54"/>
                    <a:gd name="T23" fmla="*/ 39 h 39"/>
                    <a:gd name="T24" fmla="*/ 41 w 54"/>
                    <a:gd name="T25" fmla="*/ 37 h 39"/>
                    <a:gd name="T26" fmla="*/ 39 w 54"/>
                    <a:gd name="T27" fmla="*/ 36 h 39"/>
                    <a:gd name="T28" fmla="*/ 36 w 54"/>
                    <a:gd name="T29" fmla="*/ 36 h 39"/>
                    <a:gd name="T30" fmla="*/ 36 w 54"/>
                    <a:gd name="T31" fmla="*/ 34 h 39"/>
                    <a:gd name="T32" fmla="*/ 34 w 54"/>
                    <a:gd name="T33" fmla="*/ 32 h 39"/>
                    <a:gd name="T34" fmla="*/ 34 w 54"/>
                    <a:gd name="T35" fmla="*/ 29 h 39"/>
                    <a:gd name="T36" fmla="*/ 34 w 54"/>
                    <a:gd name="T37" fmla="*/ 27 h 39"/>
                    <a:gd name="T38" fmla="*/ 32 w 54"/>
                    <a:gd name="T39" fmla="*/ 27 h 39"/>
                    <a:gd name="T40" fmla="*/ 30 w 54"/>
                    <a:gd name="T41" fmla="*/ 29 h 39"/>
                    <a:gd name="T42" fmla="*/ 29 w 54"/>
                    <a:gd name="T43" fmla="*/ 31 h 39"/>
                    <a:gd name="T44" fmla="*/ 27 w 54"/>
                    <a:gd name="T45" fmla="*/ 31 h 39"/>
                    <a:gd name="T46" fmla="*/ 24 w 54"/>
                    <a:gd name="T47" fmla="*/ 31 h 39"/>
                    <a:gd name="T48" fmla="*/ 24 w 54"/>
                    <a:gd name="T49" fmla="*/ 26 h 39"/>
                    <a:gd name="T50" fmla="*/ 22 w 54"/>
                    <a:gd name="T51" fmla="*/ 24 h 39"/>
                    <a:gd name="T52" fmla="*/ 20 w 54"/>
                    <a:gd name="T53" fmla="*/ 22 h 39"/>
                    <a:gd name="T54" fmla="*/ 17 w 54"/>
                    <a:gd name="T55" fmla="*/ 22 h 39"/>
                    <a:gd name="T56" fmla="*/ 15 w 54"/>
                    <a:gd name="T57" fmla="*/ 21 h 39"/>
                    <a:gd name="T58" fmla="*/ 14 w 54"/>
                    <a:gd name="T59" fmla="*/ 21 h 39"/>
                    <a:gd name="T60" fmla="*/ 10 w 54"/>
                    <a:gd name="T61" fmla="*/ 19 h 39"/>
                    <a:gd name="T62" fmla="*/ 9 w 54"/>
                    <a:gd name="T63" fmla="*/ 17 h 39"/>
                    <a:gd name="T64" fmla="*/ 9 w 54"/>
                    <a:gd name="T65" fmla="*/ 16 h 39"/>
                    <a:gd name="T66" fmla="*/ 5 w 54"/>
                    <a:gd name="T67" fmla="*/ 16 h 39"/>
                    <a:gd name="T68" fmla="*/ 2 w 54"/>
                    <a:gd name="T69" fmla="*/ 14 h 39"/>
                    <a:gd name="T70" fmla="*/ 0 w 54"/>
                    <a:gd name="T71" fmla="*/ 12 h 39"/>
                    <a:gd name="T72" fmla="*/ 0 w 54"/>
                    <a:gd name="T73" fmla="*/ 9 h 39"/>
                    <a:gd name="T74" fmla="*/ 0 w 54"/>
                    <a:gd name="T75" fmla="*/ 7 h 39"/>
                    <a:gd name="T76" fmla="*/ 4 w 54"/>
                    <a:gd name="T77" fmla="*/ 5 h 39"/>
                    <a:gd name="T78" fmla="*/ 7 w 54"/>
                    <a:gd name="T79" fmla="*/ 4 h 39"/>
                    <a:gd name="T80" fmla="*/ 10 w 54"/>
                    <a:gd name="T81" fmla="*/ 2 h 39"/>
                    <a:gd name="T82" fmla="*/ 12 w 54"/>
                    <a:gd name="T83" fmla="*/ 2 h 39"/>
                    <a:gd name="T84" fmla="*/ 14 w 54"/>
                    <a:gd name="T85" fmla="*/ 4 h 39"/>
                    <a:gd name="T86" fmla="*/ 17 w 54"/>
                    <a:gd name="T87" fmla="*/ 5 h 39"/>
                    <a:gd name="T88" fmla="*/ 19 w 54"/>
                    <a:gd name="T89" fmla="*/ 5 h 39"/>
                    <a:gd name="T90" fmla="*/ 22 w 54"/>
                    <a:gd name="T91" fmla="*/ 4 h 39"/>
                    <a:gd name="T92" fmla="*/ 27 w 54"/>
                    <a:gd name="T93" fmla="*/ 2 h 39"/>
                    <a:gd name="T94" fmla="*/ 30 w 54"/>
                    <a:gd name="T95" fmla="*/ 0 h 39"/>
                    <a:gd name="T96" fmla="*/ 34 w 54"/>
                    <a:gd name="T97" fmla="*/ 0 h 39"/>
                    <a:gd name="T98" fmla="*/ 36 w 54"/>
                    <a:gd name="T99" fmla="*/ 2 h 39"/>
                    <a:gd name="T100" fmla="*/ 37 w 54"/>
                    <a:gd name="T101" fmla="*/ 2 h 39"/>
                    <a:gd name="T102" fmla="*/ 37 w 54"/>
                    <a:gd name="T103" fmla="*/ 4 h 39"/>
                    <a:gd name="T104" fmla="*/ 39 w 54"/>
                    <a:gd name="T105" fmla="*/ 4 h 39"/>
                    <a:gd name="T106" fmla="*/ 42 w 54"/>
                    <a:gd name="T107" fmla="*/ 5 h 39"/>
                    <a:gd name="T108" fmla="*/ 44 w 54"/>
                    <a:gd name="T109" fmla="*/ 5 h 39"/>
                    <a:gd name="T110" fmla="*/ 46 w 54"/>
                    <a:gd name="T111" fmla="*/ 9 h 39"/>
                    <a:gd name="T112" fmla="*/ 44 w 54"/>
                    <a:gd name="T113" fmla="*/ 10 h 39"/>
                    <a:gd name="T114" fmla="*/ 46 w 54"/>
                    <a:gd name="T115" fmla="*/ 14 h 39"/>
                    <a:gd name="T116" fmla="*/ 47 w 54"/>
                    <a:gd name="T117" fmla="*/ 16 h 39"/>
                    <a:gd name="T118" fmla="*/ 51 w 54"/>
                    <a:gd name="T119" fmla="*/ 16 h 39"/>
                    <a:gd name="T120" fmla="*/ 52 w 54"/>
                    <a:gd name="T121" fmla="*/ 16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54" h="39">
                      <a:moveTo>
                        <a:pt x="52" y="16"/>
                      </a:moveTo>
                      <a:lnTo>
                        <a:pt x="52" y="17"/>
                      </a:lnTo>
                      <a:lnTo>
                        <a:pt x="52" y="19"/>
                      </a:lnTo>
                      <a:lnTo>
                        <a:pt x="54" y="21"/>
                      </a:lnTo>
                      <a:lnTo>
                        <a:pt x="54" y="22"/>
                      </a:lnTo>
                      <a:lnTo>
                        <a:pt x="51" y="27"/>
                      </a:lnTo>
                      <a:lnTo>
                        <a:pt x="49" y="27"/>
                      </a:lnTo>
                      <a:lnTo>
                        <a:pt x="46" y="29"/>
                      </a:lnTo>
                      <a:lnTo>
                        <a:pt x="44" y="32"/>
                      </a:lnTo>
                      <a:lnTo>
                        <a:pt x="46" y="34"/>
                      </a:lnTo>
                      <a:lnTo>
                        <a:pt x="46" y="37"/>
                      </a:lnTo>
                      <a:lnTo>
                        <a:pt x="44" y="39"/>
                      </a:lnTo>
                      <a:lnTo>
                        <a:pt x="41" y="37"/>
                      </a:lnTo>
                      <a:lnTo>
                        <a:pt x="39" y="36"/>
                      </a:lnTo>
                      <a:lnTo>
                        <a:pt x="36" y="36"/>
                      </a:lnTo>
                      <a:lnTo>
                        <a:pt x="36" y="34"/>
                      </a:lnTo>
                      <a:lnTo>
                        <a:pt x="34" y="32"/>
                      </a:lnTo>
                      <a:lnTo>
                        <a:pt x="34" y="29"/>
                      </a:lnTo>
                      <a:lnTo>
                        <a:pt x="34" y="27"/>
                      </a:lnTo>
                      <a:lnTo>
                        <a:pt x="32" y="27"/>
                      </a:lnTo>
                      <a:lnTo>
                        <a:pt x="30" y="29"/>
                      </a:lnTo>
                      <a:lnTo>
                        <a:pt x="29" y="31"/>
                      </a:lnTo>
                      <a:lnTo>
                        <a:pt x="27" y="31"/>
                      </a:lnTo>
                      <a:lnTo>
                        <a:pt x="24" y="31"/>
                      </a:lnTo>
                      <a:lnTo>
                        <a:pt x="24" y="26"/>
                      </a:lnTo>
                      <a:lnTo>
                        <a:pt x="22" y="24"/>
                      </a:lnTo>
                      <a:lnTo>
                        <a:pt x="20" y="22"/>
                      </a:lnTo>
                      <a:lnTo>
                        <a:pt x="17" y="22"/>
                      </a:lnTo>
                      <a:lnTo>
                        <a:pt x="15" y="21"/>
                      </a:lnTo>
                      <a:lnTo>
                        <a:pt x="14" y="21"/>
                      </a:lnTo>
                      <a:lnTo>
                        <a:pt x="10" y="19"/>
                      </a:lnTo>
                      <a:lnTo>
                        <a:pt x="9" y="17"/>
                      </a:lnTo>
                      <a:lnTo>
                        <a:pt x="9" y="16"/>
                      </a:lnTo>
                      <a:lnTo>
                        <a:pt x="5" y="16"/>
                      </a:lnTo>
                      <a:lnTo>
                        <a:pt x="2" y="14"/>
                      </a:lnTo>
                      <a:lnTo>
                        <a:pt x="0" y="12"/>
                      </a:lnTo>
                      <a:lnTo>
                        <a:pt x="0" y="9"/>
                      </a:lnTo>
                      <a:lnTo>
                        <a:pt x="0" y="7"/>
                      </a:lnTo>
                      <a:lnTo>
                        <a:pt x="4" y="5"/>
                      </a:lnTo>
                      <a:lnTo>
                        <a:pt x="7" y="4"/>
                      </a:lnTo>
                      <a:lnTo>
                        <a:pt x="10" y="2"/>
                      </a:lnTo>
                      <a:lnTo>
                        <a:pt x="12" y="2"/>
                      </a:lnTo>
                      <a:lnTo>
                        <a:pt x="14" y="4"/>
                      </a:lnTo>
                      <a:lnTo>
                        <a:pt x="17" y="5"/>
                      </a:lnTo>
                      <a:lnTo>
                        <a:pt x="19" y="5"/>
                      </a:lnTo>
                      <a:lnTo>
                        <a:pt x="22" y="4"/>
                      </a:lnTo>
                      <a:lnTo>
                        <a:pt x="27" y="2"/>
                      </a:lnTo>
                      <a:lnTo>
                        <a:pt x="30" y="0"/>
                      </a:lnTo>
                      <a:lnTo>
                        <a:pt x="34" y="0"/>
                      </a:lnTo>
                      <a:lnTo>
                        <a:pt x="36" y="2"/>
                      </a:lnTo>
                      <a:lnTo>
                        <a:pt x="37" y="2"/>
                      </a:lnTo>
                      <a:lnTo>
                        <a:pt x="37" y="4"/>
                      </a:lnTo>
                      <a:lnTo>
                        <a:pt x="39" y="4"/>
                      </a:lnTo>
                      <a:lnTo>
                        <a:pt x="42" y="5"/>
                      </a:lnTo>
                      <a:lnTo>
                        <a:pt x="44" y="5"/>
                      </a:lnTo>
                      <a:lnTo>
                        <a:pt x="46" y="9"/>
                      </a:lnTo>
                      <a:lnTo>
                        <a:pt x="44" y="10"/>
                      </a:lnTo>
                      <a:lnTo>
                        <a:pt x="46" y="14"/>
                      </a:lnTo>
                      <a:lnTo>
                        <a:pt x="47" y="16"/>
                      </a:lnTo>
                      <a:lnTo>
                        <a:pt x="51" y="16"/>
                      </a:lnTo>
                      <a:lnTo>
                        <a:pt x="52" y="16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41" name="Group 1640">
                <a:extLst>
                  <a:ext uri="{FF2B5EF4-FFF2-40B4-BE49-F238E27FC236}">
                    <a16:creationId xmlns:a16="http://schemas.microsoft.com/office/drawing/2014/main" id="{882AB866-9705-B848-8D65-81B41C22309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06" y="596"/>
                <a:ext cx="61" cy="53"/>
                <a:chOff x="406" y="596"/>
                <a:chExt cx="61" cy="53"/>
              </a:xfrm>
            </p:grpSpPr>
            <p:sp>
              <p:nvSpPr>
                <p:cNvPr id="2012" name="Freeform 386">
                  <a:extLst>
                    <a:ext uri="{FF2B5EF4-FFF2-40B4-BE49-F238E27FC236}">
                      <a16:creationId xmlns:a16="http://schemas.microsoft.com/office/drawing/2014/main" id="{39BD8CC2-4623-3343-8591-41D7FB49B7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6" y="596"/>
                  <a:ext cx="61" cy="53"/>
                </a:xfrm>
                <a:custGeom>
                  <a:avLst/>
                  <a:gdLst>
                    <a:gd name="T0" fmla="*/ 56 w 61"/>
                    <a:gd name="T1" fmla="*/ 32 h 53"/>
                    <a:gd name="T2" fmla="*/ 56 w 61"/>
                    <a:gd name="T3" fmla="*/ 29 h 53"/>
                    <a:gd name="T4" fmla="*/ 54 w 61"/>
                    <a:gd name="T5" fmla="*/ 26 h 53"/>
                    <a:gd name="T6" fmla="*/ 56 w 61"/>
                    <a:gd name="T7" fmla="*/ 27 h 53"/>
                    <a:gd name="T8" fmla="*/ 59 w 61"/>
                    <a:gd name="T9" fmla="*/ 26 h 53"/>
                    <a:gd name="T10" fmla="*/ 61 w 61"/>
                    <a:gd name="T11" fmla="*/ 24 h 53"/>
                    <a:gd name="T12" fmla="*/ 58 w 61"/>
                    <a:gd name="T13" fmla="*/ 24 h 53"/>
                    <a:gd name="T14" fmla="*/ 54 w 61"/>
                    <a:gd name="T15" fmla="*/ 19 h 53"/>
                    <a:gd name="T16" fmla="*/ 53 w 61"/>
                    <a:gd name="T17" fmla="*/ 14 h 53"/>
                    <a:gd name="T18" fmla="*/ 54 w 61"/>
                    <a:gd name="T19" fmla="*/ 11 h 53"/>
                    <a:gd name="T20" fmla="*/ 53 w 61"/>
                    <a:gd name="T21" fmla="*/ 7 h 53"/>
                    <a:gd name="T22" fmla="*/ 46 w 61"/>
                    <a:gd name="T23" fmla="*/ 5 h 53"/>
                    <a:gd name="T24" fmla="*/ 43 w 61"/>
                    <a:gd name="T25" fmla="*/ 2 h 53"/>
                    <a:gd name="T26" fmla="*/ 36 w 61"/>
                    <a:gd name="T27" fmla="*/ 2 h 53"/>
                    <a:gd name="T28" fmla="*/ 34 w 61"/>
                    <a:gd name="T29" fmla="*/ 4 h 53"/>
                    <a:gd name="T30" fmla="*/ 31 w 61"/>
                    <a:gd name="T31" fmla="*/ 4 h 53"/>
                    <a:gd name="T32" fmla="*/ 27 w 61"/>
                    <a:gd name="T33" fmla="*/ 2 h 53"/>
                    <a:gd name="T34" fmla="*/ 24 w 61"/>
                    <a:gd name="T35" fmla="*/ 0 h 53"/>
                    <a:gd name="T36" fmla="*/ 21 w 61"/>
                    <a:gd name="T37" fmla="*/ 2 h 53"/>
                    <a:gd name="T38" fmla="*/ 17 w 61"/>
                    <a:gd name="T39" fmla="*/ 0 h 53"/>
                    <a:gd name="T40" fmla="*/ 16 w 61"/>
                    <a:gd name="T41" fmla="*/ 2 h 53"/>
                    <a:gd name="T42" fmla="*/ 11 w 61"/>
                    <a:gd name="T43" fmla="*/ 2 h 53"/>
                    <a:gd name="T44" fmla="*/ 9 w 61"/>
                    <a:gd name="T45" fmla="*/ 7 h 53"/>
                    <a:gd name="T46" fmla="*/ 2 w 61"/>
                    <a:gd name="T47" fmla="*/ 2 h 53"/>
                    <a:gd name="T48" fmla="*/ 0 w 61"/>
                    <a:gd name="T49" fmla="*/ 4 h 53"/>
                    <a:gd name="T50" fmla="*/ 0 w 61"/>
                    <a:gd name="T51" fmla="*/ 7 h 53"/>
                    <a:gd name="T52" fmla="*/ 2 w 61"/>
                    <a:gd name="T53" fmla="*/ 12 h 53"/>
                    <a:gd name="T54" fmla="*/ 4 w 61"/>
                    <a:gd name="T55" fmla="*/ 11 h 53"/>
                    <a:gd name="T56" fmla="*/ 14 w 61"/>
                    <a:gd name="T57" fmla="*/ 26 h 53"/>
                    <a:gd name="T58" fmla="*/ 21 w 61"/>
                    <a:gd name="T59" fmla="*/ 34 h 53"/>
                    <a:gd name="T60" fmla="*/ 24 w 61"/>
                    <a:gd name="T61" fmla="*/ 34 h 53"/>
                    <a:gd name="T62" fmla="*/ 26 w 61"/>
                    <a:gd name="T63" fmla="*/ 36 h 53"/>
                    <a:gd name="T64" fmla="*/ 27 w 61"/>
                    <a:gd name="T65" fmla="*/ 41 h 53"/>
                    <a:gd name="T66" fmla="*/ 31 w 61"/>
                    <a:gd name="T67" fmla="*/ 43 h 53"/>
                    <a:gd name="T68" fmla="*/ 29 w 61"/>
                    <a:gd name="T69" fmla="*/ 44 h 53"/>
                    <a:gd name="T70" fmla="*/ 31 w 61"/>
                    <a:gd name="T71" fmla="*/ 46 h 53"/>
                    <a:gd name="T72" fmla="*/ 36 w 61"/>
                    <a:gd name="T73" fmla="*/ 48 h 53"/>
                    <a:gd name="T74" fmla="*/ 43 w 61"/>
                    <a:gd name="T75" fmla="*/ 53 h 53"/>
                    <a:gd name="T76" fmla="*/ 46 w 61"/>
                    <a:gd name="T77" fmla="*/ 49 h 53"/>
                    <a:gd name="T78" fmla="*/ 44 w 61"/>
                    <a:gd name="T79" fmla="*/ 48 h 53"/>
                    <a:gd name="T80" fmla="*/ 44 w 61"/>
                    <a:gd name="T81" fmla="*/ 44 h 53"/>
                    <a:gd name="T82" fmla="*/ 48 w 61"/>
                    <a:gd name="T83" fmla="*/ 44 h 53"/>
                    <a:gd name="T84" fmla="*/ 48 w 61"/>
                    <a:gd name="T85" fmla="*/ 41 h 53"/>
                    <a:gd name="T86" fmla="*/ 49 w 61"/>
                    <a:gd name="T87" fmla="*/ 39 h 53"/>
                    <a:gd name="T88" fmla="*/ 53 w 61"/>
                    <a:gd name="T89" fmla="*/ 39 h 53"/>
                    <a:gd name="T90" fmla="*/ 51 w 61"/>
                    <a:gd name="T91" fmla="*/ 37 h 53"/>
                    <a:gd name="T92" fmla="*/ 51 w 61"/>
                    <a:gd name="T93" fmla="*/ 34 h 53"/>
                    <a:gd name="T94" fmla="*/ 54 w 61"/>
                    <a:gd name="T95" fmla="*/ 34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61" h="53">
                      <a:moveTo>
                        <a:pt x="56" y="34"/>
                      </a:moveTo>
                      <a:lnTo>
                        <a:pt x="56" y="32"/>
                      </a:lnTo>
                      <a:lnTo>
                        <a:pt x="56" y="31"/>
                      </a:lnTo>
                      <a:lnTo>
                        <a:pt x="56" y="29"/>
                      </a:lnTo>
                      <a:lnTo>
                        <a:pt x="54" y="27"/>
                      </a:lnTo>
                      <a:lnTo>
                        <a:pt x="54" y="26"/>
                      </a:lnTo>
                      <a:lnTo>
                        <a:pt x="56" y="26"/>
                      </a:lnTo>
                      <a:lnTo>
                        <a:pt x="56" y="27"/>
                      </a:lnTo>
                      <a:lnTo>
                        <a:pt x="58" y="27"/>
                      </a:lnTo>
                      <a:lnTo>
                        <a:pt x="59" y="26"/>
                      </a:lnTo>
                      <a:lnTo>
                        <a:pt x="61" y="26"/>
                      </a:lnTo>
                      <a:lnTo>
                        <a:pt x="61" y="24"/>
                      </a:lnTo>
                      <a:lnTo>
                        <a:pt x="59" y="24"/>
                      </a:lnTo>
                      <a:lnTo>
                        <a:pt x="58" y="24"/>
                      </a:lnTo>
                      <a:lnTo>
                        <a:pt x="56" y="21"/>
                      </a:lnTo>
                      <a:lnTo>
                        <a:pt x="54" y="19"/>
                      </a:lnTo>
                      <a:lnTo>
                        <a:pt x="53" y="17"/>
                      </a:lnTo>
                      <a:lnTo>
                        <a:pt x="53" y="14"/>
                      </a:lnTo>
                      <a:lnTo>
                        <a:pt x="53" y="12"/>
                      </a:lnTo>
                      <a:lnTo>
                        <a:pt x="54" y="11"/>
                      </a:lnTo>
                      <a:lnTo>
                        <a:pt x="56" y="7"/>
                      </a:lnTo>
                      <a:lnTo>
                        <a:pt x="53" y="7"/>
                      </a:lnTo>
                      <a:lnTo>
                        <a:pt x="49" y="7"/>
                      </a:lnTo>
                      <a:lnTo>
                        <a:pt x="46" y="5"/>
                      </a:lnTo>
                      <a:lnTo>
                        <a:pt x="44" y="4"/>
                      </a:lnTo>
                      <a:lnTo>
                        <a:pt x="43" y="2"/>
                      </a:lnTo>
                      <a:lnTo>
                        <a:pt x="39" y="4"/>
                      </a:lnTo>
                      <a:lnTo>
                        <a:pt x="36" y="2"/>
                      </a:lnTo>
                      <a:lnTo>
                        <a:pt x="36" y="4"/>
                      </a:lnTo>
                      <a:lnTo>
                        <a:pt x="34" y="4"/>
                      </a:lnTo>
                      <a:lnTo>
                        <a:pt x="33" y="4"/>
                      </a:lnTo>
                      <a:lnTo>
                        <a:pt x="31" y="4"/>
                      </a:lnTo>
                      <a:lnTo>
                        <a:pt x="29" y="2"/>
                      </a:lnTo>
                      <a:lnTo>
                        <a:pt x="27" y="2"/>
                      </a:lnTo>
                      <a:lnTo>
                        <a:pt x="26" y="0"/>
                      </a:lnTo>
                      <a:lnTo>
                        <a:pt x="24" y="0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0"/>
                      </a:lnTo>
                      <a:lnTo>
                        <a:pt x="17" y="0"/>
                      </a:lnTo>
                      <a:lnTo>
                        <a:pt x="16" y="0"/>
                      </a:lnTo>
                      <a:lnTo>
                        <a:pt x="16" y="2"/>
                      </a:lnTo>
                      <a:lnTo>
                        <a:pt x="12" y="2"/>
                      </a:lnTo>
                      <a:lnTo>
                        <a:pt x="11" y="2"/>
                      </a:lnTo>
                      <a:lnTo>
                        <a:pt x="11" y="4"/>
                      </a:lnTo>
                      <a:lnTo>
                        <a:pt x="9" y="7"/>
                      </a:ln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0" y="11"/>
                      </a:lnTo>
                      <a:lnTo>
                        <a:pt x="2" y="12"/>
                      </a:lnTo>
                      <a:lnTo>
                        <a:pt x="4" y="12"/>
                      </a:lnTo>
                      <a:lnTo>
                        <a:pt x="4" y="11"/>
                      </a:lnTo>
                      <a:lnTo>
                        <a:pt x="9" y="21"/>
                      </a:lnTo>
                      <a:lnTo>
                        <a:pt x="14" y="26"/>
                      </a:lnTo>
                      <a:lnTo>
                        <a:pt x="21" y="32"/>
                      </a:lnTo>
                      <a:lnTo>
                        <a:pt x="21" y="34"/>
                      </a:lnTo>
                      <a:lnTo>
                        <a:pt x="22" y="34"/>
                      </a:lnTo>
                      <a:lnTo>
                        <a:pt x="24" y="34"/>
                      </a:lnTo>
                      <a:lnTo>
                        <a:pt x="26" y="34"/>
                      </a:lnTo>
                      <a:lnTo>
                        <a:pt x="26" y="36"/>
                      </a:lnTo>
                      <a:lnTo>
                        <a:pt x="26" y="37"/>
                      </a:lnTo>
                      <a:lnTo>
                        <a:pt x="27" y="41"/>
                      </a:lnTo>
                      <a:lnTo>
                        <a:pt x="29" y="43"/>
                      </a:lnTo>
                      <a:lnTo>
                        <a:pt x="31" y="43"/>
                      </a:lnTo>
                      <a:lnTo>
                        <a:pt x="31" y="44"/>
                      </a:lnTo>
                      <a:lnTo>
                        <a:pt x="29" y="44"/>
                      </a:lnTo>
                      <a:lnTo>
                        <a:pt x="29" y="46"/>
                      </a:lnTo>
                      <a:lnTo>
                        <a:pt x="31" y="46"/>
                      </a:lnTo>
                      <a:lnTo>
                        <a:pt x="33" y="44"/>
                      </a:lnTo>
                      <a:lnTo>
                        <a:pt x="36" y="48"/>
                      </a:lnTo>
                      <a:lnTo>
                        <a:pt x="39" y="49"/>
                      </a:lnTo>
                      <a:lnTo>
                        <a:pt x="43" y="53"/>
                      </a:lnTo>
                      <a:lnTo>
                        <a:pt x="44" y="53"/>
                      </a:lnTo>
                      <a:lnTo>
                        <a:pt x="46" y="49"/>
                      </a:lnTo>
                      <a:lnTo>
                        <a:pt x="46" y="48"/>
                      </a:lnTo>
                      <a:lnTo>
                        <a:pt x="44" y="48"/>
                      </a:lnTo>
                      <a:lnTo>
                        <a:pt x="44" y="46"/>
                      </a:lnTo>
                      <a:lnTo>
                        <a:pt x="44" y="44"/>
                      </a:lnTo>
                      <a:lnTo>
                        <a:pt x="46" y="44"/>
                      </a:lnTo>
                      <a:lnTo>
                        <a:pt x="48" y="44"/>
                      </a:lnTo>
                      <a:lnTo>
                        <a:pt x="48" y="43"/>
                      </a:lnTo>
                      <a:lnTo>
                        <a:pt x="48" y="41"/>
                      </a:lnTo>
                      <a:lnTo>
                        <a:pt x="48" y="39"/>
                      </a:lnTo>
                      <a:lnTo>
                        <a:pt x="49" y="39"/>
                      </a:lnTo>
                      <a:lnTo>
                        <a:pt x="51" y="39"/>
                      </a:lnTo>
                      <a:lnTo>
                        <a:pt x="53" y="39"/>
                      </a:lnTo>
                      <a:lnTo>
                        <a:pt x="53" y="37"/>
                      </a:lnTo>
                      <a:lnTo>
                        <a:pt x="51" y="37"/>
                      </a:lnTo>
                      <a:lnTo>
                        <a:pt x="51" y="36"/>
                      </a:lnTo>
                      <a:lnTo>
                        <a:pt x="51" y="34"/>
                      </a:lnTo>
                      <a:lnTo>
                        <a:pt x="53" y="34"/>
                      </a:lnTo>
                      <a:lnTo>
                        <a:pt x="54" y="34"/>
                      </a:lnTo>
                      <a:lnTo>
                        <a:pt x="56" y="3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3" name="Freeform 387">
                  <a:extLst>
                    <a:ext uri="{FF2B5EF4-FFF2-40B4-BE49-F238E27FC236}">
                      <a16:creationId xmlns:a16="http://schemas.microsoft.com/office/drawing/2014/main" id="{885D9EBF-D0EA-5942-A2AA-7A558815EE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6" y="596"/>
                  <a:ext cx="61" cy="53"/>
                </a:xfrm>
                <a:custGeom>
                  <a:avLst/>
                  <a:gdLst>
                    <a:gd name="T0" fmla="*/ 56 w 61"/>
                    <a:gd name="T1" fmla="*/ 32 h 53"/>
                    <a:gd name="T2" fmla="*/ 56 w 61"/>
                    <a:gd name="T3" fmla="*/ 29 h 53"/>
                    <a:gd name="T4" fmla="*/ 54 w 61"/>
                    <a:gd name="T5" fmla="*/ 26 h 53"/>
                    <a:gd name="T6" fmla="*/ 56 w 61"/>
                    <a:gd name="T7" fmla="*/ 27 h 53"/>
                    <a:gd name="T8" fmla="*/ 59 w 61"/>
                    <a:gd name="T9" fmla="*/ 26 h 53"/>
                    <a:gd name="T10" fmla="*/ 61 w 61"/>
                    <a:gd name="T11" fmla="*/ 24 h 53"/>
                    <a:gd name="T12" fmla="*/ 58 w 61"/>
                    <a:gd name="T13" fmla="*/ 24 h 53"/>
                    <a:gd name="T14" fmla="*/ 54 w 61"/>
                    <a:gd name="T15" fmla="*/ 19 h 53"/>
                    <a:gd name="T16" fmla="*/ 53 w 61"/>
                    <a:gd name="T17" fmla="*/ 14 h 53"/>
                    <a:gd name="T18" fmla="*/ 54 w 61"/>
                    <a:gd name="T19" fmla="*/ 11 h 53"/>
                    <a:gd name="T20" fmla="*/ 53 w 61"/>
                    <a:gd name="T21" fmla="*/ 7 h 53"/>
                    <a:gd name="T22" fmla="*/ 46 w 61"/>
                    <a:gd name="T23" fmla="*/ 5 h 53"/>
                    <a:gd name="T24" fmla="*/ 43 w 61"/>
                    <a:gd name="T25" fmla="*/ 2 h 53"/>
                    <a:gd name="T26" fmla="*/ 36 w 61"/>
                    <a:gd name="T27" fmla="*/ 2 h 53"/>
                    <a:gd name="T28" fmla="*/ 34 w 61"/>
                    <a:gd name="T29" fmla="*/ 4 h 53"/>
                    <a:gd name="T30" fmla="*/ 31 w 61"/>
                    <a:gd name="T31" fmla="*/ 4 h 53"/>
                    <a:gd name="T32" fmla="*/ 27 w 61"/>
                    <a:gd name="T33" fmla="*/ 2 h 53"/>
                    <a:gd name="T34" fmla="*/ 24 w 61"/>
                    <a:gd name="T35" fmla="*/ 0 h 53"/>
                    <a:gd name="T36" fmla="*/ 21 w 61"/>
                    <a:gd name="T37" fmla="*/ 2 h 53"/>
                    <a:gd name="T38" fmla="*/ 17 w 61"/>
                    <a:gd name="T39" fmla="*/ 0 h 53"/>
                    <a:gd name="T40" fmla="*/ 16 w 61"/>
                    <a:gd name="T41" fmla="*/ 2 h 53"/>
                    <a:gd name="T42" fmla="*/ 11 w 61"/>
                    <a:gd name="T43" fmla="*/ 2 h 53"/>
                    <a:gd name="T44" fmla="*/ 9 w 61"/>
                    <a:gd name="T45" fmla="*/ 7 h 53"/>
                    <a:gd name="T46" fmla="*/ 2 w 61"/>
                    <a:gd name="T47" fmla="*/ 2 h 53"/>
                    <a:gd name="T48" fmla="*/ 0 w 61"/>
                    <a:gd name="T49" fmla="*/ 4 h 53"/>
                    <a:gd name="T50" fmla="*/ 0 w 61"/>
                    <a:gd name="T51" fmla="*/ 7 h 53"/>
                    <a:gd name="T52" fmla="*/ 2 w 61"/>
                    <a:gd name="T53" fmla="*/ 12 h 53"/>
                    <a:gd name="T54" fmla="*/ 4 w 61"/>
                    <a:gd name="T55" fmla="*/ 11 h 53"/>
                    <a:gd name="T56" fmla="*/ 14 w 61"/>
                    <a:gd name="T57" fmla="*/ 26 h 53"/>
                    <a:gd name="T58" fmla="*/ 21 w 61"/>
                    <a:gd name="T59" fmla="*/ 34 h 53"/>
                    <a:gd name="T60" fmla="*/ 24 w 61"/>
                    <a:gd name="T61" fmla="*/ 34 h 53"/>
                    <a:gd name="T62" fmla="*/ 26 w 61"/>
                    <a:gd name="T63" fmla="*/ 36 h 53"/>
                    <a:gd name="T64" fmla="*/ 27 w 61"/>
                    <a:gd name="T65" fmla="*/ 41 h 53"/>
                    <a:gd name="T66" fmla="*/ 31 w 61"/>
                    <a:gd name="T67" fmla="*/ 43 h 53"/>
                    <a:gd name="T68" fmla="*/ 29 w 61"/>
                    <a:gd name="T69" fmla="*/ 44 h 53"/>
                    <a:gd name="T70" fmla="*/ 31 w 61"/>
                    <a:gd name="T71" fmla="*/ 46 h 53"/>
                    <a:gd name="T72" fmla="*/ 36 w 61"/>
                    <a:gd name="T73" fmla="*/ 48 h 53"/>
                    <a:gd name="T74" fmla="*/ 43 w 61"/>
                    <a:gd name="T75" fmla="*/ 53 h 53"/>
                    <a:gd name="T76" fmla="*/ 46 w 61"/>
                    <a:gd name="T77" fmla="*/ 49 h 53"/>
                    <a:gd name="T78" fmla="*/ 44 w 61"/>
                    <a:gd name="T79" fmla="*/ 48 h 53"/>
                    <a:gd name="T80" fmla="*/ 44 w 61"/>
                    <a:gd name="T81" fmla="*/ 44 h 53"/>
                    <a:gd name="T82" fmla="*/ 48 w 61"/>
                    <a:gd name="T83" fmla="*/ 44 h 53"/>
                    <a:gd name="T84" fmla="*/ 48 w 61"/>
                    <a:gd name="T85" fmla="*/ 41 h 53"/>
                    <a:gd name="T86" fmla="*/ 49 w 61"/>
                    <a:gd name="T87" fmla="*/ 39 h 53"/>
                    <a:gd name="T88" fmla="*/ 53 w 61"/>
                    <a:gd name="T89" fmla="*/ 39 h 53"/>
                    <a:gd name="T90" fmla="*/ 51 w 61"/>
                    <a:gd name="T91" fmla="*/ 37 h 53"/>
                    <a:gd name="T92" fmla="*/ 51 w 61"/>
                    <a:gd name="T93" fmla="*/ 34 h 53"/>
                    <a:gd name="T94" fmla="*/ 54 w 61"/>
                    <a:gd name="T95" fmla="*/ 34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61" h="53">
                      <a:moveTo>
                        <a:pt x="56" y="34"/>
                      </a:moveTo>
                      <a:lnTo>
                        <a:pt x="56" y="32"/>
                      </a:lnTo>
                      <a:lnTo>
                        <a:pt x="56" y="31"/>
                      </a:lnTo>
                      <a:lnTo>
                        <a:pt x="56" y="29"/>
                      </a:lnTo>
                      <a:lnTo>
                        <a:pt x="54" y="27"/>
                      </a:lnTo>
                      <a:lnTo>
                        <a:pt x="54" y="26"/>
                      </a:lnTo>
                      <a:lnTo>
                        <a:pt x="56" y="26"/>
                      </a:lnTo>
                      <a:lnTo>
                        <a:pt x="56" y="27"/>
                      </a:lnTo>
                      <a:lnTo>
                        <a:pt x="58" y="27"/>
                      </a:lnTo>
                      <a:lnTo>
                        <a:pt x="59" y="26"/>
                      </a:lnTo>
                      <a:lnTo>
                        <a:pt x="61" y="26"/>
                      </a:lnTo>
                      <a:lnTo>
                        <a:pt x="61" y="24"/>
                      </a:lnTo>
                      <a:lnTo>
                        <a:pt x="59" y="24"/>
                      </a:lnTo>
                      <a:lnTo>
                        <a:pt x="58" y="24"/>
                      </a:lnTo>
                      <a:lnTo>
                        <a:pt x="56" y="21"/>
                      </a:lnTo>
                      <a:lnTo>
                        <a:pt x="54" y="19"/>
                      </a:lnTo>
                      <a:lnTo>
                        <a:pt x="53" y="17"/>
                      </a:lnTo>
                      <a:lnTo>
                        <a:pt x="53" y="14"/>
                      </a:lnTo>
                      <a:lnTo>
                        <a:pt x="53" y="12"/>
                      </a:lnTo>
                      <a:lnTo>
                        <a:pt x="54" y="11"/>
                      </a:lnTo>
                      <a:lnTo>
                        <a:pt x="56" y="7"/>
                      </a:lnTo>
                      <a:lnTo>
                        <a:pt x="53" y="7"/>
                      </a:lnTo>
                      <a:lnTo>
                        <a:pt x="49" y="7"/>
                      </a:lnTo>
                      <a:lnTo>
                        <a:pt x="46" y="5"/>
                      </a:lnTo>
                      <a:lnTo>
                        <a:pt x="44" y="4"/>
                      </a:lnTo>
                      <a:lnTo>
                        <a:pt x="43" y="2"/>
                      </a:lnTo>
                      <a:lnTo>
                        <a:pt x="39" y="4"/>
                      </a:lnTo>
                      <a:lnTo>
                        <a:pt x="36" y="2"/>
                      </a:lnTo>
                      <a:lnTo>
                        <a:pt x="36" y="4"/>
                      </a:lnTo>
                      <a:lnTo>
                        <a:pt x="34" y="4"/>
                      </a:lnTo>
                      <a:lnTo>
                        <a:pt x="33" y="4"/>
                      </a:lnTo>
                      <a:lnTo>
                        <a:pt x="31" y="4"/>
                      </a:lnTo>
                      <a:lnTo>
                        <a:pt x="29" y="2"/>
                      </a:lnTo>
                      <a:lnTo>
                        <a:pt x="27" y="2"/>
                      </a:lnTo>
                      <a:lnTo>
                        <a:pt x="26" y="0"/>
                      </a:lnTo>
                      <a:lnTo>
                        <a:pt x="24" y="0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0"/>
                      </a:lnTo>
                      <a:lnTo>
                        <a:pt x="17" y="0"/>
                      </a:lnTo>
                      <a:lnTo>
                        <a:pt x="16" y="0"/>
                      </a:lnTo>
                      <a:lnTo>
                        <a:pt x="16" y="2"/>
                      </a:lnTo>
                      <a:lnTo>
                        <a:pt x="12" y="2"/>
                      </a:lnTo>
                      <a:lnTo>
                        <a:pt x="11" y="2"/>
                      </a:lnTo>
                      <a:lnTo>
                        <a:pt x="11" y="4"/>
                      </a:lnTo>
                      <a:lnTo>
                        <a:pt x="9" y="7"/>
                      </a:ln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0" y="11"/>
                      </a:lnTo>
                      <a:lnTo>
                        <a:pt x="2" y="12"/>
                      </a:lnTo>
                      <a:lnTo>
                        <a:pt x="4" y="12"/>
                      </a:lnTo>
                      <a:lnTo>
                        <a:pt x="4" y="11"/>
                      </a:lnTo>
                      <a:lnTo>
                        <a:pt x="9" y="21"/>
                      </a:lnTo>
                      <a:lnTo>
                        <a:pt x="14" y="26"/>
                      </a:lnTo>
                      <a:lnTo>
                        <a:pt x="21" y="32"/>
                      </a:lnTo>
                      <a:lnTo>
                        <a:pt x="21" y="34"/>
                      </a:lnTo>
                      <a:lnTo>
                        <a:pt x="22" y="34"/>
                      </a:lnTo>
                      <a:lnTo>
                        <a:pt x="24" y="34"/>
                      </a:lnTo>
                      <a:lnTo>
                        <a:pt x="26" y="34"/>
                      </a:lnTo>
                      <a:lnTo>
                        <a:pt x="26" y="36"/>
                      </a:lnTo>
                      <a:lnTo>
                        <a:pt x="26" y="37"/>
                      </a:lnTo>
                      <a:lnTo>
                        <a:pt x="27" y="41"/>
                      </a:lnTo>
                      <a:lnTo>
                        <a:pt x="29" y="43"/>
                      </a:lnTo>
                      <a:lnTo>
                        <a:pt x="31" y="43"/>
                      </a:lnTo>
                      <a:lnTo>
                        <a:pt x="31" y="44"/>
                      </a:lnTo>
                      <a:lnTo>
                        <a:pt x="29" y="44"/>
                      </a:lnTo>
                      <a:lnTo>
                        <a:pt x="29" y="46"/>
                      </a:lnTo>
                      <a:lnTo>
                        <a:pt x="31" y="46"/>
                      </a:lnTo>
                      <a:lnTo>
                        <a:pt x="33" y="44"/>
                      </a:lnTo>
                      <a:lnTo>
                        <a:pt x="36" y="48"/>
                      </a:lnTo>
                      <a:lnTo>
                        <a:pt x="39" y="49"/>
                      </a:lnTo>
                      <a:lnTo>
                        <a:pt x="43" y="53"/>
                      </a:lnTo>
                      <a:lnTo>
                        <a:pt x="44" y="53"/>
                      </a:lnTo>
                      <a:lnTo>
                        <a:pt x="46" y="49"/>
                      </a:lnTo>
                      <a:lnTo>
                        <a:pt x="46" y="48"/>
                      </a:lnTo>
                      <a:lnTo>
                        <a:pt x="44" y="48"/>
                      </a:lnTo>
                      <a:lnTo>
                        <a:pt x="44" y="46"/>
                      </a:lnTo>
                      <a:lnTo>
                        <a:pt x="44" y="44"/>
                      </a:lnTo>
                      <a:lnTo>
                        <a:pt x="46" y="44"/>
                      </a:lnTo>
                      <a:lnTo>
                        <a:pt x="48" y="44"/>
                      </a:lnTo>
                      <a:lnTo>
                        <a:pt x="48" y="43"/>
                      </a:lnTo>
                      <a:lnTo>
                        <a:pt x="48" y="41"/>
                      </a:lnTo>
                      <a:lnTo>
                        <a:pt x="48" y="39"/>
                      </a:lnTo>
                      <a:lnTo>
                        <a:pt x="49" y="39"/>
                      </a:lnTo>
                      <a:lnTo>
                        <a:pt x="51" y="39"/>
                      </a:lnTo>
                      <a:lnTo>
                        <a:pt x="53" y="39"/>
                      </a:lnTo>
                      <a:lnTo>
                        <a:pt x="53" y="37"/>
                      </a:lnTo>
                      <a:lnTo>
                        <a:pt x="51" y="37"/>
                      </a:lnTo>
                      <a:lnTo>
                        <a:pt x="51" y="36"/>
                      </a:lnTo>
                      <a:lnTo>
                        <a:pt x="51" y="34"/>
                      </a:lnTo>
                      <a:lnTo>
                        <a:pt x="53" y="34"/>
                      </a:lnTo>
                      <a:lnTo>
                        <a:pt x="54" y="34"/>
                      </a:lnTo>
                      <a:lnTo>
                        <a:pt x="56" y="34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42" name="Group 1641">
                <a:extLst>
                  <a:ext uri="{FF2B5EF4-FFF2-40B4-BE49-F238E27FC236}">
                    <a16:creationId xmlns:a16="http://schemas.microsoft.com/office/drawing/2014/main" id="{8F7C4AD4-12BA-AD4F-AFFD-C9AA48F48A8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" y="618"/>
                <a:ext cx="100" cy="54"/>
                <a:chOff x="509" y="618"/>
                <a:chExt cx="100" cy="54"/>
              </a:xfrm>
            </p:grpSpPr>
            <p:sp>
              <p:nvSpPr>
                <p:cNvPr id="2010" name="Freeform 384">
                  <a:extLst>
                    <a:ext uri="{FF2B5EF4-FFF2-40B4-BE49-F238E27FC236}">
                      <a16:creationId xmlns:a16="http://schemas.microsoft.com/office/drawing/2014/main" id="{81404DFD-F41E-7A41-B4F1-392B449149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" y="618"/>
                  <a:ext cx="100" cy="54"/>
                </a:xfrm>
                <a:custGeom>
                  <a:avLst/>
                  <a:gdLst>
                    <a:gd name="T0" fmla="*/ 9 w 100"/>
                    <a:gd name="T1" fmla="*/ 41 h 54"/>
                    <a:gd name="T2" fmla="*/ 2 w 100"/>
                    <a:gd name="T3" fmla="*/ 29 h 54"/>
                    <a:gd name="T4" fmla="*/ 9 w 100"/>
                    <a:gd name="T5" fmla="*/ 21 h 54"/>
                    <a:gd name="T6" fmla="*/ 2 w 100"/>
                    <a:gd name="T7" fmla="*/ 12 h 54"/>
                    <a:gd name="T8" fmla="*/ 2 w 100"/>
                    <a:gd name="T9" fmla="*/ 2 h 54"/>
                    <a:gd name="T10" fmla="*/ 10 w 100"/>
                    <a:gd name="T11" fmla="*/ 0 h 54"/>
                    <a:gd name="T12" fmla="*/ 12 w 100"/>
                    <a:gd name="T13" fmla="*/ 7 h 54"/>
                    <a:gd name="T14" fmla="*/ 26 w 100"/>
                    <a:gd name="T15" fmla="*/ 7 h 54"/>
                    <a:gd name="T16" fmla="*/ 42 w 100"/>
                    <a:gd name="T17" fmla="*/ 9 h 54"/>
                    <a:gd name="T18" fmla="*/ 54 w 100"/>
                    <a:gd name="T19" fmla="*/ 9 h 54"/>
                    <a:gd name="T20" fmla="*/ 66 w 100"/>
                    <a:gd name="T21" fmla="*/ 4 h 54"/>
                    <a:gd name="T22" fmla="*/ 78 w 100"/>
                    <a:gd name="T23" fmla="*/ 0 h 54"/>
                    <a:gd name="T24" fmla="*/ 88 w 100"/>
                    <a:gd name="T25" fmla="*/ 4 h 54"/>
                    <a:gd name="T26" fmla="*/ 100 w 100"/>
                    <a:gd name="T27" fmla="*/ 7 h 54"/>
                    <a:gd name="T28" fmla="*/ 96 w 100"/>
                    <a:gd name="T29" fmla="*/ 14 h 54"/>
                    <a:gd name="T30" fmla="*/ 88 w 100"/>
                    <a:gd name="T31" fmla="*/ 19 h 54"/>
                    <a:gd name="T32" fmla="*/ 88 w 100"/>
                    <a:gd name="T33" fmla="*/ 27 h 54"/>
                    <a:gd name="T34" fmla="*/ 85 w 100"/>
                    <a:gd name="T35" fmla="*/ 29 h 54"/>
                    <a:gd name="T36" fmla="*/ 81 w 100"/>
                    <a:gd name="T37" fmla="*/ 31 h 54"/>
                    <a:gd name="T38" fmla="*/ 85 w 100"/>
                    <a:gd name="T39" fmla="*/ 32 h 54"/>
                    <a:gd name="T40" fmla="*/ 86 w 100"/>
                    <a:gd name="T41" fmla="*/ 37 h 54"/>
                    <a:gd name="T42" fmla="*/ 90 w 100"/>
                    <a:gd name="T43" fmla="*/ 41 h 54"/>
                    <a:gd name="T44" fmla="*/ 88 w 100"/>
                    <a:gd name="T45" fmla="*/ 42 h 54"/>
                    <a:gd name="T46" fmla="*/ 76 w 100"/>
                    <a:gd name="T47" fmla="*/ 41 h 54"/>
                    <a:gd name="T48" fmla="*/ 66 w 100"/>
                    <a:gd name="T49" fmla="*/ 42 h 54"/>
                    <a:gd name="T50" fmla="*/ 63 w 100"/>
                    <a:gd name="T51" fmla="*/ 44 h 54"/>
                    <a:gd name="T52" fmla="*/ 59 w 100"/>
                    <a:gd name="T53" fmla="*/ 51 h 54"/>
                    <a:gd name="T54" fmla="*/ 49 w 100"/>
                    <a:gd name="T55" fmla="*/ 54 h 54"/>
                    <a:gd name="T56" fmla="*/ 39 w 100"/>
                    <a:gd name="T57" fmla="*/ 51 h 54"/>
                    <a:gd name="T58" fmla="*/ 34 w 100"/>
                    <a:gd name="T59" fmla="*/ 49 h 54"/>
                    <a:gd name="T60" fmla="*/ 26 w 100"/>
                    <a:gd name="T61" fmla="*/ 51 h 54"/>
                    <a:gd name="T62" fmla="*/ 14 w 100"/>
                    <a:gd name="T63" fmla="*/ 53 h 54"/>
                    <a:gd name="T64" fmla="*/ 10 w 100"/>
                    <a:gd name="T65" fmla="*/ 48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00" h="54">
                      <a:moveTo>
                        <a:pt x="10" y="48"/>
                      </a:moveTo>
                      <a:lnTo>
                        <a:pt x="9" y="41"/>
                      </a:lnTo>
                      <a:lnTo>
                        <a:pt x="2" y="36"/>
                      </a:lnTo>
                      <a:lnTo>
                        <a:pt x="2" y="29"/>
                      </a:lnTo>
                      <a:lnTo>
                        <a:pt x="5" y="24"/>
                      </a:lnTo>
                      <a:lnTo>
                        <a:pt x="9" y="21"/>
                      </a:lnTo>
                      <a:lnTo>
                        <a:pt x="4" y="15"/>
                      </a:lnTo>
                      <a:lnTo>
                        <a:pt x="2" y="12"/>
                      </a:ln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10" y="0"/>
                      </a:lnTo>
                      <a:lnTo>
                        <a:pt x="9" y="4"/>
                      </a:lnTo>
                      <a:lnTo>
                        <a:pt x="12" y="7"/>
                      </a:lnTo>
                      <a:lnTo>
                        <a:pt x="15" y="7"/>
                      </a:lnTo>
                      <a:lnTo>
                        <a:pt x="26" y="7"/>
                      </a:lnTo>
                      <a:lnTo>
                        <a:pt x="37" y="7"/>
                      </a:lnTo>
                      <a:lnTo>
                        <a:pt x="42" y="9"/>
                      </a:lnTo>
                      <a:lnTo>
                        <a:pt x="49" y="10"/>
                      </a:lnTo>
                      <a:lnTo>
                        <a:pt x="54" y="9"/>
                      </a:lnTo>
                      <a:lnTo>
                        <a:pt x="59" y="5"/>
                      </a:lnTo>
                      <a:lnTo>
                        <a:pt x="66" y="4"/>
                      </a:lnTo>
                      <a:lnTo>
                        <a:pt x="73" y="0"/>
                      </a:lnTo>
                      <a:lnTo>
                        <a:pt x="78" y="0"/>
                      </a:lnTo>
                      <a:lnTo>
                        <a:pt x="80" y="2"/>
                      </a:lnTo>
                      <a:lnTo>
                        <a:pt x="88" y="4"/>
                      </a:lnTo>
                      <a:lnTo>
                        <a:pt x="95" y="9"/>
                      </a:lnTo>
                      <a:lnTo>
                        <a:pt x="100" y="7"/>
                      </a:lnTo>
                      <a:lnTo>
                        <a:pt x="98" y="12"/>
                      </a:lnTo>
                      <a:lnTo>
                        <a:pt x="96" y="14"/>
                      </a:lnTo>
                      <a:lnTo>
                        <a:pt x="91" y="15"/>
                      </a:lnTo>
                      <a:lnTo>
                        <a:pt x="88" y="19"/>
                      </a:lnTo>
                      <a:lnTo>
                        <a:pt x="88" y="22"/>
                      </a:lnTo>
                      <a:lnTo>
                        <a:pt x="88" y="27"/>
                      </a:lnTo>
                      <a:lnTo>
                        <a:pt x="86" y="27"/>
                      </a:lnTo>
                      <a:lnTo>
                        <a:pt x="85" y="29"/>
                      </a:lnTo>
                      <a:lnTo>
                        <a:pt x="83" y="31"/>
                      </a:lnTo>
                      <a:lnTo>
                        <a:pt x="81" y="31"/>
                      </a:lnTo>
                      <a:lnTo>
                        <a:pt x="83" y="32"/>
                      </a:lnTo>
                      <a:lnTo>
                        <a:pt x="85" y="32"/>
                      </a:lnTo>
                      <a:lnTo>
                        <a:pt x="85" y="34"/>
                      </a:lnTo>
                      <a:lnTo>
                        <a:pt x="86" y="37"/>
                      </a:lnTo>
                      <a:lnTo>
                        <a:pt x="88" y="39"/>
                      </a:lnTo>
                      <a:lnTo>
                        <a:pt x="90" y="41"/>
                      </a:lnTo>
                      <a:lnTo>
                        <a:pt x="90" y="42"/>
                      </a:lnTo>
                      <a:lnTo>
                        <a:pt x="88" y="42"/>
                      </a:lnTo>
                      <a:lnTo>
                        <a:pt x="81" y="42"/>
                      </a:lnTo>
                      <a:lnTo>
                        <a:pt x="76" y="41"/>
                      </a:lnTo>
                      <a:lnTo>
                        <a:pt x="69" y="42"/>
                      </a:lnTo>
                      <a:lnTo>
                        <a:pt x="66" y="42"/>
                      </a:lnTo>
                      <a:lnTo>
                        <a:pt x="64" y="44"/>
                      </a:lnTo>
                      <a:lnTo>
                        <a:pt x="63" y="44"/>
                      </a:lnTo>
                      <a:lnTo>
                        <a:pt x="59" y="46"/>
                      </a:lnTo>
                      <a:lnTo>
                        <a:pt x="59" y="51"/>
                      </a:lnTo>
                      <a:lnTo>
                        <a:pt x="56" y="53"/>
                      </a:lnTo>
                      <a:lnTo>
                        <a:pt x="49" y="54"/>
                      </a:lnTo>
                      <a:lnTo>
                        <a:pt x="44" y="53"/>
                      </a:lnTo>
                      <a:lnTo>
                        <a:pt x="39" y="51"/>
                      </a:lnTo>
                      <a:lnTo>
                        <a:pt x="37" y="49"/>
                      </a:lnTo>
                      <a:lnTo>
                        <a:pt x="34" y="49"/>
                      </a:lnTo>
                      <a:lnTo>
                        <a:pt x="31" y="49"/>
                      </a:lnTo>
                      <a:lnTo>
                        <a:pt x="26" y="51"/>
                      </a:lnTo>
                      <a:lnTo>
                        <a:pt x="19" y="51"/>
                      </a:lnTo>
                      <a:lnTo>
                        <a:pt x="14" y="53"/>
                      </a:lnTo>
                      <a:lnTo>
                        <a:pt x="10" y="53"/>
                      </a:lnTo>
                      <a:lnTo>
                        <a:pt x="10" y="48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1" name="Freeform 385">
                  <a:extLst>
                    <a:ext uri="{FF2B5EF4-FFF2-40B4-BE49-F238E27FC236}">
                      <a16:creationId xmlns:a16="http://schemas.microsoft.com/office/drawing/2014/main" id="{1FF002FC-DFCD-3444-A3A6-5CD6F43D93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" y="618"/>
                  <a:ext cx="100" cy="54"/>
                </a:xfrm>
                <a:custGeom>
                  <a:avLst/>
                  <a:gdLst>
                    <a:gd name="T0" fmla="*/ 9 w 100"/>
                    <a:gd name="T1" fmla="*/ 41 h 54"/>
                    <a:gd name="T2" fmla="*/ 2 w 100"/>
                    <a:gd name="T3" fmla="*/ 29 h 54"/>
                    <a:gd name="T4" fmla="*/ 9 w 100"/>
                    <a:gd name="T5" fmla="*/ 21 h 54"/>
                    <a:gd name="T6" fmla="*/ 2 w 100"/>
                    <a:gd name="T7" fmla="*/ 12 h 54"/>
                    <a:gd name="T8" fmla="*/ 2 w 100"/>
                    <a:gd name="T9" fmla="*/ 2 h 54"/>
                    <a:gd name="T10" fmla="*/ 10 w 100"/>
                    <a:gd name="T11" fmla="*/ 0 h 54"/>
                    <a:gd name="T12" fmla="*/ 12 w 100"/>
                    <a:gd name="T13" fmla="*/ 7 h 54"/>
                    <a:gd name="T14" fmla="*/ 26 w 100"/>
                    <a:gd name="T15" fmla="*/ 7 h 54"/>
                    <a:gd name="T16" fmla="*/ 42 w 100"/>
                    <a:gd name="T17" fmla="*/ 9 h 54"/>
                    <a:gd name="T18" fmla="*/ 54 w 100"/>
                    <a:gd name="T19" fmla="*/ 9 h 54"/>
                    <a:gd name="T20" fmla="*/ 66 w 100"/>
                    <a:gd name="T21" fmla="*/ 4 h 54"/>
                    <a:gd name="T22" fmla="*/ 78 w 100"/>
                    <a:gd name="T23" fmla="*/ 0 h 54"/>
                    <a:gd name="T24" fmla="*/ 88 w 100"/>
                    <a:gd name="T25" fmla="*/ 4 h 54"/>
                    <a:gd name="T26" fmla="*/ 100 w 100"/>
                    <a:gd name="T27" fmla="*/ 7 h 54"/>
                    <a:gd name="T28" fmla="*/ 96 w 100"/>
                    <a:gd name="T29" fmla="*/ 14 h 54"/>
                    <a:gd name="T30" fmla="*/ 88 w 100"/>
                    <a:gd name="T31" fmla="*/ 19 h 54"/>
                    <a:gd name="T32" fmla="*/ 88 w 100"/>
                    <a:gd name="T33" fmla="*/ 27 h 54"/>
                    <a:gd name="T34" fmla="*/ 85 w 100"/>
                    <a:gd name="T35" fmla="*/ 29 h 54"/>
                    <a:gd name="T36" fmla="*/ 81 w 100"/>
                    <a:gd name="T37" fmla="*/ 31 h 54"/>
                    <a:gd name="T38" fmla="*/ 85 w 100"/>
                    <a:gd name="T39" fmla="*/ 32 h 54"/>
                    <a:gd name="T40" fmla="*/ 86 w 100"/>
                    <a:gd name="T41" fmla="*/ 37 h 54"/>
                    <a:gd name="T42" fmla="*/ 90 w 100"/>
                    <a:gd name="T43" fmla="*/ 41 h 54"/>
                    <a:gd name="T44" fmla="*/ 88 w 100"/>
                    <a:gd name="T45" fmla="*/ 42 h 54"/>
                    <a:gd name="T46" fmla="*/ 76 w 100"/>
                    <a:gd name="T47" fmla="*/ 41 h 54"/>
                    <a:gd name="T48" fmla="*/ 66 w 100"/>
                    <a:gd name="T49" fmla="*/ 42 h 54"/>
                    <a:gd name="T50" fmla="*/ 63 w 100"/>
                    <a:gd name="T51" fmla="*/ 44 h 54"/>
                    <a:gd name="T52" fmla="*/ 59 w 100"/>
                    <a:gd name="T53" fmla="*/ 51 h 54"/>
                    <a:gd name="T54" fmla="*/ 49 w 100"/>
                    <a:gd name="T55" fmla="*/ 54 h 54"/>
                    <a:gd name="T56" fmla="*/ 39 w 100"/>
                    <a:gd name="T57" fmla="*/ 51 h 54"/>
                    <a:gd name="T58" fmla="*/ 34 w 100"/>
                    <a:gd name="T59" fmla="*/ 49 h 54"/>
                    <a:gd name="T60" fmla="*/ 26 w 100"/>
                    <a:gd name="T61" fmla="*/ 51 h 54"/>
                    <a:gd name="T62" fmla="*/ 14 w 100"/>
                    <a:gd name="T63" fmla="*/ 53 h 54"/>
                    <a:gd name="T64" fmla="*/ 10 w 100"/>
                    <a:gd name="T65" fmla="*/ 48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00" h="54">
                      <a:moveTo>
                        <a:pt x="10" y="48"/>
                      </a:moveTo>
                      <a:lnTo>
                        <a:pt x="9" y="41"/>
                      </a:lnTo>
                      <a:lnTo>
                        <a:pt x="2" y="36"/>
                      </a:lnTo>
                      <a:lnTo>
                        <a:pt x="2" y="29"/>
                      </a:lnTo>
                      <a:lnTo>
                        <a:pt x="5" y="24"/>
                      </a:lnTo>
                      <a:lnTo>
                        <a:pt x="9" y="21"/>
                      </a:lnTo>
                      <a:lnTo>
                        <a:pt x="4" y="15"/>
                      </a:lnTo>
                      <a:lnTo>
                        <a:pt x="2" y="12"/>
                      </a:ln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10" y="0"/>
                      </a:lnTo>
                      <a:lnTo>
                        <a:pt x="9" y="4"/>
                      </a:lnTo>
                      <a:lnTo>
                        <a:pt x="12" y="7"/>
                      </a:lnTo>
                      <a:lnTo>
                        <a:pt x="15" y="7"/>
                      </a:lnTo>
                      <a:lnTo>
                        <a:pt x="26" y="7"/>
                      </a:lnTo>
                      <a:lnTo>
                        <a:pt x="37" y="7"/>
                      </a:lnTo>
                      <a:lnTo>
                        <a:pt x="42" y="9"/>
                      </a:lnTo>
                      <a:lnTo>
                        <a:pt x="49" y="10"/>
                      </a:lnTo>
                      <a:lnTo>
                        <a:pt x="54" y="9"/>
                      </a:lnTo>
                      <a:lnTo>
                        <a:pt x="59" y="5"/>
                      </a:lnTo>
                      <a:lnTo>
                        <a:pt x="66" y="4"/>
                      </a:lnTo>
                      <a:lnTo>
                        <a:pt x="73" y="0"/>
                      </a:lnTo>
                      <a:lnTo>
                        <a:pt x="78" y="0"/>
                      </a:lnTo>
                      <a:lnTo>
                        <a:pt x="80" y="2"/>
                      </a:lnTo>
                      <a:lnTo>
                        <a:pt x="88" y="4"/>
                      </a:lnTo>
                      <a:lnTo>
                        <a:pt x="95" y="9"/>
                      </a:lnTo>
                      <a:lnTo>
                        <a:pt x="100" y="7"/>
                      </a:lnTo>
                      <a:lnTo>
                        <a:pt x="98" y="12"/>
                      </a:lnTo>
                      <a:lnTo>
                        <a:pt x="96" y="14"/>
                      </a:lnTo>
                      <a:lnTo>
                        <a:pt x="91" y="15"/>
                      </a:lnTo>
                      <a:lnTo>
                        <a:pt x="88" y="19"/>
                      </a:lnTo>
                      <a:lnTo>
                        <a:pt x="88" y="22"/>
                      </a:lnTo>
                      <a:lnTo>
                        <a:pt x="88" y="27"/>
                      </a:lnTo>
                      <a:lnTo>
                        <a:pt x="86" y="27"/>
                      </a:lnTo>
                      <a:lnTo>
                        <a:pt x="85" y="29"/>
                      </a:lnTo>
                      <a:lnTo>
                        <a:pt x="83" y="31"/>
                      </a:lnTo>
                      <a:lnTo>
                        <a:pt x="81" y="31"/>
                      </a:lnTo>
                      <a:lnTo>
                        <a:pt x="83" y="32"/>
                      </a:lnTo>
                      <a:lnTo>
                        <a:pt x="85" y="32"/>
                      </a:lnTo>
                      <a:lnTo>
                        <a:pt x="85" y="34"/>
                      </a:lnTo>
                      <a:lnTo>
                        <a:pt x="86" y="37"/>
                      </a:lnTo>
                      <a:lnTo>
                        <a:pt x="88" y="39"/>
                      </a:lnTo>
                      <a:lnTo>
                        <a:pt x="90" y="41"/>
                      </a:lnTo>
                      <a:lnTo>
                        <a:pt x="90" y="42"/>
                      </a:lnTo>
                      <a:lnTo>
                        <a:pt x="88" y="42"/>
                      </a:lnTo>
                      <a:lnTo>
                        <a:pt x="81" y="42"/>
                      </a:lnTo>
                      <a:lnTo>
                        <a:pt x="76" y="41"/>
                      </a:lnTo>
                      <a:lnTo>
                        <a:pt x="69" y="42"/>
                      </a:lnTo>
                      <a:lnTo>
                        <a:pt x="66" y="42"/>
                      </a:lnTo>
                      <a:lnTo>
                        <a:pt x="64" y="44"/>
                      </a:lnTo>
                      <a:lnTo>
                        <a:pt x="63" y="44"/>
                      </a:lnTo>
                      <a:lnTo>
                        <a:pt x="59" y="46"/>
                      </a:lnTo>
                      <a:lnTo>
                        <a:pt x="59" y="51"/>
                      </a:lnTo>
                      <a:lnTo>
                        <a:pt x="56" y="53"/>
                      </a:lnTo>
                      <a:lnTo>
                        <a:pt x="49" y="54"/>
                      </a:lnTo>
                      <a:lnTo>
                        <a:pt x="44" y="53"/>
                      </a:lnTo>
                      <a:lnTo>
                        <a:pt x="39" y="51"/>
                      </a:lnTo>
                      <a:lnTo>
                        <a:pt x="37" y="49"/>
                      </a:lnTo>
                      <a:lnTo>
                        <a:pt x="34" y="49"/>
                      </a:lnTo>
                      <a:lnTo>
                        <a:pt x="31" y="49"/>
                      </a:lnTo>
                      <a:lnTo>
                        <a:pt x="26" y="51"/>
                      </a:lnTo>
                      <a:lnTo>
                        <a:pt x="19" y="51"/>
                      </a:lnTo>
                      <a:lnTo>
                        <a:pt x="14" y="53"/>
                      </a:lnTo>
                      <a:lnTo>
                        <a:pt x="10" y="53"/>
                      </a:lnTo>
                      <a:lnTo>
                        <a:pt x="10" y="48"/>
                      </a:lnTo>
                      <a:close/>
                    </a:path>
                  </a:pathLst>
                </a:custGeom>
                <a:solidFill>
                  <a:srgbClr val="EB1562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43" name="Group 1642">
                <a:extLst>
                  <a:ext uri="{FF2B5EF4-FFF2-40B4-BE49-F238E27FC236}">
                    <a16:creationId xmlns:a16="http://schemas.microsoft.com/office/drawing/2014/main" id="{28F5AB00-69E0-DA4E-99BD-11A40E82FD3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71" y="573"/>
                <a:ext cx="94" cy="77"/>
                <a:chOff x="371" y="573"/>
                <a:chExt cx="94" cy="77"/>
              </a:xfrm>
            </p:grpSpPr>
            <p:sp>
              <p:nvSpPr>
                <p:cNvPr id="2008" name="Freeform 382">
                  <a:extLst>
                    <a:ext uri="{FF2B5EF4-FFF2-40B4-BE49-F238E27FC236}">
                      <a16:creationId xmlns:a16="http://schemas.microsoft.com/office/drawing/2014/main" id="{5F75F549-4294-914E-8662-A9417FC37F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1" y="573"/>
                  <a:ext cx="94" cy="77"/>
                </a:xfrm>
                <a:custGeom>
                  <a:avLst/>
                  <a:gdLst>
                    <a:gd name="T0" fmla="*/ 93 w 94"/>
                    <a:gd name="T1" fmla="*/ 25 h 77"/>
                    <a:gd name="T2" fmla="*/ 86 w 94"/>
                    <a:gd name="T3" fmla="*/ 20 h 77"/>
                    <a:gd name="T4" fmla="*/ 84 w 94"/>
                    <a:gd name="T5" fmla="*/ 18 h 77"/>
                    <a:gd name="T6" fmla="*/ 84 w 94"/>
                    <a:gd name="T7" fmla="*/ 10 h 77"/>
                    <a:gd name="T8" fmla="*/ 74 w 94"/>
                    <a:gd name="T9" fmla="*/ 13 h 77"/>
                    <a:gd name="T10" fmla="*/ 62 w 94"/>
                    <a:gd name="T11" fmla="*/ 10 h 77"/>
                    <a:gd name="T12" fmla="*/ 52 w 94"/>
                    <a:gd name="T13" fmla="*/ 1 h 77"/>
                    <a:gd name="T14" fmla="*/ 46 w 94"/>
                    <a:gd name="T15" fmla="*/ 0 h 77"/>
                    <a:gd name="T16" fmla="*/ 42 w 94"/>
                    <a:gd name="T17" fmla="*/ 1 h 77"/>
                    <a:gd name="T18" fmla="*/ 39 w 94"/>
                    <a:gd name="T19" fmla="*/ 3 h 77"/>
                    <a:gd name="T20" fmla="*/ 32 w 94"/>
                    <a:gd name="T21" fmla="*/ 8 h 77"/>
                    <a:gd name="T22" fmla="*/ 34 w 94"/>
                    <a:gd name="T23" fmla="*/ 12 h 77"/>
                    <a:gd name="T24" fmla="*/ 30 w 94"/>
                    <a:gd name="T25" fmla="*/ 15 h 77"/>
                    <a:gd name="T26" fmla="*/ 29 w 94"/>
                    <a:gd name="T27" fmla="*/ 17 h 77"/>
                    <a:gd name="T28" fmla="*/ 27 w 94"/>
                    <a:gd name="T29" fmla="*/ 20 h 77"/>
                    <a:gd name="T30" fmla="*/ 24 w 94"/>
                    <a:gd name="T31" fmla="*/ 18 h 77"/>
                    <a:gd name="T32" fmla="*/ 22 w 94"/>
                    <a:gd name="T33" fmla="*/ 18 h 77"/>
                    <a:gd name="T34" fmla="*/ 19 w 94"/>
                    <a:gd name="T35" fmla="*/ 18 h 77"/>
                    <a:gd name="T36" fmla="*/ 15 w 94"/>
                    <a:gd name="T37" fmla="*/ 20 h 77"/>
                    <a:gd name="T38" fmla="*/ 12 w 94"/>
                    <a:gd name="T39" fmla="*/ 22 h 77"/>
                    <a:gd name="T40" fmla="*/ 8 w 94"/>
                    <a:gd name="T41" fmla="*/ 20 h 77"/>
                    <a:gd name="T42" fmla="*/ 5 w 94"/>
                    <a:gd name="T43" fmla="*/ 22 h 77"/>
                    <a:gd name="T44" fmla="*/ 2 w 94"/>
                    <a:gd name="T45" fmla="*/ 20 h 77"/>
                    <a:gd name="T46" fmla="*/ 2 w 94"/>
                    <a:gd name="T47" fmla="*/ 22 h 77"/>
                    <a:gd name="T48" fmla="*/ 5 w 94"/>
                    <a:gd name="T49" fmla="*/ 32 h 77"/>
                    <a:gd name="T50" fmla="*/ 10 w 94"/>
                    <a:gd name="T51" fmla="*/ 30 h 77"/>
                    <a:gd name="T52" fmla="*/ 17 w 94"/>
                    <a:gd name="T53" fmla="*/ 23 h 77"/>
                    <a:gd name="T54" fmla="*/ 20 w 94"/>
                    <a:gd name="T55" fmla="*/ 27 h 77"/>
                    <a:gd name="T56" fmla="*/ 22 w 94"/>
                    <a:gd name="T57" fmla="*/ 34 h 77"/>
                    <a:gd name="T58" fmla="*/ 30 w 94"/>
                    <a:gd name="T59" fmla="*/ 42 h 77"/>
                    <a:gd name="T60" fmla="*/ 27 w 94"/>
                    <a:gd name="T61" fmla="*/ 45 h 77"/>
                    <a:gd name="T62" fmla="*/ 35 w 94"/>
                    <a:gd name="T63" fmla="*/ 52 h 77"/>
                    <a:gd name="T64" fmla="*/ 39 w 94"/>
                    <a:gd name="T65" fmla="*/ 57 h 77"/>
                    <a:gd name="T66" fmla="*/ 49 w 94"/>
                    <a:gd name="T67" fmla="*/ 57 h 77"/>
                    <a:gd name="T68" fmla="*/ 61 w 94"/>
                    <a:gd name="T69" fmla="*/ 66 h 77"/>
                    <a:gd name="T70" fmla="*/ 62 w 94"/>
                    <a:gd name="T71" fmla="*/ 69 h 77"/>
                    <a:gd name="T72" fmla="*/ 56 w 94"/>
                    <a:gd name="T73" fmla="*/ 67 h 77"/>
                    <a:gd name="T74" fmla="*/ 66 w 94"/>
                    <a:gd name="T75" fmla="*/ 71 h 77"/>
                    <a:gd name="T76" fmla="*/ 74 w 94"/>
                    <a:gd name="T77" fmla="*/ 74 h 77"/>
                    <a:gd name="T78" fmla="*/ 79 w 94"/>
                    <a:gd name="T79" fmla="*/ 76 h 77"/>
                    <a:gd name="T80" fmla="*/ 71 w 94"/>
                    <a:gd name="T81" fmla="*/ 71 h 77"/>
                    <a:gd name="T82" fmla="*/ 64 w 94"/>
                    <a:gd name="T83" fmla="*/ 69 h 77"/>
                    <a:gd name="T84" fmla="*/ 66 w 94"/>
                    <a:gd name="T85" fmla="*/ 66 h 77"/>
                    <a:gd name="T86" fmla="*/ 61 w 94"/>
                    <a:gd name="T87" fmla="*/ 60 h 77"/>
                    <a:gd name="T88" fmla="*/ 59 w 94"/>
                    <a:gd name="T89" fmla="*/ 57 h 77"/>
                    <a:gd name="T90" fmla="*/ 56 w 94"/>
                    <a:gd name="T91" fmla="*/ 55 h 77"/>
                    <a:gd name="T92" fmla="*/ 39 w 94"/>
                    <a:gd name="T93" fmla="*/ 34 h 77"/>
                    <a:gd name="T94" fmla="*/ 35 w 94"/>
                    <a:gd name="T95" fmla="*/ 34 h 77"/>
                    <a:gd name="T96" fmla="*/ 35 w 94"/>
                    <a:gd name="T97" fmla="*/ 27 h 77"/>
                    <a:gd name="T98" fmla="*/ 39 w 94"/>
                    <a:gd name="T99" fmla="*/ 25 h 77"/>
                    <a:gd name="T100" fmla="*/ 46 w 94"/>
                    <a:gd name="T101" fmla="*/ 25 h 77"/>
                    <a:gd name="T102" fmla="*/ 51 w 94"/>
                    <a:gd name="T103" fmla="*/ 23 h 77"/>
                    <a:gd name="T104" fmla="*/ 56 w 94"/>
                    <a:gd name="T105" fmla="*/ 25 h 77"/>
                    <a:gd name="T106" fmla="*/ 61 w 94"/>
                    <a:gd name="T107" fmla="*/ 23 h 77"/>
                    <a:gd name="T108" fmla="*/ 66 w 94"/>
                    <a:gd name="T109" fmla="*/ 27 h 77"/>
                    <a:gd name="T110" fmla="*/ 71 w 94"/>
                    <a:gd name="T111" fmla="*/ 27 h 77"/>
                    <a:gd name="T112" fmla="*/ 78 w 94"/>
                    <a:gd name="T113" fmla="*/ 25 h 77"/>
                    <a:gd name="T114" fmla="*/ 84 w 94"/>
                    <a:gd name="T115" fmla="*/ 30 h 77"/>
                    <a:gd name="T116" fmla="*/ 88 w 94"/>
                    <a:gd name="T117" fmla="*/ 27 h 77"/>
                    <a:gd name="T118" fmla="*/ 91 w 94"/>
                    <a:gd name="T119" fmla="*/ 27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4" h="77">
                      <a:moveTo>
                        <a:pt x="93" y="25"/>
                      </a:moveTo>
                      <a:lnTo>
                        <a:pt x="94" y="25"/>
                      </a:lnTo>
                      <a:lnTo>
                        <a:pt x="93" y="25"/>
                      </a:lnTo>
                      <a:lnTo>
                        <a:pt x="89" y="23"/>
                      </a:lnTo>
                      <a:lnTo>
                        <a:pt x="86" y="23"/>
                      </a:lnTo>
                      <a:lnTo>
                        <a:pt x="86" y="20"/>
                      </a:lnTo>
                      <a:lnTo>
                        <a:pt x="88" y="20"/>
                      </a:lnTo>
                      <a:lnTo>
                        <a:pt x="86" y="18"/>
                      </a:lnTo>
                      <a:lnTo>
                        <a:pt x="84" y="18"/>
                      </a:lnTo>
                      <a:lnTo>
                        <a:pt x="86" y="17"/>
                      </a:lnTo>
                      <a:lnTo>
                        <a:pt x="86" y="15"/>
                      </a:lnTo>
                      <a:lnTo>
                        <a:pt x="84" y="10"/>
                      </a:lnTo>
                      <a:lnTo>
                        <a:pt x="83" y="10"/>
                      </a:lnTo>
                      <a:lnTo>
                        <a:pt x="78" y="13"/>
                      </a:lnTo>
                      <a:lnTo>
                        <a:pt x="74" y="13"/>
                      </a:lnTo>
                      <a:lnTo>
                        <a:pt x="69" y="13"/>
                      </a:lnTo>
                      <a:lnTo>
                        <a:pt x="66" y="12"/>
                      </a:lnTo>
                      <a:lnTo>
                        <a:pt x="62" y="10"/>
                      </a:lnTo>
                      <a:lnTo>
                        <a:pt x="59" y="7"/>
                      </a:lnTo>
                      <a:lnTo>
                        <a:pt x="54" y="5"/>
                      </a:lnTo>
                      <a:lnTo>
                        <a:pt x="52" y="1"/>
                      </a:lnTo>
                      <a:lnTo>
                        <a:pt x="49" y="0"/>
                      </a:lnTo>
                      <a:lnTo>
                        <a:pt x="47" y="0"/>
                      </a:lnTo>
                      <a:lnTo>
                        <a:pt x="46" y="0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42" y="1"/>
                      </a:lnTo>
                      <a:lnTo>
                        <a:pt x="42" y="3"/>
                      </a:lnTo>
                      <a:lnTo>
                        <a:pt x="41" y="3"/>
                      </a:lnTo>
                      <a:lnTo>
                        <a:pt x="39" y="3"/>
                      </a:lnTo>
                      <a:lnTo>
                        <a:pt x="37" y="3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4" y="8"/>
                      </a:lnTo>
                      <a:lnTo>
                        <a:pt x="34" y="10"/>
                      </a:lnTo>
                      <a:lnTo>
                        <a:pt x="34" y="12"/>
                      </a:lnTo>
                      <a:lnTo>
                        <a:pt x="34" y="13"/>
                      </a:lnTo>
                      <a:lnTo>
                        <a:pt x="32" y="13"/>
                      </a:lnTo>
                      <a:lnTo>
                        <a:pt x="30" y="15"/>
                      </a:lnTo>
                      <a:lnTo>
                        <a:pt x="29" y="15"/>
                      </a:lnTo>
                      <a:lnTo>
                        <a:pt x="30" y="17"/>
                      </a:lnTo>
                      <a:lnTo>
                        <a:pt x="29" y="17"/>
                      </a:lnTo>
                      <a:lnTo>
                        <a:pt x="29" y="18"/>
                      </a:lnTo>
                      <a:lnTo>
                        <a:pt x="29" y="20"/>
                      </a:lnTo>
                      <a:lnTo>
                        <a:pt x="27" y="20"/>
                      </a:lnTo>
                      <a:lnTo>
                        <a:pt x="27" y="18"/>
                      </a:lnTo>
                      <a:lnTo>
                        <a:pt x="25" y="18"/>
                      </a:lnTo>
                      <a:lnTo>
                        <a:pt x="24" y="18"/>
                      </a:lnTo>
                      <a:lnTo>
                        <a:pt x="24" y="20"/>
                      </a:lnTo>
                      <a:lnTo>
                        <a:pt x="22" y="20"/>
                      </a:lnTo>
                      <a:lnTo>
                        <a:pt x="22" y="18"/>
                      </a:lnTo>
                      <a:lnTo>
                        <a:pt x="20" y="17"/>
                      </a:lnTo>
                      <a:lnTo>
                        <a:pt x="19" y="17"/>
                      </a:lnTo>
                      <a:lnTo>
                        <a:pt x="19" y="18"/>
                      </a:lnTo>
                      <a:lnTo>
                        <a:pt x="19" y="20"/>
                      </a:lnTo>
                      <a:lnTo>
                        <a:pt x="17" y="20"/>
                      </a:lnTo>
                      <a:lnTo>
                        <a:pt x="15" y="20"/>
                      </a:lnTo>
                      <a:lnTo>
                        <a:pt x="14" y="20"/>
                      </a:lnTo>
                      <a:lnTo>
                        <a:pt x="14" y="22"/>
                      </a:lnTo>
                      <a:lnTo>
                        <a:pt x="12" y="22"/>
                      </a:lnTo>
                      <a:lnTo>
                        <a:pt x="12" y="20"/>
                      </a:lnTo>
                      <a:lnTo>
                        <a:pt x="10" y="20"/>
                      </a:lnTo>
                      <a:lnTo>
                        <a:pt x="8" y="20"/>
                      </a:lnTo>
                      <a:lnTo>
                        <a:pt x="8" y="22"/>
                      </a:lnTo>
                      <a:lnTo>
                        <a:pt x="7" y="22"/>
                      </a:lnTo>
                      <a:lnTo>
                        <a:pt x="5" y="22"/>
                      </a:lnTo>
                      <a:lnTo>
                        <a:pt x="3" y="22"/>
                      </a:lnTo>
                      <a:lnTo>
                        <a:pt x="3" y="20"/>
                      </a:lnTo>
                      <a:lnTo>
                        <a:pt x="2" y="20"/>
                      </a:lnTo>
                      <a:lnTo>
                        <a:pt x="2" y="18"/>
                      </a:lnTo>
                      <a:lnTo>
                        <a:pt x="0" y="20"/>
                      </a:lnTo>
                      <a:lnTo>
                        <a:pt x="2" y="22"/>
                      </a:lnTo>
                      <a:lnTo>
                        <a:pt x="2" y="25"/>
                      </a:lnTo>
                      <a:lnTo>
                        <a:pt x="3" y="27"/>
                      </a:lnTo>
                      <a:lnTo>
                        <a:pt x="5" y="32"/>
                      </a:lnTo>
                      <a:lnTo>
                        <a:pt x="7" y="32"/>
                      </a:lnTo>
                      <a:lnTo>
                        <a:pt x="8" y="32"/>
                      </a:lnTo>
                      <a:lnTo>
                        <a:pt x="10" y="30"/>
                      </a:lnTo>
                      <a:lnTo>
                        <a:pt x="12" y="27"/>
                      </a:lnTo>
                      <a:lnTo>
                        <a:pt x="14" y="23"/>
                      </a:lnTo>
                      <a:lnTo>
                        <a:pt x="17" y="23"/>
                      </a:lnTo>
                      <a:lnTo>
                        <a:pt x="19" y="25"/>
                      </a:lnTo>
                      <a:lnTo>
                        <a:pt x="19" y="27"/>
                      </a:lnTo>
                      <a:lnTo>
                        <a:pt x="20" y="27"/>
                      </a:lnTo>
                      <a:lnTo>
                        <a:pt x="22" y="27"/>
                      </a:lnTo>
                      <a:lnTo>
                        <a:pt x="22" y="30"/>
                      </a:lnTo>
                      <a:lnTo>
                        <a:pt x="22" y="34"/>
                      </a:lnTo>
                      <a:lnTo>
                        <a:pt x="25" y="39"/>
                      </a:lnTo>
                      <a:lnTo>
                        <a:pt x="27" y="40"/>
                      </a:lnTo>
                      <a:lnTo>
                        <a:pt x="30" y="42"/>
                      </a:lnTo>
                      <a:lnTo>
                        <a:pt x="27" y="42"/>
                      </a:lnTo>
                      <a:lnTo>
                        <a:pt x="27" y="44"/>
                      </a:lnTo>
                      <a:lnTo>
                        <a:pt x="27" y="45"/>
                      </a:lnTo>
                      <a:lnTo>
                        <a:pt x="30" y="49"/>
                      </a:lnTo>
                      <a:lnTo>
                        <a:pt x="32" y="50"/>
                      </a:lnTo>
                      <a:lnTo>
                        <a:pt x="35" y="52"/>
                      </a:lnTo>
                      <a:lnTo>
                        <a:pt x="37" y="54"/>
                      </a:lnTo>
                      <a:lnTo>
                        <a:pt x="39" y="55"/>
                      </a:lnTo>
                      <a:lnTo>
                        <a:pt x="39" y="57"/>
                      </a:lnTo>
                      <a:lnTo>
                        <a:pt x="41" y="57"/>
                      </a:lnTo>
                      <a:lnTo>
                        <a:pt x="44" y="57"/>
                      </a:lnTo>
                      <a:lnTo>
                        <a:pt x="49" y="57"/>
                      </a:lnTo>
                      <a:lnTo>
                        <a:pt x="52" y="59"/>
                      </a:lnTo>
                      <a:lnTo>
                        <a:pt x="57" y="62"/>
                      </a:lnTo>
                      <a:lnTo>
                        <a:pt x="61" y="66"/>
                      </a:lnTo>
                      <a:lnTo>
                        <a:pt x="62" y="67"/>
                      </a:lnTo>
                      <a:lnTo>
                        <a:pt x="64" y="69"/>
                      </a:lnTo>
                      <a:lnTo>
                        <a:pt x="62" y="69"/>
                      </a:lnTo>
                      <a:lnTo>
                        <a:pt x="61" y="67"/>
                      </a:lnTo>
                      <a:lnTo>
                        <a:pt x="57" y="66"/>
                      </a:lnTo>
                      <a:lnTo>
                        <a:pt x="56" y="67"/>
                      </a:lnTo>
                      <a:lnTo>
                        <a:pt x="61" y="67"/>
                      </a:lnTo>
                      <a:lnTo>
                        <a:pt x="64" y="71"/>
                      </a:lnTo>
                      <a:lnTo>
                        <a:pt x="66" y="71"/>
                      </a:lnTo>
                      <a:lnTo>
                        <a:pt x="69" y="71"/>
                      </a:lnTo>
                      <a:lnTo>
                        <a:pt x="71" y="72"/>
                      </a:lnTo>
                      <a:lnTo>
                        <a:pt x="74" y="74"/>
                      </a:lnTo>
                      <a:lnTo>
                        <a:pt x="78" y="76"/>
                      </a:lnTo>
                      <a:lnTo>
                        <a:pt x="79" y="77"/>
                      </a:lnTo>
                      <a:lnTo>
                        <a:pt x="79" y="76"/>
                      </a:lnTo>
                      <a:lnTo>
                        <a:pt x="78" y="76"/>
                      </a:lnTo>
                      <a:lnTo>
                        <a:pt x="74" y="72"/>
                      </a:lnTo>
                      <a:lnTo>
                        <a:pt x="71" y="71"/>
                      </a:lnTo>
                      <a:lnTo>
                        <a:pt x="68" y="67"/>
                      </a:lnTo>
                      <a:lnTo>
                        <a:pt x="66" y="69"/>
                      </a:lnTo>
                      <a:lnTo>
                        <a:pt x="64" y="69"/>
                      </a:lnTo>
                      <a:lnTo>
                        <a:pt x="64" y="67"/>
                      </a:lnTo>
                      <a:lnTo>
                        <a:pt x="66" y="67"/>
                      </a:lnTo>
                      <a:lnTo>
                        <a:pt x="66" y="66"/>
                      </a:lnTo>
                      <a:lnTo>
                        <a:pt x="64" y="66"/>
                      </a:lnTo>
                      <a:lnTo>
                        <a:pt x="62" y="64"/>
                      </a:lnTo>
                      <a:lnTo>
                        <a:pt x="61" y="60"/>
                      </a:lnTo>
                      <a:lnTo>
                        <a:pt x="61" y="59"/>
                      </a:lnTo>
                      <a:lnTo>
                        <a:pt x="61" y="57"/>
                      </a:lnTo>
                      <a:lnTo>
                        <a:pt x="59" y="57"/>
                      </a:lnTo>
                      <a:lnTo>
                        <a:pt x="57" y="57"/>
                      </a:lnTo>
                      <a:lnTo>
                        <a:pt x="56" y="57"/>
                      </a:lnTo>
                      <a:lnTo>
                        <a:pt x="56" y="55"/>
                      </a:lnTo>
                      <a:lnTo>
                        <a:pt x="49" y="49"/>
                      </a:lnTo>
                      <a:lnTo>
                        <a:pt x="44" y="44"/>
                      </a:lnTo>
                      <a:lnTo>
                        <a:pt x="39" y="34"/>
                      </a:lnTo>
                      <a:lnTo>
                        <a:pt x="39" y="35"/>
                      </a:lnTo>
                      <a:lnTo>
                        <a:pt x="37" y="35"/>
                      </a:lnTo>
                      <a:lnTo>
                        <a:pt x="35" y="34"/>
                      </a:lnTo>
                      <a:lnTo>
                        <a:pt x="35" y="30"/>
                      </a:lnTo>
                      <a:lnTo>
                        <a:pt x="35" y="28"/>
                      </a:lnTo>
                      <a:lnTo>
                        <a:pt x="35" y="27"/>
                      </a:lnTo>
                      <a:lnTo>
                        <a:pt x="37" y="27"/>
                      </a:lnTo>
                      <a:lnTo>
                        <a:pt x="37" y="25"/>
                      </a:lnTo>
                      <a:lnTo>
                        <a:pt x="39" y="25"/>
                      </a:lnTo>
                      <a:lnTo>
                        <a:pt x="44" y="30"/>
                      </a:lnTo>
                      <a:lnTo>
                        <a:pt x="46" y="27"/>
                      </a:lnTo>
                      <a:lnTo>
                        <a:pt x="46" y="25"/>
                      </a:lnTo>
                      <a:lnTo>
                        <a:pt x="47" y="25"/>
                      </a:lnTo>
                      <a:lnTo>
                        <a:pt x="51" y="25"/>
                      </a:lnTo>
                      <a:lnTo>
                        <a:pt x="51" y="23"/>
                      </a:lnTo>
                      <a:lnTo>
                        <a:pt x="52" y="23"/>
                      </a:lnTo>
                      <a:lnTo>
                        <a:pt x="54" y="23"/>
                      </a:lnTo>
                      <a:lnTo>
                        <a:pt x="56" y="25"/>
                      </a:lnTo>
                      <a:lnTo>
                        <a:pt x="59" y="25"/>
                      </a:lnTo>
                      <a:lnTo>
                        <a:pt x="59" y="23"/>
                      </a:lnTo>
                      <a:lnTo>
                        <a:pt x="61" y="23"/>
                      </a:lnTo>
                      <a:lnTo>
                        <a:pt x="62" y="25"/>
                      </a:lnTo>
                      <a:lnTo>
                        <a:pt x="64" y="25"/>
                      </a:lnTo>
                      <a:lnTo>
                        <a:pt x="66" y="27"/>
                      </a:lnTo>
                      <a:lnTo>
                        <a:pt x="68" y="27"/>
                      </a:lnTo>
                      <a:lnTo>
                        <a:pt x="69" y="27"/>
                      </a:lnTo>
                      <a:lnTo>
                        <a:pt x="71" y="27"/>
                      </a:lnTo>
                      <a:lnTo>
                        <a:pt x="71" y="25"/>
                      </a:lnTo>
                      <a:lnTo>
                        <a:pt x="74" y="27"/>
                      </a:lnTo>
                      <a:lnTo>
                        <a:pt x="78" y="25"/>
                      </a:lnTo>
                      <a:lnTo>
                        <a:pt x="79" y="27"/>
                      </a:lnTo>
                      <a:lnTo>
                        <a:pt x="81" y="28"/>
                      </a:lnTo>
                      <a:lnTo>
                        <a:pt x="84" y="30"/>
                      </a:lnTo>
                      <a:lnTo>
                        <a:pt x="88" y="30"/>
                      </a:lnTo>
                      <a:lnTo>
                        <a:pt x="88" y="28"/>
                      </a:lnTo>
                      <a:lnTo>
                        <a:pt x="88" y="27"/>
                      </a:lnTo>
                      <a:lnTo>
                        <a:pt x="89" y="27"/>
                      </a:lnTo>
                      <a:lnTo>
                        <a:pt x="89" y="25"/>
                      </a:lnTo>
                      <a:lnTo>
                        <a:pt x="91" y="27"/>
                      </a:lnTo>
                      <a:lnTo>
                        <a:pt x="93" y="27"/>
                      </a:lnTo>
                      <a:lnTo>
                        <a:pt x="93" y="2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9" name="Freeform 383">
                  <a:extLst>
                    <a:ext uri="{FF2B5EF4-FFF2-40B4-BE49-F238E27FC236}">
                      <a16:creationId xmlns:a16="http://schemas.microsoft.com/office/drawing/2014/main" id="{48C129D0-CF8C-E14A-9C7D-168996CC33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1" y="573"/>
                  <a:ext cx="94" cy="77"/>
                </a:xfrm>
                <a:custGeom>
                  <a:avLst/>
                  <a:gdLst>
                    <a:gd name="T0" fmla="*/ 93 w 94"/>
                    <a:gd name="T1" fmla="*/ 25 h 77"/>
                    <a:gd name="T2" fmla="*/ 86 w 94"/>
                    <a:gd name="T3" fmla="*/ 20 h 77"/>
                    <a:gd name="T4" fmla="*/ 84 w 94"/>
                    <a:gd name="T5" fmla="*/ 18 h 77"/>
                    <a:gd name="T6" fmla="*/ 84 w 94"/>
                    <a:gd name="T7" fmla="*/ 10 h 77"/>
                    <a:gd name="T8" fmla="*/ 74 w 94"/>
                    <a:gd name="T9" fmla="*/ 13 h 77"/>
                    <a:gd name="T10" fmla="*/ 62 w 94"/>
                    <a:gd name="T11" fmla="*/ 10 h 77"/>
                    <a:gd name="T12" fmla="*/ 52 w 94"/>
                    <a:gd name="T13" fmla="*/ 1 h 77"/>
                    <a:gd name="T14" fmla="*/ 46 w 94"/>
                    <a:gd name="T15" fmla="*/ 0 h 77"/>
                    <a:gd name="T16" fmla="*/ 42 w 94"/>
                    <a:gd name="T17" fmla="*/ 1 h 77"/>
                    <a:gd name="T18" fmla="*/ 39 w 94"/>
                    <a:gd name="T19" fmla="*/ 3 h 77"/>
                    <a:gd name="T20" fmla="*/ 32 w 94"/>
                    <a:gd name="T21" fmla="*/ 8 h 77"/>
                    <a:gd name="T22" fmla="*/ 34 w 94"/>
                    <a:gd name="T23" fmla="*/ 12 h 77"/>
                    <a:gd name="T24" fmla="*/ 30 w 94"/>
                    <a:gd name="T25" fmla="*/ 15 h 77"/>
                    <a:gd name="T26" fmla="*/ 29 w 94"/>
                    <a:gd name="T27" fmla="*/ 17 h 77"/>
                    <a:gd name="T28" fmla="*/ 27 w 94"/>
                    <a:gd name="T29" fmla="*/ 20 h 77"/>
                    <a:gd name="T30" fmla="*/ 24 w 94"/>
                    <a:gd name="T31" fmla="*/ 18 h 77"/>
                    <a:gd name="T32" fmla="*/ 22 w 94"/>
                    <a:gd name="T33" fmla="*/ 18 h 77"/>
                    <a:gd name="T34" fmla="*/ 19 w 94"/>
                    <a:gd name="T35" fmla="*/ 18 h 77"/>
                    <a:gd name="T36" fmla="*/ 15 w 94"/>
                    <a:gd name="T37" fmla="*/ 20 h 77"/>
                    <a:gd name="T38" fmla="*/ 12 w 94"/>
                    <a:gd name="T39" fmla="*/ 22 h 77"/>
                    <a:gd name="T40" fmla="*/ 8 w 94"/>
                    <a:gd name="T41" fmla="*/ 20 h 77"/>
                    <a:gd name="T42" fmla="*/ 5 w 94"/>
                    <a:gd name="T43" fmla="*/ 22 h 77"/>
                    <a:gd name="T44" fmla="*/ 2 w 94"/>
                    <a:gd name="T45" fmla="*/ 20 h 77"/>
                    <a:gd name="T46" fmla="*/ 2 w 94"/>
                    <a:gd name="T47" fmla="*/ 22 h 77"/>
                    <a:gd name="T48" fmla="*/ 5 w 94"/>
                    <a:gd name="T49" fmla="*/ 32 h 77"/>
                    <a:gd name="T50" fmla="*/ 10 w 94"/>
                    <a:gd name="T51" fmla="*/ 30 h 77"/>
                    <a:gd name="T52" fmla="*/ 17 w 94"/>
                    <a:gd name="T53" fmla="*/ 23 h 77"/>
                    <a:gd name="T54" fmla="*/ 20 w 94"/>
                    <a:gd name="T55" fmla="*/ 27 h 77"/>
                    <a:gd name="T56" fmla="*/ 22 w 94"/>
                    <a:gd name="T57" fmla="*/ 34 h 77"/>
                    <a:gd name="T58" fmla="*/ 30 w 94"/>
                    <a:gd name="T59" fmla="*/ 42 h 77"/>
                    <a:gd name="T60" fmla="*/ 27 w 94"/>
                    <a:gd name="T61" fmla="*/ 45 h 77"/>
                    <a:gd name="T62" fmla="*/ 35 w 94"/>
                    <a:gd name="T63" fmla="*/ 52 h 77"/>
                    <a:gd name="T64" fmla="*/ 39 w 94"/>
                    <a:gd name="T65" fmla="*/ 57 h 77"/>
                    <a:gd name="T66" fmla="*/ 49 w 94"/>
                    <a:gd name="T67" fmla="*/ 57 h 77"/>
                    <a:gd name="T68" fmla="*/ 61 w 94"/>
                    <a:gd name="T69" fmla="*/ 66 h 77"/>
                    <a:gd name="T70" fmla="*/ 62 w 94"/>
                    <a:gd name="T71" fmla="*/ 69 h 77"/>
                    <a:gd name="T72" fmla="*/ 56 w 94"/>
                    <a:gd name="T73" fmla="*/ 67 h 77"/>
                    <a:gd name="T74" fmla="*/ 66 w 94"/>
                    <a:gd name="T75" fmla="*/ 71 h 77"/>
                    <a:gd name="T76" fmla="*/ 74 w 94"/>
                    <a:gd name="T77" fmla="*/ 74 h 77"/>
                    <a:gd name="T78" fmla="*/ 79 w 94"/>
                    <a:gd name="T79" fmla="*/ 76 h 77"/>
                    <a:gd name="T80" fmla="*/ 71 w 94"/>
                    <a:gd name="T81" fmla="*/ 71 h 77"/>
                    <a:gd name="T82" fmla="*/ 64 w 94"/>
                    <a:gd name="T83" fmla="*/ 69 h 77"/>
                    <a:gd name="T84" fmla="*/ 66 w 94"/>
                    <a:gd name="T85" fmla="*/ 66 h 77"/>
                    <a:gd name="T86" fmla="*/ 61 w 94"/>
                    <a:gd name="T87" fmla="*/ 60 h 77"/>
                    <a:gd name="T88" fmla="*/ 59 w 94"/>
                    <a:gd name="T89" fmla="*/ 57 h 77"/>
                    <a:gd name="T90" fmla="*/ 56 w 94"/>
                    <a:gd name="T91" fmla="*/ 55 h 77"/>
                    <a:gd name="T92" fmla="*/ 39 w 94"/>
                    <a:gd name="T93" fmla="*/ 34 h 77"/>
                    <a:gd name="T94" fmla="*/ 35 w 94"/>
                    <a:gd name="T95" fmla="*/ 34 h 77"/>
                    <a:gd name="T96" fmla="*/ 35 w 94"/>
                    <a:gd name="T97" fmla="*/ 27 h 77"/>
                    <a:gd name="T98" fmla="*/ 39 w 94"/>
                    <a:gd name="T99" fmla="*/ 25 h 77"/>
                    <a:gd name="T100" fmla="*/ 46 w 94"/>
                    <a:gd name="T101" fmla="*/ 25 h 77"/>
                    <a:gd name="T102" fmla="*/ 51 w 94"/>
                    <a:gd name="T103" fmla="*/ 23 h 77"/>
                    <a:gd name="T104" fmla="*/ 56 w 94"/>
                    <a:gd name="T105" fmla="*/ 25 h 77"/>
                    <a:gd name="T106" fmla="*/ 61 w 94"/>
                    <a:gd name="T107" fmla="*/ 23 h 77"/>
                    <a:gd name="T108" fmla="*/ 66 w 94"/>
                    <a:gd name="T109" fmla="*/ 27 h 77"/>
                    <a:gd name="T110" fmla="*/ 71 w 94"/>
                    <a:gd name="T111" fmla="*/ 27 h 77"/>
                    <a:gd name="T112" fmla="*/ 78 w 94"/>
                    <a:gd name="T113" fmla="*/ 25 h 77"/>
                    <a:gd name="T114" fmla="*/ 84 w 94"/>
                    <a:gd name="T115" fmla="*/ 30 h 77"/>
                    <a:gd name="T116" fmla="*/ 88 w 94"/>
                    <a:gd name="T117" fmla="*/ 27 h 77"/>
                    <a:gd name="T118" fmla="*/ 91 w 94"/>
                    <a:gd name="T119" fmla="*/ 27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4" h="77">
                      <a:moveTo>
                        <a:pt x="93" y="25"/>
                      </a:moveTo>
                      <a:lnTo>
                        <a:pt x="94" y="25"/>
                      </a:lnTo>
                      <a:lnTo>
                        <a:pt x="93" y="25"/>
                      </a:lnTo>
                      <a:lnTo>
                        <a:pt x="89" y="23"/>
                      </a:lnTo>
                      <a:lnTo>
                        <a:pt x="86" y="23"/>
                      </a:lnTo>
                      <a:lnTo>
                        <a:pt x="86" y="20"/>
                      </a:lnTo>
                      <a:lnTo>
                        <a:pt x="88" y="20"/>
                      </a:lnTo>
                      <a:lnTo>
                        <a:pt x="86" y="18"/>
                      </a:lnTo>
                      <a:lnTo>
                        <a:pt x="84" y="18"/>
                      </a:lnTo>
                      <a:lnTo>
                        <a:pt x="86" y="17"/>
                      </a:lnTo>
                      <a:lnTo>
                        <a:pt x="86" y="15"/>
                      </a:lnTo>
                      <a:lnTo>
                        <a:pt x="84" y="10"/>
                      </a:lnTo>
                      <a:lnTo>
                        <a:pt x="83" y="10"/>
                      </a:lnTo>
                      <a:lnTo>
                        <a:pt x="78" y="13"/>
                      </a:lnTo>
                      <a:lnTo>
                        <a:pt x="74" y="13"/>
                      </a:lnTo>
                      <a:lnTo>
                        <a:pt x="69" y="13"/>
                      </a:lnTo>
                      <a:lnTo>
                        <a:pt x="66" y="12"/>
                      </a:lnTo>
                      <a:lnTo>
                        <a:pt x="62" y="10"/>
                      </a:lnTo>
                      <a:lnTo>
                        <a:pt x="59" y="7"/>
                      </a:lnTo>
                      <a:lnTo>
                        <a:pt x="54" y="5"/>
                      </a:lnTo>
                      <a:lnTo>
                        <a:pt x="52" y="1"/>
                      </a:lnTo>
                      <a:lnTo>
                        <a:pt x="49" y="0"/>
                      </a:lnTo>
                      <a:lnTo>
                        <a:pt x="47" y="0"/>
                      </a:lnTo>
                      <a:lnTo>
                        <a:pt x="46" y="0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42" y="1"/>
                      </a:lnTo>
                      <a:lnTo>
                        <a:pt x="42" y="3"/>
                      </a:lnTo>
                      <a:lnTo>
                        <a:pt x="41" y="3"/>
                      </a:lnTo>
                      <a:lnTo>
                        <a:pt x="39" y="3"/>
                      </a:lnTo>
                      <a:lnTo>
                        <a:pt x="37" y="3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4" y="8"/>
                      </a:lnTo>
                      <a:lnTo>
                        <a:pt x="34" y="10"/>
                      </a:lnTo>
                      <a:lnTo>
                        <a:pt x="34" y="12"/>
                      </a:lnTo>
                      <a:lnTo>
                        <a:pt x="34" y="13"/>
                      </a:lnTo>
                      <a:lnTo>
                        <a:pt x="32" y="13"/>
                      </a:lnTo>
                      <a:lnTo>
                        <a:pt x="30" y="15"/>
                      </a:lnTo>
                      <a:lnTo>
                        <a:pt x="29" y="15"/>
                      </a:lnTo>
                      <a:lnTo>
                        <a:pt x="30" y="17"/>
                      </a:lnTo>
                      <a:lnTo>
                        <a:pt x="29" y="17"/>
                      </a:lnTo>
                      <a:lnTo>
                        <a:pt x="29" y="18"/>
                      </a:lnTo>
                      <a:lnTo>
                        <a:pt x="29" y="20"/>
                      </a:lnTo>
                      <a:lnTo>
                        <a:pt x="27" y="20"/>
                      </a:lnTo>
                      <a:lnTo>
                        <a:pt x="27" y="18"/>
                      </a:lnTo>
                      <a:lnTo>
                        <a:pt x="25" y="18"/>
                      </a:lnTo>
                      <a:lnTo>
                        <a:pt x="24" y="18"/>
                      </a:lnTo>
                      <a:lnTo>
                        <a:pt x="24" y="20"/>
                      </a:lnTo>
                      <a:lnTo>
                        <a:pt x="22" y="20"/>
                      </a:lnTo>
                      <a:lnTo>
                        <a:pt x="22" y="18"/>
                      </a:lnTo>
                      <a:lnTo>
                        <a:pt x="20" y="17"/>
                      </a:lnTo>
                      <a:lnTo>
                        <a:pt x="19" y="17"/>
                      </a:lnTo>
                      <a:lnTo>
                        <a:pt x="19" y="18"/>
                      </a:lnTo>
                      <a:lnTo>
                        <a:pt x="19" y="20"/>
                      </a:lnTo>
                      <a:lnTo>
                        <a:pt x="17" y="20"/>
                      </a:lnTo>
                      <a:lnTo>
                        <a:pt x="15" y="20"/>
                      </a:lnTo>
                      <a:lnTo>
                        <a:pt x="14" y="20"/>
                      </a:lnTo>
                      <a:lnTo>
                        <a:pt x="14" y="22"/>
                      </a:lnTo>
                      <a:lnTo>
                        <a:pt x="12" y="22"/>
                      </a:lnTo>
                      <a:lnTo>
                        <a:pt x="12" y="20"/>
                      </a:lnTo>
                      <a:lnTo>
                        <a:pt x="10" y="20"/>
                      </a:lnTo>
                      <a:lnTo>
                        <a:pt x="8" y="20"/>
                      </a:lnTo>
                      <a:lnTo>
                        <a:pt x="8" y="22"/>
                      </a:lnTo>
                      <a:lnTo>
                        <a:pt x="7" y="22"/>
                      </a:lnTo>
                      <a:lnTo>
                        <a:pt x="5" y="22"/>
                      </a:lnTo>
                      <a:lnTo>
                        <a:pt x="3" y="22"/>
                      </a:lnTo>
                      <a:lnTo>
                        <a:pt x="3" y="20"/>
                      </a:lnTo>
                      <a:lnTo>
                        <a:pt x="2" y="20"/>
                      </a:lnTo>
                      <a:lnTo>
                        <a:pt x="2" y="18"/>
                      </a:lnTo>
                      <a:lnTo>
                        <a:pt x="0" y="20"/>
                      </a:lnTo>
                      <a:lnTo>
                        <a:pt x="2" y="22"/>
                      </a:lnTo>
                      <a:lnTo>
                        <a:pt x="2" y="25"/>
                      </a:lnTo>
                      <a:lnTo>
                        <a:pt x="3" y="27"/>
                      </a:lnTo>
                      <a:lnTo>
                        <a:pt x="5" y="32"/>
                      </a:lnTo>
                      <a:lnTo>
                        <a:pt x="7" y="32"/>
                      </a:lnTo>
                      <a:lnTo>
                        <a:pt x="8" y="32"/>
                      </a:lnTo>
                      <a:lnTo>
                        <a:pt x="10" y="30"/>
                      </a:lnTo>
                      <a:lnTo>
                        <a:pt x="12" y="27"/>
                      </a:lnTo>
                      <a:lnTo>
                        <a:pt x="14" y="23"/>
                      </a:lnTo>
                      <a:lnTo>
                        <a:pt x="17" y="23"/>
                      </a:lnTo>
                      <a:lnTo>
                        <a:pt x="19" y="25"/>
                      </a:lnTo>
                      <a:lnTo>
                        <a:pt x="19" y="27"/>
                      </a:lnTo>
                      <a:lnTo>
                        <a:pt x="20" y="27"/>
                      </a:lnTo>
                      <a:lnTo>
                        <a:pt x="22" y="27"/>
                      </a:lnTo>
                      <a:lnTo>
                        <a:pt x="22" y="30"/>
                      </a:lnTo>
                      <a:lnTo>
                        <a:pt x="22" y="34"/>
                      </a:lnTo>
                      <a:lnTo>
                        <a:pt x="25" y="39"/>
                      </a:lnTo>
                      <a:lnTo>
                        <a:pt x="27" y="40"/>
                      </a:lnTo>
                      <a:lnTo>
                        <a:pt x="30" y="42"/>
                      </a:lnTo>
                      <a:lnTo>
                        <a:pt x="27" y="42"/>
                      </a:lnTo>
                      <a:lnTo>
                        <a:pt x="27" y="44"/>
                      </a:lnTo>
                      <a:lnTo>
                        <a:pt x="27" y="45"/>
                      </a:lnTo>
                      <a:lnTo>
                        <a:pt x="30" y="49"/>
                      </a:lnTo>
                      <a:lnTo>
                        <a:pt x="32" y="50"/>
                      </a:lnTo>
                      <a:lnTo>
                        <a:pt x="35" y="52"/>
                      </a:lnTo>
                      <a:lnTo>
                        <a:pt x="37" y="54"/>
                      </a:lnTo>
                      <a:lnTo>
                        <a:pt x="39" y="55"/>
                      </a:lnTo>
                      <a:lnTo>
                        <a:pt x="39" y="57"/>
                      </a:lnTo>
                      <a:lnTo>
                        <a:pt x="41" y="57"/>
                      </a:lnTo>
                      <a:lnTo>
                        <a:pt x="44" y="57"/>
                      </a:lnTo>
                      <a:lnTo>
                        <a:pt x="49" y="57"/>
                      </a:lnTo>
                      <a:lnTo>
                        <a:pt x="52" y="59"/>
                      </a:lnTo>
                      <a:lnTo>
                        <a:pt x="57" y="62"/>
                      </a:lnTo>
                      <a:lnTo>
                        <a:pt x="61" y="66"/>
                      </a:lnTo>
                      <a:lnTo>
                        <a:pt x="62" y="67"/>
                      </a:lnTo>
                      <a:lnTo>
                        <a:pt x="64" y="69"/>
                      </a:lnTo>
                      <a:lnTo>
                        <a:pt x="62" y="69"/>
                      </a:lnTo>
                      <a:lnTo>
                        <a:pt x="61" y="67"/>
                      </a:lnTo>
                      <a:lnTo>
                        <a:pt x="57" y="66"/>
                      </a:lnTo>
                      <a:lnTo>
                        <a:pt x="56" y="67"/>
                      </a:lnTo>
                      <a:lnTo>
                        <a:pt x="61" y="67"/>
                      </a:lnTo>
                      <a:lnTo>
                        <a:pt x="64" y="71"/>
                      </a:lnTo>
                      <a:lnTo>
                        <a:pt x="66" y="71"/>
                      </a:lnTo>
                      <a:lnTo>
                        <a:pt x="69" y="71"/>
                      </a:lnTo>
                      <a:lnTo>
                        <a:pt x="71" y="72"/>
                      </a:lnTo>
                      <a:lnTo>
                        <a:pt x="74" y="74"/>
                      </a:lnTo>
                      <a:lnTo>
                        <a:pt x="78" y="76"/>
                      </a:lnTo>
                      <a:lnTo>
                        <a:pt x="79" y="77"/>
                      </a:lnTo>
                      <a:lnTo>
                        <a:pt x="79" y="76"/>
                      </a:lnTo>
                      <a:lnTo>
                        <a:pt x="78" y="76"/>
                      </a:lnTo>
                      <a:lnTo>
                        <a:pt x="74" y="72"/>
                      </a:lnTo>
                      <a:lnTo>
                        <a:pt x="71" y="71"/>
                      </a:lnTo>
                      <a:lnTo>
                        <a:pt x="68" y="67"/>
                      </a:lnTo>
                      <a:lnTo>
                        <a:pt x="66" y="69"/>
                      </a:lnTo>
                      <a:lnTo>
                        <a:pt x="64" y="69"/>
                      </a:lnTo>
                      <a:lnTo>
                        <a:pt x="64" y="67"/>
                      </a:lnTo>
                      <a:lnTo>
                        <a:pt x="66" y="67"/>
                      </a:lnTo>
                      <a:lnTo>
                        <a:pt x="66" y="66"/>
                      </a:lnTo>
                      <a:lnTo>
                        <a:pt x="64" y="66"/>
                      </a:lnTo>
                      <a:lnTo>
                        <a:pt x="62" y="64"/>
                      </a:lnTo>
                      <a:lnTo>
                        <a:pt x="61" y="60"/>
                      </a:lnTo>
                      <a:lnTo>
                        <a:pt x="61" y="59"/>
                      </a:lnTo>
                      <a:lnTo>
                        <a:pt x="61" y="57"/>
                      </a:lnTo>
                      <a:lnTo>
                        <a:pt x="59" y="57"/>
                      </a:lnTo>
                      <a:lnTo>
                        <a:pt x="57" y="57"/>
                      </a:lnTo>
                      <a:lnTo>
                        <a:pt x="56" y="57"/>
                      </a:lnTo>
                      <a:lnTo>
                        <a:pt x="56" y="55"/>
                      </a:lnTo>
                      <a:lnTo>
                        <a:pt x="49" y="49"/>
                      </a:lnTo>
                      <a:lnTo>
                        <a:pt x="44" y="44"/>
                      </a:lnTo>
                      <a:lnTo>
                        <a:pt x="39" y="34"/>
                      </a:lnTo>
                      <a:lnTo>
                        <a:pt x="39" y="35"/>
                      </a:lnTo>
                      <a:lnTo>
                        <a:pt x="37" y="35"/>
                      </a:lnTo>
                      <a:lnTo>
                        <a:pt x="35" y="34"/>
                      </a:lnTo>
                      <a:lnTo>
                        <a:pt x="35" y="30"/>
                      </a:lnTo>
                      <a:lnTo>
                        <a:pt x="35" y="28"/>
                      </a:lnTo>
                      <a:lnTo>
                        <a:pt x="35" y="27"/>
                      </a:lnTo>
                      <a:lnTo>
                        <a:pt x="37" y="27"/>
                      </a:lnTo>
                      <a:lnTo>
                        <a:pt x="37" y="25"/>
                      </a:lnTo>
                      <a:lnTo>
                        <a:pt x="39" y="25"/>
                      </a:lnTo>
                      <a:lnTo>
                        <a:pt x="44" y="30"/>
                      </a:lnTo>
                      <a:lnTo>
                        <a:pt x="46" y="27"/>
                      </a:lnTo>
                      <a:lnTo>
                        <a:pt x="46" y="25"/>
                      </a:lnTo>
                      <a:lnTo>
                        <a:pt x="47" y="25"/>
                      </a:lnTo>
                      <a:lnTo>
                        <a:pt x="51" y="25"/>
                      </a:lnTo>
                      <a:lnTo>
                        <a:pt x="51" y="23"/>
                      </a:lnTo>
                      <a:lnTo>
                        <a:pt x="52" y="23"/>
                      </a:lnTo>
                      <a:lnTo>
                        <a:pt x="54" y="23"/>
                      </a:lnTo>
                      <a:lnTo>
                        <a:pt x="56" y="25"/>
                      </a:lnTo>
                      <a:lnTo>
                        <a:pt x="59" y="25"/>
                      </a:lnTo>
                      <a:lnTo>
                        <a:pt x="59" y="23"/>
                      </a:lnTo>
                      <a:lnTo>
                        <a:pt x="61" y="23"/>
                      </a:lnTo>
                      <a:lnTo>
                        <a:pt x="62" y="25"/>
                      </a:lnTo>
                      <a:lnTo>
                        <a:pt x="64" y="25"/>
                      </a:lnTo>
                      <a:lnTo>
                        <a:pt x="66" y="27"/>
                      </a:lnTo>
                      <a:lnTo>
                        <a:pt x="68" y="27"/>
                      </a:lnTo>
                      <a:lnTo>
                        <a:pt x="69" y="27"/>
                      </a:lnTo>
                      <a:lnTo>
                        <a:pt x="71" y="27"/>
                      </a:lnTo>
                      <a:lnTo>
                        <a:pt x="71" y="25"/>
                      </a:lnTo>
                      <a:lnTo>
                        <a:pt x="74" y="27"/>
                      </a:lnTo>
                      <a:lnTo>
                        <a:pt x="78" y="25"/>
                      </a:lnTo>
                      <a:lnTo>
                        <a:pt x="79" y="27"/>
                      </a:lnTo>
                      <a:lnTo>
                        <a:pt x="81" y="28"/>
                      </a:lnTo>
                      <a:lnTo>
                        <a:pt x="84" y="30"/>
                      </a:lnTo>
                      <a:lnTo>
                        <a:pt x="88" y="30"/>
                      </a:lnTo>
                      <a:lnTo>
                        <a:pt x="88" y="28"/>
                      </a:lnTo>
                      <a:lnTo>
                        <a:pt x="88" y="27"/>
                      </a:lnTo>
                      <a:lnTo>
                        <a:pt x="89" y="27"/>
                      </a:lnTo>
                      <a:lnTo>
                        <a:pt x="89" y="25"/>
                      </a:lnTo>
                      <a:lnTo>
                        <a:pt x="91" y="27"/>
                      </a:lnTo>
                      <a:lnTo>
                        <a:pt x="93" y="27"/>
                      </a:lnTo>
                      <a:lnTo>
                        <a:pt x="93" y="2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44" name="Group 1643">
                <a:extLst>
                  <a:ext uri="{FF2B5EF4-FFF2-40B4-BE49-F238E27FC236}">
                    <a16:creationId xmlns:a16="http://schemas.microsoft.com/office/drawing/2014/main" id="{E0C2CFAD-1310-9743-8BE2-58EDBA87ABA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87" y="338"/>
                <a:ext cx="108" cy="70"/>
                <a:chOff x="287" y="338"/>
                <a:chExt cx="108" cy="70"/>
              </a:xfrm>
            </p:grpSpPr>
            <p:grpSp>
              <p:nvGrpSpPr>
                <p:cNvPr id="1987" name="Group 1986">
                  <a:extLst>
                    <a:ext uri="{FF2B5EF4-FFF2-40B4-BE49-F238E27FC236}">
                      <a16:creationId xmlns:a16="http://schemas.microsoft.com/office/drawing/2014/main" id="{F2C9FDD9-D481-EC41-BEF0-BA1C1055D50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88" y="392"/>
                  <a:ext cx="7" cy="5"/>
                  <a:chOff x="388" y="392"/>
                  <a:chExt cx="7" cy="5"/>
                </a:xfrm>
              </p:grpSpPr>
              <p:sp>
                <p:nvSpPr>
                  <p:cNvPr id="2006" name="Freeform 380">
                    <a:extLst>
                      <a:ext uri="{FF2B5EF4-FFF2-40B4-BE49-F238E27FC236}">
                        <a16:creationId xmlns:a16="http://schemas.microsoft.com/office/drawing/2014/main" id="{C5F17395-6C2A-9A49-9877-79CB2C4956B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8" y="392"/>
                    <a:ext cx="7" cy="5"/>
                  </a:xfrm>
                  <a:custGeom>
                    <a:avLst/>
                    <a:gdLst>
                      <a:gd name="T0" fmla="*/ 5 w 7"/>
                      <a:gd name="T1" fmla="*/ 5 h 5"/>
                      <a:gd name="T2" fmla="*/ 3 w 7"/>
                      <a:gd name="T3" fmla="*/ 5 h 5"/>
                      <a:gd name="T4" fmla="*/ 2 w 7"/>
                      <a:gd name="T5" fmla="*/ 5 h 5"/>
                      <a:gd name="T6" fmla="*/ 0 w 7"/>
                      <a:gd name="T7" fmla="*/ 4 h 5"/>
                      <a:gd name="T8" fmla="*/ 2 w 7"/>
                      <a:gd name="T9" fmla="*/ 2 h 5"/>
                      <a:gd name="T10" fmla="*/ 2 w 7"/>
                      <a:gd name="T11" fmla="*/ 0 h 5"/>
                      <a:gd name="T12" fmla="*/ 3 w 7"/>
                      <a:gd name="T13" fmla="*/ 0 h 5"/>
                      <a:gd name="T14" fmla="*/ 7 w 7"/>
                      <a:gd name="T15" fmla="*/ 2 h 5"/>
                      <a:gd name="T16" fmla="*/ 7 w 7"/>
                      <a:gd name="T17" fmla="*/ 5 h 5"/>
                      <a:gd name="T18" fmla="*/ 5 w 7"/>
                      <a:gd name="T19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" h="5">
                        <a:moveTo>
                          <a:pt x="5" y="5"/>
                        </a:moveTo>
                        <a:lnTo>
                          <a:pt x="3" y="5"/>
                        </a:lnTo>
                        <a:lnTo>
                          <a:pt x="2" y="5"/>
                        </a:lnTo>
                        <a:lnTo>
                          <a:pt x="0" y="4"/>
                        </a:lnTo>
                        <a:lnTo>
                          <a:pt x="2" y="2"/>
                        </a:lnTo>
                        <a:lnTo>
                          <a:pt x="2" y="0"/>
                        </a:lnTo>
                        <a:lnTo>
                          <a:pt x="3" y="0"/>
                        </a:lnTo>
                        <a:lnTo>
                          <a:pt x="7" y="2"/>
                        </a:lnTo>
                        <a:lnTo>
                          <a:pt x="7" y="5"/>
                        </a:lnTo>
                        <a:lnTo>
                          <a:pt x="5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07" name="Freeform 381">
                    <a:extLst>
                      <a:ext uri="{FF2B5EF4-FFF2-40B4-BE49-F238E27FC236}">
                        <a16:creationId xmlns:a16="http://schemas.microsoft.com/office/drawing/2014/main" id="{3EBEF37C-26B4-EE45-B782-35C15F96CD3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8" y="392"/>
                    <a:ext cx="7" cy="5"/>
                  </a:xfrm>
                  <a:custGeom>
                    <a:avLst/>
                    <a:gdLst>
                      <a:gd name="T0" fmla="*/ 5 w 7"/>
                      <a:gd name="T1" fmla="*/ 5 h 5"/>
                      <a:gd name="T2" fmla="*/ 3 w 7"/>
                      <a:gd name="T3" fmla="*/ 5 h 5"/>
                      <a:gd name="T4" fmla="*/ 2 w 7"/>
                      <a:gd name="T5" fmla="*/ 5 h 5"/>
                      <a:gd name="T6" fmla="*/ 0 w 7"/>
                      <a:gd name="T7" fmla="*/ 4 h 5"/>
                      <a:gd name="T8" fmla="*/ 2 w 7"/>
                      <a:gd name="T9" fmla="*/ 2 h 5"/>
                      <a:gd name="T10" fmla="*/ 2 w 7"/>
                      <a:gd name="T11" fmla="*/ 0 h 5"/>
                      <a:gd name="T12" fmla="*/ 3 w 7"/>
                      <a:gd name="T13" fmla="*/ 0 h 5"/>
                      <a:gd name="T14" fmla="*/ 7 w 7"/>
                      <a:gd name="T15" fmla="*/ 2 h 5"/>
                      <a:gd name="T16" fmla="*/ 7 w 7"/>
                      <a:gd name="T17" fmla="*/ 5 h 5"/>
                      <a:gd name="T18" fmla="*/ 5 w 7"/>
                      <a:gd name="T19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" h="5">
                        <a:moveTo>
                          <a:pt x="5" y="5"/>
                        </a:moveTo>
                        <a:lnTo>
                          <a:pt x="3" y="5"/>
                        </a:lnTo>
                        <a:lnTo>
                          <a:pt x="2" y="5"/>
                        </a:lnTo>
                        <a:lnTo>
                          <a:pt x="0" y="4"/>
                        </a:lnTo>
                        <a:lnTo>
                          <a:pt x="2" y="2"/>
                        </a:lnTo>
                        <a:lnTo>
                          <a:pt x="2" y="0"/>
                        </a:lnTo>
                        <a:lnTo>
                          <a:pt x="3" y="0"/>
                        </a:lnTo>
                        <a:lnTo>
                          <a:pt x="7" y="2"/>
                        </a:lnTo>
                        <a:lnTo>
                          <a:pt x="7" y="5"/>
                        </a:lnTo>
                        <a:lnTo>
                          <a:pt x="5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88" name="Group 1987">
                  <a:extLst>
                    <a:ext uri="{FF2B5EF4-FFF2-40B4-BE49-F238E27FC236}">
                      <a16:creationId xmlns:a16="http://schemas.microsoft.com/office/drawing/2014/main" id="{FB222BCF-A02F-C040-9BE1-5A2B0C2EF973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32" y="372"/>
                  <a:ext cx="27" cy="25"/>
                  <a:chOff x="332" y="372"/>
                  <a:chExt cx="27" cy="25"/>
                </a:xfrm>
              </p:grpSpPr>
              <p:sp>
                <p:nvSpPr>
                  <p:cNvPr id="2004" name="Freeform 378">
                    <a:extLst>
                      <a:ext uri="{FF2B5EF4-FFF2-40B4-BE49-F238E27FC236}">
                        <a16:creationId xmlns:a16="http://schemas.microsoft.com/office/drawing/2014/main" id="{F4E20C87-4D37-4840-AD09-2DDBC647FE7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2" y="372"/>
                    <a:ext cx="27" cy="25"/>
                  </a:xfrm>
                  <a:custGeom>
                    <a:avLst/>
                    <a:gdLst>
                      <a:gd name="T0" fmla="*/ 9 w 27"/>
                      <a:gd name="T1" fmla="*/ 5 h 25"/>
                      <a:gd name="T2" fmla="*/ 7 w 27"/>
                      <a:gd name="T3" fmla="*/ 7 h 25"/>
                      <a:gd name="T4" fmla="*/ 5 w 27"/>
                      <a:gd name="T5" fmla="*/ 9 h 25"/>
                      <a:gd name="T6" fmla="*/ 4 w 27"/>
                      <a:gd name="T7" fmla="*/ 10 h 25"/>
                      <a:gd name="T8" fmla="*/ 0 w 27"/>
                      <a:gd name="T9" fmla="*/ 10 h 25"/>
                      <a:gd name="T10" fmla="*/ 0 w 27"/>
                      <a:gd name="T11" fmla="*/ 12 h 25"/>
                      <a:gd name="T12" fmla="*/ 4 w 27"/>
                      <a:gd name="T13" fmla="*/ 12 h 25"/>
                      <a:gd name="T14" fmla="*/ 4 w 27"/>
                      <a:gd name="T15" fmla="*/ 15 h 25"/>
                      <a:gd name="T16" fmla="*/ 4 w 27"/>
                      <a:gd name="T17" fmla="*/ 19 h 25"/>
                      <a:gd name="T18" fmla="*/ 5 w 27"/>
                      <a:gd name="T19" fmla="*/ 20 h 25"/>
                      <a:gd name="T20" fmla="*/ 7 w 27"/>
                      <a:gd name="T21" fmla="*/ 22 h 25"/>
                      <a:gd name="T22" fmla="*/ 10 w 27"/>
                      <a:gd name="T23" fmla="*/ 22 h 25"/>
                      <a:gd name="T24" fmla="*/ 14 w 27"/>
                      <a:gd name="T25" fmla="*/ 22 h 25"/>
                      <a:gd name="T26" fmla="*/ 12 w 27"/>
                      <a:gd name="T27" fmla="*/ 24 h 25"/>
                      <a:gd name="T28" fmla="*/ 14 w 27"/>
                      <a:gd name="T29" fmla="*/ 25 h 25"/>
                      <a:gd name="T30" fmla="*/ 17 w 27"/>
                      <a:gd name="T31" fmla="*/ 25 h 25"/>
                      <a:gd name="T32" fmla="*/ 19 w 27"/>
                      <a:gd name="T33" fmla="*/ 24 h 25"/>
                      <a:gd name="T34" fmla="*/ 19 w 27"/>
                      <a:gd name="T35" fmla="*/ 22 h 25"/>
                      <a:gd name="T36" fmla="*/ 21 w 27"/>
                      <a:gd name="T37" fmla="*/ 20 h 25"/>
                      <a:gd name="T38" fmla="*/ 24 w 27"/>
                      <a:gd name="T39" fmla="*/ 20 h 25"/>
                      <a:gd name="T40" fmla="*/ 24 w 27"/>
                      <a:gd name="T41" fmla="*/ 17 h 25"/>
                      <a:gd name="T42" fmla="*/ 21 w 27"/>
                      <a:gd name="T43" fmla="*/ 17 h 25"/>
                      <a:gd name="T44" fmla="*/ 22 w 27"/>
                      <a:gd name="T45" fmla="*/ 14 h 25"/>
                      <a:gd name="T46" fmla="*/ 24 w 27"/>
                      <a:gd name="T47" fmla="*/ 12 h 25"/>
                      <a:gd name="T48" fmla="*/ 27 w 27"/>
                      <a:gd name="T49" fmla="*/ 12 h 25"/>
                      <a:gd name="T50" fmla="*/ 27 w 27"/>
                      <a:gd name="T51" fmla="*/ 9 h 25"/>
                      <a:gd name="T52" fmla="*/ 26 w 27"/>
                      <a:gd name="T53" fmla="*/ 7 h 25"/>
                      <a:gd name="T54" fmla="*/ 24 w 27"/>
                      <a:gd name="T55" fmla="*/ 4 h 25"/>
                      <a:gd name="T56" fmla="*/ 22 w 27"/>
                      <a:gd name="T57" fmla="*/ 2 h 25"/>
                      <a:gd name="T58" fmla="*/ 21 w 27"/>
                      <a:gd name="T59" fmla="*/ 0 h 25"/>
                      <a:gd name="T60" fmla="*/ 19 w 27"/>
                      <a:gd name="T61" fmla="*/ 2 h 25"/>
                      <a:gd name="T62" fmla="*/ 17 w 27"/>
                      <a:gd name="T63" fmla="*/ 4 h 25"/>
                      <a:gd name="T64" fmla="*/ 15 w 27"/>
                      <a:gd name="T65" fmla="*/ 5 h 25"/>
                      <a:gd name="T66" fmla="*/ 17 w 27"/>
                      <a:gd name="T67" fmla="*/ 7 h 25"/>
                      <a:gd name="T68" fmla="*/ 17 w 27"/>
                      <a:gd name="T69" fmla="*/ 10 h 25"/>
                      <a:gd name="T70" fmla="*/ 17 w 27"/>
                      <a:gd name="T71" fmla="*/ 10 h 25"/>
                      <a:gd name="T72" fmla="*/ 17 w 27"/>
                      <a:gd name="T73" fmla="*/ 10 h 25"/>
                      <a:gd name="T74" fmla="*/ 17 w 27"/>
                      <a:gd name="T75" fmla="*/ 7 h 25"/>
                      <a:gd name="T76" fmla="*/ 15 w 27"/>
                      <a:gd name="T77" fmla="*/ 5 h 25"/>
                      <a:gd name="T78" fmla="*/ 15 w 27"/>
                      <a:gd name="T79" fmla="*/ 9 h 25"/>
                      <a:gd name="T80" fmla="*/ 14 w 27"/>
                      <a:gd name="T81" fmla="*/ 10 h 25"/>
                      <a:gd name="T82" fmla="*/ 14 w 27"/>
                      <a:gd name="T83" fmla="*/ 10 h 25"/>
                      <a:gd name="T84" fmla="*/ 14 w 27"/>
                      <a:gd name="T85" fmla="*/ 9 h 25"/>
                      <a:gd name="T86" fmla="*/ 12 w 27"/>
                      <a:gd name="T87" fmla="*/ 7 h 25"/>
                      <a:gd name="T88" fmla="*/ 14 w 27"/>
                      <a:gd name="T89" fmla="*/ 5 h 25"/>
                      <a:gd name="T90" fmla="*/ 10 w 27"/>
                      <a:gd name="T91" fmla="*/ 5 h 25"/>
                      <a:gd name="T92" fmla="*/ 7 w 27"/>
                      <a:gd name="T93" fmla="*/ 5 h 25"/>
                      <a:gd name="T94" fmla="*/ 7 w 27"/>
                      <a:gd name="T95" fmla="*/ 5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27" h="25">
                        <a:moveTo>
                          <a:pt x="7" y="5"/>
                        </a:moveTo>
                        <a:lnTo>
                          <a:pt x="9" y="5"/>
                        </a:lnTo>
                        <a:lnTo>
                          <a:pt x="9" y="7"/>
                        </a:lnTo>
                        <a:lnTo>
                          <a:pt x="7" y="7"/>
                        </a:lnTo>
                        <a:lnTo>
                          <a:pt x="7" y="9"/>
                        </a:lnTo>
                        <a:lnTo>
                          <a:pt x="5" y="9"/>
                        </a:lnTo>
                        <a:lnTo>
                          <a:pt x="5" y="10"/>
                        </a:lnTo>
                        <a:lnTo>
                          <a:pt x="4" y="10"/>
                        </a:lnTo>
                        <a:lnTo>
                          <a:pt x="2" y="10"/>
                        </a:lnTo>
                        <a:lnTo>
                          <a:pt x="0" y="10"/>
                        </a:lnTo>
                        <a:lnTo>
                          <a:pt x="2" y="10"/>
                        </a:lnTo>
                        <a:lnTo>
                          <a:pt x="0" y="12"/>
                        </a:lnTo>
                        <a:lnTo>
                          <a:pt x="2" y="12"/>
                        </a:lnTo>
                        <a:lnTo>
                          <a:pt x="4" y="12"/>
                        </a:lnTo>
                        <a:lnTo>
                          <a:pt x="4" y="14"/>
                        </a:lnTo>
                        <a:lnTo>
                          <a:pt x="4" y="15"/>
                        </a:lnTo>
                        <a:lnTo>
                          <a:pt x="4" y="17"/>
                        </a:lnTo>
                        <a:lnTo>
                          <a:pt x="4" y="19"/>
                        </a:lnTo>
                        <a:lnTo>
                          <a:pt x="5" y="19"/>
                        </a:lnTo>
                        <a:lnTo>
                          <a:pt x="5" y="20"/>
                        </a:lnTo>
                        <a:lnTo>
                          <a:pt x="5" y="22"/>
                        </a:lnTo>
                        <a:lnTo>
                          <a:pt x="7" y="22"/>
                        </a:lnTo>
                        <a:lnTo>
                          <a:pt x="9" y="22"/>
                        </a:lnTo>
                        <a:lnTo>
                          <a:pt x="10" y="22"/>
                        </a:lnTo>
                        <a:lnTo>
                          <a:pt x="12" y="22"/>
                        </a:lnTo>
                        <a:lnTo>
                          <a:pt x="14" y="22"/>
                        </a:lnTo>
                        <a:lnTo>
                          <a:pt x="12" y="22"/>
                        </a:lnTo>
                        <a:lnTo>
                          <a:pt x="12" y="24"/>
                        </a:lnTo>
                        <a:lnTo>
                          <a:pt x="12" y="25"/>
                        </a:lnTo>
                        <a:lnTo>
                          <a:pt x="14" y="25"/>
                        </a:lnTo>
                        <a:lnTo>
                          <a:pt x="15" y="25"/>
                        </a:lnTo>
                        <a:lnTo>
                          <a:pt x="17" y="25"/>
                        </a:lnTo>
                        <a:lnTo>
                          <a:pt x="19" y="25"/>
                        </a:lnTo>
                        <a:lnTo>
                          <a:pt x="19" y="24"/>
                        </a:lnTo>
                        <a:lnTo>
                          <a:pt x="21" y="24"/>
                        </a:lnTo>
                        <a:lnTo>
                          <a:pt x="19" y="22"/>
                        </a:lnTo>
                        <a:lnTo>
                          <a:pt x="19" y="20"/>
                        </a:lnTo>
                        <a:lnTo>
                          <a:pt x="21" y="20"/>
                        </a:lnTo>
                        <a:lnTo>
                          <a:pt x="22" y="20"/>
                        </a:lnTo>
                        <a:lnTo>
                          <a:pt x="24" y="20"/>
                        </a:lnTo>
                        <a:lnTo>
                          <a:pt x="24" y="19"/>
                        </a:lnTo>
                        <a:lnTo>
                          <a:pt x="24" y="17"/>
                        </a:lnTo>
                        <a:lnTo>
                          <a:pt x="22" y="17"/>
                        </a:lnTo>
                        <a:lnTo>
                          <a:pt x="21" y="17"/>
                        </a:lnTo>
                        <a:lnTo>
                          <a:pt x="21" y="15"/>
                        </a:lnTo>
                        <a:lnTo>
                          <a:pt x="22" y="14"/>
                        </a:lnTo>
                        <a:lnTo>
                          <a:pt x="22" y="12"/>
                        </a:lnTo>
                        <a:lnTo>
                          <a:pt x="24" y="12"/>
                        </a:lnTo>
                        <a:lnTo>
                          <a:pt x="26" y="12"/>
                        </a:lnTo>
                        <a:lnTo>
                          <a:pt x="27" y="12"/>
                        </a:lnTo>
                        <a:lnTo>
                          <a:pt x="27" y="10"/>
                        </a:lnTo>
                        <a:lnTo>
                          <a:pt x="27" y="9"/>
                        </a:lnTo>
                        <a:lnTo>
                          <a:pt x="26" y="9"/>
                        </a:lnTo>
                        <a:lnTo>
                          <a:pt x="26" y="7"/>
                        </a:lnTo>
                        <a:lnTo>
                          <a:pt x="26" y="5"/>
                        </a:lnTo>
                        <a:lnTo>
                          <a:pt x="24" y="4"/>
                        </a:lnTo>
                        <a:lnTo>
                          <a:pt x="24" y="2"/>
                        </a:lnTo>
                        <a:lnTo>
                          <a:pt x="22" y="2"/>
                        </a:lnTo>
                        <a:lnTo>
                          <a:pt x="22" y="0"/>
                        </a:lnTo>
                        <a:lnTo>
                          <a:pt x="21" y="0"/>
                        </a:lnTo>
                        <a:lnTo>
                          <a:pt x="21" y="2"/>
                        </a:lnTo>
                        <a:lnTo>
                          <a:pt x="19" y="2"/>
                        </a:lnTo>
                        <a:lnTo>
                          <a:pt x="17" y="2"/>
                        </a:lnTo>
                        <a:lnTo>
                          <a:pt x="17" y="4"/>
                        </a:lnTo>
                        <a:lnTo>
                          <a:pt x="15" y="4"/>
                        </a:lnTo>
                        <a:lnTo>
                          <a:pt x="15" y="5"/>
                        </a:lnTo>
                        <a:lnTo>
                          <a:pt x="17" y="5"/>
                        </a:lnTo>
                        <a:lnTo>
                          <a:pt x="17" y="7"/>
                        </a:lnTo>
                        <a:lnTo>
                          <a:pt x="17" y="9"/>
                        </a:lnTo>
                        <a:lnTo>
                          <a:pt x="17" y="10"/>
                        </a:lnTo>
                        <a:lnTo>
                          <a:pt x="17" y="12"/>
                        </a:lnTo>
                        <a:lnTo>
                          <a:pt x="17" y="10"/>
                        </a:lnTo>
                        <a:lnTo>
                          <a:pt x="15" y="10"/>
                        </a:lnTo>
                        <a:lnTo>
                          <a:pt x="17" y="10"/>
                        </a:lnTo>
                        <a:lnTo>
                          <a:pt x="17" y="9"/>
                        </a:lnTo>
                        <a:lnTo>
                          <a:pt x="17" y="7"/>
                        </a:lnTo>
                        <a:lnTo>
                          <a:pt x="15" y="7"/>
                        </a:lnTo>
                        <a:lnTo>
                          <a:pt x="15" y="5"/>
                        </a:lnTo>
                        <a:lnTo>
                          <a:pt x="15" y="7"/>
                        </a:lnTo>
                        <a:lnTo>
                          <a:pt x="15" y="9"/>
                        </a:lnTo>
                        <a:lnTo>
                          <a:pt x="14" y="9"/>
                        </a:lnTo>
                        <a:lnTo>
                          <a:pt x="14" y="10"/>
                        </a:lnTo>
                        <a:lnTo>
                          <a:pt x="14" y="12"/>
                        </a:lnTo>
                        <a:lnTo>
                          <a:pt x="14" y="10"/>
                        </a:lnTo>
                        <a:lnTo>
                          <a:pt x="12" y="10"/>
                        </a:lnTo>
                        <a:lnTo>
                          <a:pt x="14" y="9"/>
                        </a:lnTo>
                        <a:lnTo>
                          <a:pt x="12" y="9"/>
                        </a:lnTo>
                        <a:lnTo>
                          <a:pt x="12" y="7"/>
                        </a:lnTo>
                        <a:lnTo>
                          <a:pt x="12" y="5"/>
                        </a:lnTo>
                        <a:lnTo>
                          <a:pt x="14" y="5"/>
                        </a:lnTo>
                        <a:lnTo>
                          <a:pt x="12" y="5"/>
                        </a:lnTo>
                        <a:lnTo>
                          <a:pt x="10" y="5"/>
                        </a:lnTo>
                        <a:lnTo>
                          <a:pt x="9" y="5"/>
                        </a:lnTo>
                        <a:lnTo>
                          <a:pt x="7" y="5"/>
                        </a:lnTo>
                        <a:lnTo>
                          <a:pt x="7" y="4"/>
                        </a:lnTo>
                        <a:lnTo>
                          <a:pt x="7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05" name="Freeform 379">
                    <a:extLst>
                      <a:ext uri="{FF2B5EF4-FFF2-40B4-BE49-F238E27FC236}">
                        <a16:creationId xmlns:a16="http://schemas.microsoft.com/office/drawing/2014/main" id="{3AD79860-689C-DA46-9C34-45F17C963CB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2" y="372"/>
                    <a:ext cx="27" cy="25"/>
                  </a:xfrm>
                  <a:custGeom>
                    <a:avLst/>
                    <a:gdLst>
                      <a:gd name="T0" fmla="*/ 9 w 27"/>
                      <a:gd name="T1" fmla="*/ 5 h 25"/>
                      <a:gd name="T2" fmla="*/ 7 w 27"/>
                      <a:gd name="T3" fmla="*/ 7 h 25"/>
                      <a:gd name="T4" fmla="*/ 5 w 27"/>
                      <a:gd name="T5" fmla="*/ 9 h 25"/>
                      <a:gd name="T6" fmla="*/ 4 w 27"/>
                      <a:gd name="T7" fmla="*/ 10 h 25"/>
                      <a:gd name="T8" fmla="*/ 0 w 27"/>
                      <a:gd name="T9" fmla="*/ 10 h 25"/>
                      <a:gd name="T10" fmla="*/ 0 w 27"/>
                      <a:gd name="T11" fmla="*/ 12 h 25"/>
                      <a:gd name="T12" fmla="*/ 4 w 27"/>
                      <a:gd name="T13" fmla="*/ 12 h 25"/>
                      <a:gd name="T14" fmla="*/ 4 w 27"/>
                      <a:gd name="T15" fmla="*/ 15 h 25"/>
                      <a:gd name="T16" fmla="*/ 4 w 27"/>
                      <a:gd name="T17" fmla="*/ 19 h 25"/>
                      <a:gd name="T18" fmla="*/ 5 w 27"/>
                      <a:gd name="T19" fmla="*/ 20 h 25"/>
                      <a:gd name="T20" fmla="*/ 7 w 27"/>
                      <a:gd name="T21" fmla="*/ 22 h 25"/>
                      <a:gd name="T22" fmla="*/ 10 w 27"/>
                      <a:gd name="T23" fmla="*/ 22 h 25"/>
                      <a:gd name="T24" fmla="*/ 14 w 27"/>
                      <a:gd name="T25" fmla="*/ 22 h 25"/>
                      <a:gd name="T26" fmla="*/ 12 w 27"/>
                      <a:gd name="T27" fmla="*/ 24 h 25"/>
                      <a:gd name="T28" fmla="*/ 14 w 27"/>
                      <a:gd name="T29" fmla="*/ 25 h 25"/>
                      <a:gd name="T30" fmla="*/ 17 w 27"/>
                      <a:gd name="T31" fmla="*/ 25 h 25"/>
                      <a:gd name="T32" fmla="*/ 19 w 27"/>
                      <a:gd name="T33" fmla="*/ 24 h 25"/>
                      <a:gd name="T34" fmla="*/ 19 w 27"/>
                      <a:gd name="T35" fmla="*/ 22 h 25"/>
                      <a:gd name="T36" fmla="*/ 21 w 27"/>
                      <a:gd name="T37" fmla="*/ 20 h 25"/>
                      <a:gd name="T38" fmla="*/ 24 w 27"/>
                      <a:gd name="T39" fmla="*/ 20 h 25"/>
                      <a:gd name="T40" fmla="*/ 24 w 27"/>
                      <a:gd name="T41" fmla="*/ 17 h 25"/>
                      <a:gd name="T42" fmla="*/ 21 w 27"/>
                      <a:gd name="T43" fmla="*/ 17 h 25"/>
                      <a:gd name="T44" fmla="*/ 22 w 27"/>
                      <a:gd name="T45" fmla="*/ 14 h 25"/>
                      <a:gd name="T46" fmla="*/ 24 w 27"/>
                      <a:gd name="T47" fmla="*/ 12 h 25"/>
                      <a:gd name="T48" fmla="*/ 27 w 27"/>
                      <a:gd name="T49" fmla="*/ 12 h 25"/>
                      <a:gd name="T50" fmla="*/ 27 w 27"/>
                      <a:gd name="T51" fmla="*/ 9 h 25"/>
                      <a:gd name="T52" fmla="*/ 26 w 27"/>
                      <a:gd name="T53" fmla="*/ 7 h 25"/>
                      <a:gd name="T54" fmla="*/ 24 w 27"/>
                      <a:gd name="T55" fmla="*/ 4 h 25"/>
                      <a:gd name="T56" fmla="*/ 22 w 27"/>
                      <a:gd name="T57" fmla="*/ 2 h 25"/>
                      <a:gd name="T58" fmla="*/ 21 w 27"/>
                      <a:gd name="T59" fmla="*/ 0 h 25"/>
                      <a:gd name="T60" fmla="*/ 19 w 27"/>
                      <a:gd name="T61" fmla="*/ 2 h 25"/>
                      <a:gd name="T62" fmla="*/ 17 w 27"/>
                      <a:gd name="T63" fmla="*/ 4 h 25"/>
                      <a:gd name="T64" fmla="*/ 15 w 27"/>
                      <a:gd name="T65" fmla="*/ 5 h 25"/>
                      <a:gd name="T66" fmla="*/ 17 w 27"/>
                      <a:gd name="T67" fmla="*/ 7 h 25"/>
                      <a:gd name="T68" fmla="*/ 17 w 27"/>
                      <a:gd name="T69" fmla="*/ 10 h 25"/>
                      <a:gd name="T70" fmla="*/ 17 w 27"/>
                      <a:gd name="T71" fmla="*/ 10 h 25"/>
                      <a:gd name="T72" fmla="*/ 17 w 27"/>
                      <a:gd name="T73" fmla="*/ 10 h 25"/>
                      <a:gd name="T74" fmla="*/ 17 w 27"/>
                      <a:gd name="T75" fmla="*/ 7 h 25"/>
                      <a:gd name="T76" fmla="*/ 15 w 27"/>
                      <a:gd name="T77" fmla="*/ 5 h 25"/>
                      <a:gd name="T78" fmla="*/ 15 w 27"/>
                      <a:gd name="T79" fmla="*/ 9 h 25"/>
                      <a:gd name="T80" fmla="*/ 14 w 27"/>
                      <a:gd name="T81" fmla="*/ 10 h 25"/>
                      <a:gd name="T82" fmla="*/ 14 w 27"/>
                      <a:gd name="T83" fmla="*/ 10 h 25"/>
                      <a:gd name="T84" fmla="*/ 14 w 27"/>
                      <a:gd name="T85" fmla="*/ 9 h 25"/>
                      <a:gd name="T86" fmla="*/ 12 w 27"/>
                      <a:gd name="T87" fmla="*/ 7 h 25"/>
                      <a:gd name="T88" fmla="*/ 14 w 27"/>
                      <a:gd name="T89" fmla="*/ 5 h 25"/>
                      <a:gd name="T90" fmla="*/ 10 w 27"/>
                      <a:gd name="T91" fmla="*/ 5 h 25"/>
                      <a:gd name="T92" fmla="*/ 7 w 27"/>
                      <a:gd name="T93" fmla="*/ 5 h 25"/>
                      <a:gd name="T94" fmla="*/ 7 w 27"/>
                      <a:gd name="T95" fmla="*/ 5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27" h="25">
                        <a:moveTo>
                          <a:pt x="7" y="5"/>
                        </a:moveTo>
                        <a:lnTo>
                          <a:pt x="9" y="5"/>
                        </a:lnTo>
                        <a:lnTo>
                          <a:pt x="9" y="7"/>
                        </a:lnTo>
                        <a:lnTo>
                          <a:pt x="7" y="7"/>
                        </a:lnTo>
                        <a:lnTo>
                          <a:pt x="7" y="9"/>
                        </a:lnTo>
                        <a:lnTo>
                          <a:pt x="5" y="9"/>
                        </a:lnTo>
                        <a:lnTo>
                          <a:pt x="5" y="10"/>
                        </a:lnTo>
                        <a:lnTo>
                          <a:pt x="4" y="10"/>
                        </a:lnTo>
                        <a:lnTo>
                          <a:pt x="2" y="10"/>
                        </a:lnTo>
                        <a:lnTo>
                          <a:pt x="0" y="10"/>
                        </a:lnTo>
                        <a:lnTo>
                          <a:pt x="2" y="10"/>
                        </a:lnTo>
                        <a:lnTo>
                          <a:pt x="0" y="12"/>
                        </a:lnTo>
                        <a:lnTo>
                          <a:pt x="2" y="12"/>
                        </a:lnTo>
                        <a:lnTo>
                          <a:pt x="4" y="12"/>
                        </a:lnTo>
                        <a:lnTo>
                          <a:pt x="4" y="14"/>
                        </a:lnTo>
                        <a:lnTo>
                          <a:pt x="4" y="15"/>
                        </a:lnTo>
                        <a:lnTo>
                          <a:pt x="4" y="17"/>
                        </a:lnTo>
                        <a:lnTo>
                          <a:pt x="4" y="19"/>
                        </a:lnTo>
                        <a:lnTo>
                          <a:pt x="5" y="19"/>
                        </a:lnTo>
                        <a:lnTo>
                          <a:pt x="5" y="20"/>
                        </a:lnTo>
                        <a:lnTo>
                          <a:pt x="5" y="22"/>
                        </a:lnTo>
                        <a:lnTo>
                          <a:pt x="7" y="22"/>
                        </a:lnTo>
                        <a:lnTo>
                          <a:pt x="9" y="22"/>
                        </a:lnTo>
                        <a:lnTo>
                          <a:pt x="10" y="22"/>
                        </a:lnTo>
                        <a:lnTo>
                          <a:pt x="12" y="22"/>
                        </a:lnTo>
                        <a:lnTo>
                          <a:pt x="14" y="22"/>
                        </a:lnTo>
                        <a:lnTo>
                          <a:pt x="12" y="22"/>
                        </a:lnTo>
                        <a:lnTo>
                          <a:pt x="12" y="24"/>
                        </a:lnTo>
                        <a:lnTo>
                          <a:pt x="12" y="25"/>
                        </a:lnTo>
                        <a:lnTo>
                          <a:pt x="14" y="25"/>
                        </a:lnTo>
                        <a:lnTo>
                          <a:pt x="15" y="25"/>
                        </a:lnTo>
                        <a:lnTo>
                          <a:pt x="17" y="25"/>
                        </a:lnTo>
                        <a:lnTo>
                          <a:pt x="19" y="25"/>
                        </a:lnTo>
                        <a:lnTo>
                          <a:pt x="19" y="24"/>
                        </a:lnTo>
                        <a:lnTo>
                          <a:pt x="21" y="24"/>
                        </a:lnTo>
                        <a:lnTo>
                          <a:pt x="19" y="22"/>
                        </a:lnTo>
                        <a:lnTo>
                          <a:pt x="19" y="20"/>
                        </a:lnTo>
                        <a:lnTo>
                          <a:pt x="21" y="20"/>
                        </a:lnTo>
                        <a:lnTo>
                          <a:pt x="22" y="20"/>
                        </a:lnTo>
                        <a:lnTo>
                          <a:pt x="24" y="20"/>
                        </a:lnTo>
                        <a:lnTo>
                          <a:pt x="24" y="19"/>
                        </a:lnTo>
                        <a:lnTo>
                          <a:pt x="24" y="17"/>
                        </a:lnTo>
                        <a:lnTo>
                          <a:pt x="22" y="17"/>
                        </a:lnTo>
                        <a:lnTo>
                          <a:pt x="21" y="17"/>
                        </a:lnTo>
                        <a:lnTo>
                          <a:pt x="21" y="15"/>
                        </a:lnTo>
                        <a:lnTo>
                          <a:pt x="22" y="14"/>
                        </a:lnTo>
                        <a:lnTo>
                          <a:pt x="22" y="12"/>
                        </a:lnTo>
                        <a:lnTo>
                          <a:pt x="24" y="12"/>
                        </a:lnTo>
                        <a:lnTo>
                          <a:pt x="26" y="12"/>
                        </a:lnTo>
                        <a:lnTo>
                          <a:pt x="27" y="12"/>
                        </a:lnTo>
                        <a:lnTo>
                          <a:pt x="27" y="10"/>
                        </a:lnTo>
                        <a:lnTo>
                          <a:pt x="27" y="9"/>
                        </a:lnTo>
                        <a:lnTo>
                          <a:pt x="26" y="9"/>
                        </a:lnTo>
                        <a:lnTo>
                          <a:pt x="26" y="7"/>
                        </a:lnTo>
                        <a:lnTo>
                          <a:pt x="26" y="5"/>
                        </a:lnTo>
                        <a:lnTo>
                          <a:pt x="24" y="4"/>
                        </a:lnTo>
                        <a:lnTo>
                          <a:pt x="24" y="2"/>
                        </a:lnTo>
                        <a:lnTo>
                          <a:pt x="22" y="2"/>
                        </a:lnTo>
                        <a:lnTo>
                          <a:pt x="22" y="0"/>
                        </a:lnTo>
                        <a:lnTo>
                          <a:pt x="21" y="0"/>
                        </a:lnTo>
                        <a:lnTo>
                          <a:pt x="21" y="2"/>
                        </a:lnTo>
                        <a:lnTo>
                          <a:pt x="19" y="2"/>
                        </a:lnTo>
                        <a:lnTo>
                          <a:pt x="17" y="2"/>
                        </a:lnTo>
                        <a:lnTo>
                          <a:pt x="17" y="4"/>
                        </a:lnTo>
                        <a:lnTo>
                          <a:pt x="15" y="4"/>
                        </a:lnTo>
                        <a:lnTo>
                          <a:pt x="15" y="5"/>
                        </a:lnTo>
                        <a:lnTo>
                          <a:pt x="17" y="5"/>
                        </a:lnTo>
                        <a:lnTo>
                          <a:pt x="17" y="7"/>
                        </a:lnTo>
                        <a:lnTo>
                          <a:pt x="17" y="9"/>
                        </a:lnTo>
                        <a:lnTo>
                          <a:pt x="17" y="10"/>
                        </a:lnTo>
                        <a:lnTo>
                          <a:pt x="17" y="12"/>
                        </a:lnTo>
                        <a:lnTo>
                          <a:pt x="17" y="10"/>
                        </a:lnTo>
                        <a:lnTo>
                          <a:pt x="15" y="10"/>
                        </a:lnTo>
                        <a:lnTo>
                          <a:pt x="17" y="10"/>
                        </a:lnTo>
                        <a:lnTo>
                          <a:pt x="17" y="9"/>
                        </a:lnTo>
                        <a:lnTo>
                          <a:pt x="17" y="7"/>
                        </a:lnTo>
                        <a:lnTo>
                          <a:pt x="15" y="7"/>
                        </a:lnTo>
                        <a:lnTo>
                          <a:pt x="15" y="5"/>
                        </a:lnTo>
                        <a:lnTo>
                          <a:pt x="15" y="7"/>
                        </a:lnTo>
                        <a:lnTo>
                          <a:pt x="15" y="9"/>
                        </a:lnTo>
                        <a:lnTo>
                          <a:pt x="14" y="9"/>
                        </a:lnTo>
                        <a:lnTo>
                          <a:pt x="14" y="10"/>
                        </a:lnTo>
                        <a:lnTo>
                          <a:pt x="14" y="12"/>
                        </a:lnTo>
                        <a:lnTo>
                          <a:pt x="14" y="10"/>
                        </a:lnTo>
                        <a:lnTo>
                          <a:pt x="12" y="10"/>
                        </a:lnTo>
                        <a:lnTo>
                          <a:pt x="14" y="9"/>
                        </a:lnTo>
                        <a:lnTo>
                          <a:pt x="12" y="9"/>
                        </a:lnTo>
                        <a:lnTo>
                          <a:pt x="12" y="7"/>
                        </a:lnTo>
                        <a:lnTo>
                          <a:pt x="12" y="5"/>
                        </a:lnTo>
                        <a:lnTo>
                          <a:pt x="14" y="5"/>
                        </a:lnTo>
                        <a:lnTo>
                          <a:pt x="12" y="5"/>
                        </a:lnTo>
                        <a:lnTo>
                          <a:pt x="10" y="5"/>
                        </a:lnTo>
                        <a:lnTo>
                          <a:pt x="9" y="5"/>
                        </a:lnTo>
                        <a:lnTo>
                          <a:pt x="7" y="5"/>
                        </a:lnTo>
                        <a:lnTo>
                          <a:pt x="7" y="4"/>
                        </a:lnTo>
                        <a:lnTo>
                          <a:pt x="7" y="5"/>
                        </a:lnTo>
                        <a:close/>
                      </a:path>
                    </a:pathLst>
                  </a:custGeom>
                  <a:solidFill>
                    <a:srgbClr val="EB1562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89" name="Group 1988">
                  <a:extLst>
                    <a:ext uri="{FF2B5EF4-FFF2-40B4-BE49-F238E27FC236}">
                      <a16:creationId xmlns:a16="http://schemas.microsoft.com/office/drawing/2014/main" id="{05A16B55-BE53-2447-B2E3-422B8ED27D8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44" y="399"/>
                  <a:ext cx="7" cy="9"/>
                  <a:chOff x="344" y="399"/>
                  <a:chExt cx="7" cy="9"/>
                </a:xfrm>
              </p:grpSpPr>
              <p:sp>
                <p:nvSpPr>
                  <p:cNvPr id="2002" name="Freeform 376">
                    <a:extLst>
                      <a:ext uri="{FF2B5EF4-FFF2-40B4-BE49-F238E27FC236}">
                        <a16:creationId xmlns:a16="http://schemas.microsoft.com/office/drawing/2014/main" id="{E86C4320-761C-0544-AE71-4183CF438D0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4" y="399"/>
                    <a:ext cx="7" cy="9"/>
                  </a:xfrm>
                  <a:custGeom>
                    <a:avLst/>
                    <a:gdLst>
                      <a:gd name="T0" fmla="*/ 2 w 7"/>
                      <a:gd name="T1" fmla="*/ 0 h 9"/>
                      <a:gd name="T2" fmla="*/ 0 w 7"/>
                      <a:gd name="T3" fmla="*/ 0 h 9"/>
                      <a:gd name="T4" fmla="*/ 2 w 7"/>
                      <a:gd name="T5" fmla="*/ 2 h 9"/>
                      <a:gd name="T6" fmla="*/ 2 w 7"/>
                      <a:gd name="T7" fmla="*/ 4 h 9"/>
                      <a:gd name="T8" fmla="*/ 3 w 7"/>
                      <a:gd name="T9" fmla="*/ 4 h 9"/>
                      <a:gd name="T10" fmla="*/ 3 w 7"/>
                      <a:gd name="T11" fmla="*/ 5 h 9"/>
                      <a:gd name="T12" fmla="*/ 3 w 7"/>
                      <a:gd name="T13" fmla="*/ 7 h 9"/>
                      <a:gd name="T14" fmla="*/ 3 w 7"/>
                      <a:gd name="T15" fmla="*/ 9 h 9"/>
                      <a:gd name="T16" fmla="*/ 5 w 7"/>
                      <a:gd name="T17" fmla="*/ 9 h 9"/>
                      <a:gd name="T18" fmla="*/ 5 w 7"/>
                      <a:gd name="T19" fmla="*/ 7 h 9"/>
                      <a:gd name="T20" fmla="*/ 5 w 7"/>
                      <a:gd name="T21" fmla="*/ 5 h 9"/>
                      <a:gd name="T22" fmla="*/ 5 w 7"/>
                      <a:gd name="T23" fmla="*/ 4 h 9"/>
                      <a:gd name="T24" fmla="*/ 7 w 7"/>
                      <a:gd name="T25" fmla="*/ 4 h 9"/>
                      <a:gd name="T26" fmla="*/ 7 w 7"/>
                      <a:gd name="T27" fmla="*/ 2 h 9"/>
                      <a:gd name="T28" fmla="*/ 5 w 7"/>
                      <a:gd name="T29" fmla="*/ 2 h 9"/>
                      <a:gd name="T30" fmla="*/ 3 w 7"/>
                      <a:gd name="T31" fmla="*/ 2 h 9"/>
                      <a:gd name="T32" fmla="*/ 3 w 7"/>
                      <a:gd name="T33" fmla="*/ 0 h 9"/>
                      <a:gd name="T34" fmla="*/ 2 w 7"/>
                      <a:gd name="T35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7" h="9">
                        <a:moveTo>
                          <a:pt x="2" y="0"/>
                        </a:moveTo>
                        <a:lnTo>
                          <a:pt x="0" y="0"/>
                        </a:lnTo>
                        <a:lnTo>
                          <a:pt x="2" y="2"/>
                        </a:lnTo>
                        <a:lnTo>
                          <a:pt x="2" y="4"/>
                        </a:lnTo>
                        <a:lnTo>
                          <a:pt x="3" y="4"/>
                        </a:lnTo>
                        <a:lnTo>
                          <a:pt x="3" y="5"/>
                        </a:lnTo>
                        <a:lnTo>
                          <a:pt x="3" y="7"/>
                        </a:lnTo>
                        <a:lnTo>
                          <a:pt x="3" y="9"/>
                        </a:lnTo>
                        <a:lnTo>
                          <a:pt x="5" y="9"/>
                        </a:lnTo>
                        <a:lnTo>
                          <a:pt x="5" y="7"/>
                        </a:lnTo>
                        <a:lnTo>
                          <a:pt x="5" y="5"/>
                        </a:lnTo>
                        <a:lnTo>
                          <a:pt x="5" y="4"/>
                        </a:lnTo>
                        <a:lnTo>
                          <a:pt x="7" y="4"/>
                        </a:lnTo>
                        <a:lnTo>
                          <a:pt x="7" y="2"/>
                        </a:lnTo>
                        <a:lnTo>
                          <a:pt x="5" y="2"/>
                        </a:lnTo>
                        <a:lnTo>
                          <a:pt x="3" y="2"/>
                        </a:lnTo>
                        <a:lnTo>
                          <a:pt x="3" y="0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03" name="Freeform 377">
                    <a:extLst>
                      <a:ext uri="{FF2B5EF4-FFF2-40B4-BE49-F238E27FC236}">
                        <a16:creationId xmlns:a16="http://schemas.microsoft.com/office/drawing/2014/main" id="{F481FD15-FC38-E546-B743-EAE10BE3FED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4" y="399"/>
                    <a:ext cx="7" cy="9"/>
                  </a:xfrm>
                  <a:custGeom>
                    <a:avLst/>
                    <a:gdLst>
                      <a:gd name="T0" fmla="*/ 2 w 7"/>
                      <a:gd name="T1" fmla="*/ 0 h 9"/>
                      <a:gd name="T2" fmla="*/ 0 w 7"/>
                      <a:gd name="T3" fmla="*/ 0 h 9"/>
                      <a:gd name="T4" fmla="*/ 2 w 7"/>
                      <a:gd name="T5" fmla="*/ 2 h 9"/>
                      <a:gd name="T6" fmla="*/ 2 w 7"/>
                      <a:gd name="T7" fmla="*/ 4 h 9"/>
                      <a:gd name="T8" fmla="*/ 3 w 7"/>
                      <a:gd name="T9" fmla="*/ 4 h 9"/>
                      <a:gd name="T10" fmla="*/ 3 w 7"/>
                      <a:gd name="T11" fmla="*/ 5 h 9"/>
                      <a:gd name="T12" fmla="*/ 3 w 7"/>
                      <a:gd name="T13" fmla="*/ 7 h 9"/>
                      <a:gd name="T14" fmla="*/ 3 w 7"/>
                      <a:gd name="T15" fmla="*/ 9 h 9"/>
                      <a:gd name="T16" fmla="*/ 5 w 7"/>
                      <a:gd name="T17" fmla="*/ 9 h 9"/>
                      <a:gd name="T18" fmla="*/ 5 w 7"/>
                      <a:gd name="T19" fmla="*/ 7 h 9"/>
                      <a:gd name="T20" fmla="*/ 5 w 7"/>
                      <a:gd name="T21" fmla="*/ 5 h 9"/>
                      <a:gd name="T22" fmla="*/ 5 w 7"/>
                      <a:gd name="T23" fmla="*/ 4 h 9"/>
                      <a:gd name="T24" fmla="*/ 7 w 7"/>
                      <a:gd name="T25" fmla="*/ 4 h 9"/>
                      <a:gd name="T26" fmla="*/ 7 w 7"/>
                      <a:gd name="T27" fmla="*/ 2 h 9"/>
                      <a:gd name="T28" fmla="*/ 5 w 7"/>
                      <a:gd name="T29" fmla="*/ 2 h 9"/>
                      <a:gd name="T30" fmla="*/ 3 w 7"/>
                      <a:gd name="T31" fmla="*/ 2 h 9"/>
                      <a:gd name="T32" fmla="*/ 3 w 7"/>
                      <a:gd name="T33" fmla="*/ 0 h 9"/>
                      <a:gd name="T34" fmla="*/ 2 w 7"/>
                      <a:gd name="T35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7" h="9">
                        <a:moveTo>
                          <a:pt x="2" y="0"/>
                        </a:moveTo>
                        <a:lnTo>
                          <a:pt x="0" y="0"/>
                        </a:lnTo>
                        <a:lnTo>
                          <a:pt x="2" y="2"/>
                        </a:lnTo>
                        <a:lnTo>
                          <a:pt x="2" y="4"/>
                        </a:lnTo>
                        <a:lnTo>
                          <a:pt x="3" y="4"/>
                        </a:lnTo>
                        <a:lnTo>
                          <a:pt x="3" y="5"/>
                        </a:lnTo>
                        <a:lnTo>
                          <a:pt x="3" y="7"/>
                        </a:lnTo>
                        <a:lnTo>
                          <a:pt x="3" y="9"/>
                        </a:lnTo>
                        <a:lnTo>
                          <a:pt x="5" y="9"/>
                        </a:lnTo>
                        <a:lnTo>
                          <a:pt x="5" y="7"/>
                        </a:lnTo>
                        <a:lnTo>
                          <a:pt x="5" y="5"/>
                        </a:lnTo>
                        <a:lnTo>
                          <a:pt x="5" y="4"/>
                        </a:lnTo>
                        <a:lnTo>
                          <a:pt x="7" y="4"/>
                        </a:lnTo>
                        <a:lnTo>
                          <a:pt x="7" y="2"/>
                        </a:lnTo>
                        <a:lnTo>
                          <a:pt x="5" y="2"/>
                        </a:lnTo>
                        <a:lnTo>
                          <a:pt x="3" y="2"/>
                        </a:lnTo>
                        <a:lnTo>
                          <a:pt x="3" y="0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90" name="Group 1989">
                  <a:extLst>
                    <a:ext uri="{FF2B5EF4-FFF2-40B4-BE49-F238E27FC236}">
                      <a16:creationId xmlns:a16="http://schemas.microsoft.com/office/drawing/2014/main" id="{A0FB808B-604D-5D49-B29D-2FCF70BBC72A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34" y="399"/>
                  <a:ext cx="12" cy="7"/>
                  <a:chOff x="334" y="399"/>
                  <a:chExt cx="12" cy="7"/>
                </a:xfrm>
              </p:grpSpPr>
              <p:sp>
                <p:nvSpPr>
                  <p:cNvPr id="2000" name="Freeform 374">
                    <a:extLst>
                      <a:ext uri="{FF2B5EF4-FFF2-40B4-BE49-F238E27FC236}">
                        <a16:creationId xmlns:a16="http://schemas.microsoft.com/office/drawing/2014/main" id="{3F137D3D-65E5-EA46-B45B-119A3F0DE82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4" y="399"/>
                    <a:ext cx="12" cy="7"/>
                  </a:xfrm>
                  <a:custGeom>
                    <a:avLst/>
                    <a:gdLst>
                      <a:gd name="T0" fmla="*/ 3 w 12"/>
                      <a:gd name="T1" fmla="*/ 0 h 7"/>
                      <a:gd name="T2" fmla="*/ 2 w 12"/>
                      <a:gd name="T3" fmla="*/ 0 h 7"/>
                      <a:gd name="T4" fmla="*/ 0 w 12"/>
                      <a:gd name="T5" fmla="*/ 0 h 7"/>
                      <a:gd name="T6" fmla="*/ 0 w 12"/>
                      <a:gd name="T7" fmla="*/ 2 h 7"/>
                      <a:gd name="T8" fmla="*/ 2 w 12"/>
                      <a:gd name="T9" fmla="*/ 2 h 7"/>
                      <a:gd name="T10" fmla="*/ 0 w 12"/>
                      <a:gd name="T11" fmla="*/ 4 h 7"/>
                      <a:gd name="T12" fmla="*/ 2 w 12"/>
                      <a:gd name="T13" fmla="*/ 5 h 7"/>
                      <a:gd name="T14" fmla="*/ 3 w 12"/>
                      <a:gd name="T15" fmla="*/ 5 h 7"/>
                      <a:gd name="T16" fmla="*/ 5 w 12"/>
                      <a:gd name="T17" fmla="*/ 5 h 7"/>
                      <a:gd name="T18" fmla="*/ 5 w 12"/>
                      <a:gd name="T19" fmla="*/ 7 h 7"/>
                      <a:gd name="T20" fmla="*/ 7 w 12"/>
                      <a:gd name="T21" fmla="*/ 7 h 7"/>
                      <a:gd name="T22" fmla="*/ 8 w 12"/>
                      <a:gd name="T23" fmla="*/ 5 h 7"/>
                      <a:gd name="T24" fmla="*/ 10 w 12"/>
                      <a:gd name="T25" fmla="*/ 7 h 7"/>
                      <a:gd name="T26" fmla="*/ 12 w 12"/>
                      <a:gd name="T27" fmla="*/ 5 h 7"/>
                      <a:gd name="T28" fmla="*/ 10 w 12"/>
                      <a:gd name="T29" fmla="*/ 5 h 7"/>
                      <a:gd name="T30" fmla="*/ 12 w 12"/>
                      <a:gd name="T31" fmla="*/ 4 h 7"/>
                      <a:gd name="T32" fmla="*/ 10 w 12"/>
                      <a:gd name="T33" fmla="*/ 4 h 7"/>
                      <a:gd name="T34" fmla="*/ 10 w 12"/>
                      <a:gd name="T35" fmla="*/ 2 h 7"/>
                      <a:gd name="T36" fmla="*/ 8 w 12"/>
                      <a:gd name="T37" fmla="*/ 2 h 7"/>
                      <a:gd name="T38" fmla="*/ 7 w 12"/>
                      <a:gd name="T39" fmla="*/ 2 h 7"/>
                      <a:gd name="T40" fmla="*/ 5 w 12"/>
                      <a:gd name="T41" fmla="*/ 2 h 7"/>
                      <a:gd name="T42" fmla="*/ 3 w 12"/>
                      <a:gd name="T43" fmla="*/ 2 h 7"/>
                      <a:gd name="T44" fmla="*/ 3 w 12"/>
                      <a:gd name="T45" fmla="*/ 0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12" h="7">
                        <a:moveTo>
                          <a:pt x="3" y="0"/>
                        </a:move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2"/>
                        </a:lnTo>
                        <a:lnTo>
                          <a:pt x="2" y="2"/>
                        </a:lnTo>
                        <a:lnTo>
                          <a:pt x="0" y="4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5" y="5"/>
                        </a:lnTo>
                        <a:lnTo>
                          <a:pt x="5" y="7"/>
                        </a:lnTo>
                        <a:lnTo>
                          <a:pt x="7" y="7"/>
                        </a:lnTo>
                        <a:lnTo>
                          <a:pt x="8" y="5"/>
                        </a:lnTo>
                        <a:lnTo>
                          <a:pt x="10" y="7"/>
                        </a:lnTo>
                        <a:lnTo>
                          <a:pt x="12" y="5"/>
                        </a:lnTo>
                        <a:lnTo>
                          <a:pt x="10" y="5"/>
                        </a:lnTo>
                        <a:lnTo>
                          <a:pt x="12" y="4"/>
                        </a:lnTo>
                        <a:lnTo>
                          <a:pt x="10" y="4"/>
                        </a:lnTo>
                        <a:lnTo>
                          <a:pt x="10" y="2"/>
                        </a:lnTo>
                        <a:lnTo>
                          <a:pt x="8" y="2"/>
                        </a:lnTo>
                        <a:lnTo>
                          <a:pt x="7" y="2"/>
                        </a:lnTo>
                        <a:lnTo>
                          <a:pt x="5" y="2"/>
                        </a:lnTo>
                        <a:lnTo>
                          <a:pt x="3" y="2"/>
                        </a:lnTo>
                        <a:lnTo>
                          <a:pt x="3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01" name="Freeform 375">
                    <a:extLst>
                      <a:ext uri="{FF2B5EF4-FFF2-40B4-BE49-F238E27FC236}">
                        <a16:creationId xmlns:a16="http://schemas.microsoft.com/office/drawing/2014/main" id="{06CD4601-BA91-C74D-95E9-92312CA8E0B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4" y="399"/>
                    <a:ext cx="12" cy="7"/>
                  </a:xfrm>
                  <a:custGeom>
                    <a:avLst/>
                    <a:gdLst>
                      <a:gd name="T0" fmla="*/ 3 w 12"/>
                      <a:gd name="T1" fmla="*/ 0 h 7"/>
                      <a:gd name="T2" fmla="*/ 2 w 12"/>
                      <a:gd name="T3" fmla="*/ 0 h 7"/>
                      <a:gd name="T4" fmla="*/ 0 w 12"/>
                      <a:gd name="T5" fmla="*/ 0 h 7"/>
                      <a:gd name="T6" fmla="*/ 0 w 12"/>
                      <a:gd name="T7" fmla="*/ 2 h 7"/>
                      <a:gd name="T8" fmla="*/ 2 w 12"/>
                      <a:gd name="T9" fmla="*/ 2 h 7"/>
                      <a:gd name="T10" fmla="*/ 0 w 12"/>
                      <a:gd name="T11" fmla="*/ 4 h 7"/>
                      <a:gd name="T12" fmla="*/ 2 w 12"/>
                      <a:gd name="T13" fmla="*/ 5 h 7"/>
                      <a:gd name="T14" fmla="*/ 3 w 12"/>
                      <a:gd name="T15" fmla="*/ 5 h 7"/>
                      <a:gd name="T16" fmla="*/ 5 w 12"/>
                      <a:gd name="T17" fmla="*/ 5 h 7"/>
                      <a:gd name="T18" fmla="*/ 5 w 12"/>
                      <a:gd name="T19" fmla="*/ 7 h 7"/>
                      <a:gd name="T20" fmla="*/ 7 w 12"/>
                      <a:gd name="T21" fmla="*/ 7 h 7"/>
                      <a:gd name="T22" fmla="*/ 8 w 12"/>
                      <a:gd name="T23" fmla="*/ 5 h 7"/>
                      <a:gd name="T24" fmla="*/ 10 w 12"/>
                      <a:gd name="T25" fmla="*/ 7 h 7"/>
                      <a:gd name="T26" fmla="*/ 12 w 12"/>
                      <a:gd name="T27" fmla="*/ 5 h 7"/>
                      <a:gd name="T28" fmla="*/ 10 w 12"/>
                      <a:gd name="T29" fmla="*/ 5 h 7"/>
                      <a:gd name="T30" fmla="*/ 12 w 12"/>
                      <a:gd name="T31" fmla="*/ 4 h 7"/>
                      <a:gd name="T32" fmla="*/ 10 w 12"/>
                      <a:gd name="T33" fmla="*/ 4 h 7"/>
                      <a:gd name="T34" fmla="*/ 10 w 12"/>
                      <a:gd name="T35" fmla="*/ 2 h 7"/>
                      <a:gd name="T36" fmla="*/ 8 w 12"/>
                      <a:gd name="T37" fmla="*/ 2 h 7"/>
                      <a:gd name="T38" fmla="*/ 7 w 12"/>
                      <a:gd name="T39" fmla="*/ 2 h 7"/>
                      <a:gd name="T40" fmla="*/ 5 w 12"/>
                      <a:gd name="T41" fmla="*/ 2 h 7"/>
                      <a:gd name="T42" fmla="*/ 3 w 12"/>
                      <a:gd name="T43" fmla="*/ 2 h 7"/>
                      <a:gd name="T44" fmla="*/ 3 w 12"/>
                      <a:gd name="T45" fmla="*/ 0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12" h="7">
                        <a:moveTo>
                          <a:pt x="3" y="0"/>
                        </a:move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2"/>
                        </a:lnTo>
                        <a:lnTo>
                          <a:pt x="2" y="2"/>
                        </a:lnTo>
                        <a:lnTo>
                          <a:pt x="0" y="4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5" y="5"/>
                        </a:lnTo>
                        <a:lnTo>
                          <a:pt x="5" y="7"/>
                        </a:lnTo>
                        <a:lnTo>
                          <a:pt x="7" y="7"/>
                        </a:lnTo>
                        <a:lnTo>
                          <a:pt x="8" y="5"/>
                        </a:lnTo>
                        <a:lnTo>
                          <a:pt x="10" y="7"/>
                        </a:lnTo>
                        <a:lnTo>
                          <a:pt x="12" y="5"/>
                        </a:lnTo>
                        <a:lnTo>
                          <a:pt x="10" y="5"/>
                        </a:lnTo>
                        <a:lnTo>
                          <a:pt x="12" y="4"/>
                        </a:lnTo>
                        <a:lnTo>
                          <a:pt x="10" y="4"/>
                        </a:lnTo>
                        <a:lnTo>
                          <a:pt x="10" y="2"/>
                        </a:lnTo>
                        <a:lnTo>
                          <a:pt x="8" y="2"/>
                        </a:lnTo>
                        <a:lnTo>
                          <a:pt x="7" y="2"/>
                        </a:lnTo>
                        <a:lnTo>
                          <a:pt x="5" y="2"/>
                        </a:lnTo>
                        <a:lnTo>
                          <a:pt x="3" y="2"/>
                        </a:lnTo>
                        <a:lnTo>
                          <a:pt x="3" y="0"/>
                        </a:lnTo>
                        <a:close/>
                      </a:path>
                    </a:pathLst>
                  </a:custGeom>
                  <a:solidFill>
                    <a:srgbClr val="54C5A8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91" name="Group 1990">
                  <a:extLst>
                    <a:ext uri="{FF2B5EF4-FFF2-40B4-BE49-F238E27FC236}">
                      <a16:creationId xmlns:a16="http://schemas.microsoft.com/office/drawing/2014/main" id="{BE159760-D5A8-8245-8C67-070E98E0F83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14" y="384"/>
                  <a:ext cx="17" cy="13"/>
                  <a:chOff x="314" y="384"/>
                  <a:chExt cx="17" cy="13"/>
                </a:xfrm>
              </p:grpSpPr>
              <p:sp>
                <p:nvSpPr>
                  <p:cNvPr id="1998" name="Freeform 372">
                    <a:extLst>
                      <a:ext uri="{FF2B5EF4-FFF2-40B4-BE49-F238E27FC236}">
                        <a16:creationId xmlns:a16="http://schemas.microsoft.com/office/drawing/2014/main" id="{D8C33247-DAD7-EB45-8551-F049F90D35F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4" y="384"/>
                    <a:ext cx="17" cy="13"/>
                  </a:xfrm>
                  <a:custGeom>
                    <a:avLst/>
                    <a:gdLst>
                      <a:gd name="T0" fmla="*/ 3 w 17"/>
                      <a:gd name="T1" fmla="*/ 2 h 13"/>
                      <a:gd name="T2" fmla="*/ 3 w 17"/>
                      <a:gd name="T3" fmla="*/ 3 h 13"/>
                      <a:gd name="T4" fmla="*/ 1 w 17"/>
                      <a:gd name="T5" fmla="*/ 3 h 13"/>
                      <a:gd name="T6" fmla="*/ 0 w 17"/>
                      <a:gd name="T7" fmla="*/ 3 h 13"/>
                      <a:gd name="T8" fmla="*/ 0 w 17"/>
                      <a:gd name="T9" fmla="*/ 5 h 13"/>
                      <a:gd name="T10" fmla="*/ 0 w 17"/>
                      <a:gd name="T11" fmla="*/ 7 h 13"/>
                      <a:gd name="T12" fmla="*/ 1 w 17"/>
                      <a:gd name="T13" fmla="*/ 7 h 13"/>
                      <a:gd name="T14" fmla="*/ 1 w 17"/>
                      <a:gd name="T15" fmla="*/ 8 h 13"/>
                      <a:gd name="T16" fmla="*/ 1 w 17"/>
                      <a:gd name="T17" fmla="*/ 10 h 13"/>
                      <a:gd name="T18" fmla="*/ 3 w 17"/>
                      <a:gd name="T19" fmla="*/ 10 h 13"/>
                      <a:gd name="T20" fmla="*/ 5 w 17"/>
                      <a:gd name="T21" fmla="*/ 10 h 13"/>
                      <a:gd name="T22" fmla="*/ 6 w 17"/>
                      <a:gd name="T23" fmla="*/ 10 h 13"/>
                      <a:gd name="T24" fmla="*/ 5 w 17"/>
                      <a:gd name="T25" fmla="*/ 12 h 13"/>
                      <a:gd name="T26" fmla="*/ 6 w 17"/>
                      <a:gd name="T27" fmla="*/ 12 h 13"/>
                      <a:gd name="T28" fmla="*/ 8 w 17"/>
                      <a:gd name="T29" fmla="*/ 12 h 13"/>
                      <a:gd name="T30" fmla="*/ 10 w 17"/>
                      <a:gd name="T31" fmla="*/ 12 h 13"/>
                      <a:gd name="T32" fmla="*/ 10 w 17"/>
                      <a:gd name="T33" fmla="*/ 13 h 13"/>
                      <a:gd name="T34" fmla="*/ 12 w 17"/>
                      <a:gd name="T35" fmla="*/ 13 h 13"/>
                      <a:gd name="T36" fmla="*/ 13 w 17"/>
                      <a:gd name="T37" fmla="*/ 13 h 13"/>
                      <a:gd name="T38" fmla="*/ 13 w 17"/>
                      <a:gd name="T39" fmla="*/ 12 h 13"/>
                      <a:gd name="T40" fmla="*/ 15 w 17"/>
                      <a:gd name="T41" fmla="*/ 12 h 13"/>
                      <a:gd name="T42" fmla="*/ 17 w 17"/>
                      <a:gd name="T43" fmla="*/ 10 h 13"/>
                      <a:gd name="T44" fmla="*/ 17 w 17"/>
                      <a:gd name="T45" fmla="*/ 8 h 13"/>
                      <a:gd name="T46" fmla="*/ 17 w 17"/>
                      <a:gd name="T47" fmla="*/ 7 h 13"/>
                      <a:gd name="T48" fmla="*/ 15 w 17"/>
                      <a:gd name="T49" fmla="*/ 7 h 13"/>
                      <a:gd name="T50" fmla="*/ 15 w 17"/>
                      <a:gd name="T51" fmla="*/ 5 h 13"/>
                      <a:gd name="T52" fmla="*/ 15 w 17"/>
                      <a:gd name="T53" fmla="*/ 3 h 13"/>
                      <a:gd name="T54" fmla="*/ 13 w 17"/>
                      <a:gd name="T55" fmla="*/ 2 h 13"/>
                      <a:gd name="T56" fmla="*/ 13 w 17"/>
                      <a:gd name="T57" fmla="*/ 0 h 13"/>
                      <a:gd name="T58" fmla="*/ 12 w 17"/>
                      <a:gd name="T59" fmla="*/ 0 h 13"/>
                      <a:gd name="T60" fmla="*/ 12 w 17"/>
                      <a:gd name="T61" fmla="*/ 2 h 13"/>
                      <a:gd name="T62" fmla="*/ 10 w 17"/>
                      <a:gd name="T63" fmla="*/ 2 h 13"/>
                      <a:gd name="T64" fmla="*/ 8 w 17"/>
                      <a:gd name="T65" fmla="*/ 2 h 13"/>
                      <a:gd name="T66" fmla="*/ 6 w 17"/>
                      <a:gd name="T67" fmla="*/ 2 h 13"/>
                      <a:gd name="T68" fmla="*/ 5 w 17"/>
                      <a:gd name="T69" fmla="*/ 2 h 13"/>
                      <a:gd name="T70" fmla="*/ 3 w 17"/>
                      <a:gd name="T71" fmla="*/ 2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17" h="13">
                        <a:moveTo>
                          <a:pt x="3" y="2"/>
                        </a:moveTo>
                        <a:lnTo>
                          <a:pt x="3" y="3"/>
                        </a:lnTo>
                        <a:lnTo>
                          <a:pt x="1" y="3"/>
                        </a:lnTo>
                        <a:lnTo>
                          <a:pt x="0" y="3"/>
                        </a:lnTo>
                        <a:lnTo>
                          <a:pt x="0" y="5"/>
                        </a:lnTo>
                        <a:lnTo>
                          <a:pt x="0" y="7"/>
                        </a:lnTo>
                        <a:lnTo>
                          <a:pt x="1" y="7"/>
                        </a:lnTo>
                        <a:lnTo>
                          <a:pt x="1" y="8"/>
                        </a:lnTo>
                        <a:lnTo>
                          <a:pt x="1" y="10"/>
                        </a:lnTo>
                        <a:lnTo>
                          <a:pt x="3" y="10"/>
                        </a:lnTo>
                        <a:lnTo>
                          <a:pt x="5" y="10"/>
                        </a:lnTo>
                        <a:lnTo>
                          <a:pt x="6" y="10"/>
                        </a:lnTo>
                        <a:lnTo>
                          <a:pt x="5" y="12"/>
                        </a:lnTo>
                        <a:lnTo>
                          <a:pt x="6" y="12"/>
                        </a:lnTo>
                        <a:lnTo>
                          <a:pt x="8" y="12"/>
                        </a:lnTo>
                        <a:lnTo>
                          <a:pt x="10" y="12"/>
                        </a:lnTo>
                        <a:lnTo>
                          <a:pt x="10" y="13"/>
                        </a:lnTo>
                        <a:lnTo>
                          <a:pt x="12" y="13"/>
                        </a:lnTo>
                        <a:lnTo>
                          <a:pt x="13" y="13"/>
                        </a:lnTo>
                        <a:lnTo>
                          <a:pt x="13" y="12"/>
                        </a:lnTo>
                        <a:lnTo>
                          <a:pt x="15" y="12"/>
                        </a:lnTo>
                        <a:lnTo>
                          <a:pt x="17" y="10"/>
                        </a:lnTo>
                        <a:lnTo>
                          <a:pt x="17" y="8"/>
                        </a:lnTo>
                        <a:lnTo>
                          <a:pt x="17" y="7"/>
                        </a:lnTo>
                        <a:lnTo>
                          <a:pt x="15" y="7"/>
                        </a:lnTo>
                        <a:lnTo>
                          <a:pt x="15" y="5"/>
                        </a:lnTo>
                        <a:lnTo>
                          <a:pt x="15" y="3"/>
                        </a:lnTo>
                        <a:lnTo>
                          <a:pt x="13" y="2"/>
                        </a:lnTo>
                        <a:lnTo>
                          <a:pt x="13" y="0"/>
                        </a:lnTo>
                        <a:lnTo>
                          <a:pt x="12" y="0"/>
                        </a:lnTo>
                        <a:lnTo>
                          <a:pt x="12" y="2"/>
                        </a:lnTo>
                        <a:lnTo>
                          <a:pt x="10" y="2"/>
                        </a:lnTo>
                        <a:lnTo>
                          <a:pt x="8" y="2"/>
                        </a:lnTo>
                        <a:lnTo>
                          <a:pt x="6" y="2"/>
                        </a:lnTo>
                        <a:lnTo>
                          <a:pt x="5" y="2"/>
                        </a:lnTo>
                        <a:lnTo>
                          <a:pt x="3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99" name="Freeform 373">
                    <a:extLst>
                      <a:ext uri="{FF2B5EF4-FFF2-40B4-BE49-F238E27FC236}">
                        <a16:creationId xmlns:a16="http://schemas.microsoft.com/office/drawing/2014/main" id="{089C354A-9E5C-C04D-95AA-A19EB9A195B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4" y="384"/>
                    <a:ext cx="17" cy="13"/>
                  </a:xfrm>
                  <a:custGeom>
                    <a:avLst/>
                    <a:gdLst>
                      <a:gd name="T0" fmla="*/ 3 w 17"/>
                      <a:gd name="T1" fmla="*/ 2 h 13"/>
                      <a:gd name="T2" fmla="*/ 3 w 17"/>
                      <a:gd name="T3" fmla="*/ 3 h 13"/>
                      <a:gd name="T4" fmla="*/ 1 w 17"/>
                      <a:gd name="T5" fmla="*/ 3 h 13"/>
                      <a:gd name="T6" fmla="*/ 0 w 17"/>
                      <a:gd name="T7" fmla="*/ 3 h 13"/>
                      <a:gd name="T8" fmla="*/ 0 w 17"/>
                      <a:gd name="T9" fmla="*/ 5 h 13"/>
                      <a:gd name="T10" fmla="*/ 0 w 17"/>
                      <a:gd name="T11" fmla="*/ 7 h 13"/>
                      <a:gd name="T12" fmla="*/ 1 w 17"/>
                      <a:gd name="T13" fmla="*/ 7 h 13"/>
                      <a:gd name="T14" fmla="*/ 1 w 17"/>
                      <a:gd name="T15" fmla="*/ 8 h 13"/>
                      <a:gd name="T16" fmla="*/ 1 w 17"/>
                      <a:gd name="T17" fmla="*/ 10 h 13"/>
                      <a:gd name="T18" fmla="*/ 3 w 17"/>
                      <a:gd name="T19" fmla="*/ 10 h 13"/>
                      <a:gd name="T20" fmla="*/ 5 w 17"/>
                      <a:gd name="T21" fmla="*/ 10 h 13"/>
                      <a:gd name="T22" fmla="*/ 6 w 17"/>
                      <a:gd name="T23" fmla="*/ 10 h 13"/>
                      <a:gd name="T24" fmla="*/ 5 w 17"/>
                      <a:gd name="T25" fmla="*/ 12 h 13"/>
                      <a:gd name="T26" fmla="*/ 6 w 17"/>
                      <a:gd name="T27" fmla="*/ 12 h 13"/>
                      <a:gd name="T28" fmla="*/ 8 w 17"/>
                      <a:gd name="T29" fmla="*/ 12 h 13"/>
                      <a:gd name="T30" fmla="*/ 10 w 17"/>
                      <a:gd name="T31" fmla="*/ 12 h 13"/>
                      <a:gd name="T32" fmla="*/ 10 w 17"/>
                      <a:gd name="T33" fmla="*/ 13 h 13"/>
                      <a:gd name="T34" fmla="*/ 12 w 17"/>
                      <a:gd name="T35" fmla="*/ 13 h 13"/>
                      <a:gd name="T36" fmla="*/ 13 w 17"/>
                      <a:gd name="T37" fmla="*/ 13 h 13"/>
                      <a:gd name="T38" fmla="*/ 13 w 17"/>
                      <a:gd name="T39" fmla="*/ 12 h 13"/>
                      <a:gd name="T40" fmla="*/ 15 w 17"/>
                      <a:gd name="T41" fmla="*/ 12 h 13"/>
                      <a:gd name="T42" fmla="*/ 17 w 17"/>
                      <a:gd name="T43" fmla="*/ 10 h 13"/>
                      <a:gd name="T44" fmla="*/ 17 w 17"/>
                      <a:gd name="T45" fmla="*/ 8 h 13"/>
                      <a:gd name="T46" fmla="*/ 17 w 17"/>
                      <a:gd name="T47" fmla="*/ 7 h 13"/>
                      <a:gd name="T48" fmla="*/ 15 w 17"/>
                      <a:gd name="T49" fmla="*/ 7 h 13"/>
                      <a:gd name="T50" fmla="*/ 15 w 17"/>
                      <a:gd name="T51" fmla="*/ 5 h 13"/>
                      <a:gd name="T52" fmla="*/ 15 w 17"/>
                      <a:gd name="T53" fmla="*/ 3 h 13"/>
                      <a:gd name="T54" fmla="*/ 13 w 17"/>
                      <a:gd name="T55" fmla="*/ 2 h 13"/>
                      <a:gd name="T56" fmla="*/ 13 w 17"/>
                      <a:gd name="T57" fmla="*/ 0 h 13"/>
                      <a:gd name="T58" fmla="*/ 12 w 17"/>
                      <a:gd name="T59" fmla="*/ 0 h 13"/>
                      <a:gd name="T60" fmla="*/ 12 w 17"/>
                      <a:gd name="T61" fmla="*/ 2 h 13"/>
                      <a:gd name="T62" fmla="*/ 10 w 17"/>
                      <a:gd name="T63" fmla="*/ 2 h 13"/>
                      <a:gd name="T64" fmla="*/ 8 w 17"/>
                      <a:gd name="T65" fmla="*/ 2 h 13"/>
                      <a:gd name="T66" fmla="*/ 6 w 17"/>
                      <a:gd name="T67" fmla="*/ 2 h 13"/>
                      <a:gd name="T68" fmla="*/ 5 w 17"/>
                      <a:gd name="T69" fmla="*/ 2 h 13"/>
                      <a:gd name="T70" fmla="*/ 3 w 17"/>
                      <a:gd name="T71" fmla="*/ 2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17" h="13">
                        <a:moveTo>
                          <a:pt x="3" y="2"/>
                        </a:moveTo>
                        <a:lnTo>
                          <a:pt x="3" y="3"/>
                        </a:lnTo>
                        <a:lnTo>
                          <a:pt x="1" y="3"/>
                        </a:lnTo>
                        <a:lnTo>
                          <a:pt x="0" y="3"/>
                        </a:lnTo>
                        <a:lnTo>
                          <a:pt x="0" y="5"/>
                        </a:lnTo>
                        <a:lnTo>
                          <a:pt x="0" y="7"/>
                        </a:lnTo>
                        <a:lnTo>
                          <a:pt x="1" y="7"/>
                        </a:lnTo>
                        <a:lnTo>
                          <a:pt x="1" y="8"/>
                        </a:lnTo>
                        <a:lnTo>
                          <a:pt x="1" y="10"/>
                        </a:lnTo>
                        <a:lnTo>
                          <a:pt x="3" y="10"/>
                        </a:lnTo>
                        <a:lnTo>
                          <a:pt x="5" y="10"/>
                        </a:lnTo>
                        <a:lnTo>
                          <a:pt x="6" y="10"/>
                        </a:lnTo>
                        <a:lnTo>
                          <a:pt x="5" y="12"/>
                        </a:lnTo>
                        <a:lnTo>
                          <a:pt x="6" y="12"/>
                        </a:lnTo>
                        <a:lnTo>
                          <a:pt x="8" y="12"/>
                        </a:lnTo>
                        <a:lnTo>
                          <a:pt x="10" y="12"/>
                        </a:lnTo>
                        <a:lnTo>
                          <a:pt x="10" y="13"/>
                        </a:lnTo>
                        <a:lnTo>
                          <a:pt x="12" y="13"/>
                        </a:lnTo>
                        <a:lnTo>
                          <a:pt x="13" y="13"/>
                        </a:lnTo>
                        <a:lnTo>
                          <a:pt x="13" y="12"/>
                        </a:lnTo>
                        <a:lnTo>
                          <a:pt x="15" y="12"/>
                        </a:lnTo>
                        <a:lnTo>
                          <a:pt x="17" y="10"/>
                        </a:lnTo>
                        <a:lnTo>
                          <a:pt x="17" y="8"/>
                        </a:lnTo>
                        <a:lnTo>
                          <a:pt x="17" y="7"/>
                        </a:lnTo>
                        <a:lnTo>
                          <a:pt x="15" y="7"/>
                        </a:lnTo>
                        <a:lnTo>
                          <a:pt x="15" y="5"/>
                        </a:lnTo>
                        <a:lnTo>
                          <a:pt x="15" y="3"/>
                        </a:lnTo>
                        <a:lnTo>
                          <a:pt x="13" y="2"/>
                        </a:lnTo>
                        <a:lnTo>
                          <a:pt x="13" y="0"/>
                        </a:lnTo>
                        <a:lnTo>
                          <a:pt x="12" y="0"/>
                        </a:lnTo>
                        <a:lnTo>
                          <a:pt x="12" y="2"/>
                        </a:lnTo>
                        <a:lnTo>
                          <a:pt x="10" y="2"/>
                        </a:lnTo>
                        <a:lnTo>
                          <a:pt x="8" y="2"/>
                        </a:lnTo>
                        <a:lnTo>
                          <a:pt x="6" y="2"/>
                        </a:lnTo>
                        <a:lnTo>
                          <a:pt x="5" y="2"/>
                        </a:lnTo>
                        <a:lnTo>
                          <a:pt x="3" y="2"/>
                        </a:lnTo>
                        <a:close/>
                      </a:path>
                    </a:pathLst>
                  </a:custGeom>
                  <a:solidFill>
                    <a:srgbClr val="EB1562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92" name="Group 1991">
                  <a:extLst>
                    <a:ext uri="{FF2B5EF4-FFF2-40B4-BE49-F238E27FC236}">
                      <a16:creationId xmlns:a16="http://schemas.microsoft.com/office/drawing/2014/main" id="{9ECB677C-06EC-C248-B65F-8CEDFCACEF9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27" y="394"/>
                  <a:ext cx="5" cy="10"/>
                  <a:chOff x="327" y="394"/>
                  <a:chExt cx="5" cy="10"/>
                </a:xfrm>
              </p:grpSpPr>
              <p:sp>
                <p:nvSpPr>
                  <p:cNvPr id="1996" name="Freeform 370">
                    <a:extLst>
                      <a:ext uri="{FF2B5EF4-FFF2-40B4-BE49-F238E27FC236}">
                        <a16:creationId xmlns:a16="http://schemas.microsoft.com/office/drawing/2014/main" id="{40592960-FF8E-C84B-B107-E4E57F95473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7" y="394"/>
                    <a:ext cx="5" cy="10"/>
                  </a:xfrm>
                  <a:custGeom>
                    <a:avLst/>
                    <a:gdLst>
                      <a:gd name="T0" fmla="*/ 4 w 5"/>
                      <a:gd name="T1" fmla="*/ 3 h 10"/>
                      <a:gd name="T2" fmla="*/ 2 w 5"/>
                      <a:gd name="T3" fmla="*/ 3 h 10"/>
                      <a:gd name="T4" fmla="*/ 2 w 5"/>
                      <a:gd name="T5" fmla="*/ 5 h 10"/>
                      <a:gd name="T6" fmla="*/ 2 w 5"/>
                      <a:gd name="T7" fmla="*/ 7 h 10"/>
                      <a:gd name="T8" fmla="*/ 0 w 5"/>
                      <a:gd name="T9" fmla="*/ 7 h 10"/>
                      <a:gd name="T10" fmla="*/ 0 w 5"/>
                      <a:gd name="T11" fmla="*/ 9 h 10"/>
                      <a:gd name="T12" fmla="*/ 2 w 5"/>
                      <a:gd name="T13" fmla="*/ 9 h 10"/>
                      <a:gd name="T14" fmla="*/ 2 w 5"/>
                      <a:gd name="T15" fmla="*/ 10 h 10"/>
                      <a:gd name="T16" fmla="*/ 4 w 5"/>
                      <a:gd name="T17" fmla="*/ 9 h 10"/>
                      <a:gd name="T18" fmla="*/ 4 w 5"/>
                      <a:gd name="T19" fmla="*/ 7 h 10"/>
                      <a:gd name="T20" fmla="*/ 4 w 5"/>
                      <a:gd name="T21" fmla="*/ 5 h 10"/>
                      <a:gd name="T22" fmla="*/ 5 w 5"/>
                      <a:gd name="T23" fmla="*/ 5 h 10"/>
                      <a:gd name="T24" fmla="*/ 5 w 5"/>
                      <a:gd name="T25" fmla="*/ 3 h 10"/>
                      <a:gd name="T26" fmla="*/ 5 w 5"/>
                      <a:gd name="T27" fmla="*/ 2 h 10"/>
                      <a:gd name="T28" fmla="*/ 5 w 5"/>
                      <a:gd name="T29" fmla="*/ 0 h 10"/>
                      <a:gd name="T30" fmla="*/ 4 w 5"/>
                      <a:gd name="T31" fmla="*/ 0 h 10"/>
                      <a:gd name="T32" fmla="*/ 4 w 5"/>
                      <a:gd name="T33" fmla="*/ 2 h 10"/>
                      <a:gd name="T34" fmla="*/ 4 w 5"/>
                      <a:gd name="T35" fmla="*/ 3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5" h="10">
                        <a:moveTo>
                          <a:pt x="4" y="3"/>
                        </a:moveTo>
                        <a:lnTo>
                          <a:pt x="2" y="3"/>
                        </a:lnTo>
                        <a:lnTo>
                          <a:pt x="2" y="5"/>
                        </a:lnTo>
                        <a:lnTo>
                          <a:pt x="2" y="7"/>
                        </a:lnTo>
                        <a:lnTo>
                          <a:pt x="0" y="7"/>
                        </a:lnTo>
                        <a:lnTo>
                          <a:pt x="0" y="9"/>
                        </a:lnTo>
                        <a:lnTo>
                          <a:pt x="2" y="9"/>
                        </a:lnTo>
                        <a:lnTo>
                          <a:pt x="2" y="10"/>
                        </a:lnTo>
                        <a:lnTo>
                          <a:pt x="4" y="9"/>
                        </a:lnTo>
                        <a:lnTo>
                          <a:pt x="4" y="7"/>
                        </a:lnTo>
                        <a:lnTo>
                          <a:pt x="4" y="5"/>
                        </a:lnTo>
                        <a:lnTo>
                          <a:pt x="5" y="5"/>
                        </a:lnTo>
                        <a:lnTo>
                          <a:pt x="5" y="3"/>
                        </a:lnTo>
                        <a:lnTo>
                          <a:pt x="5" y="2"/>
                        </a:lnTo>
                        <a:lnTo>
                          <a:pt x="5" y="0"/>
                        </a:lnTo>
                        <a:lnTo>
                          <a:pt x="4" y="0"/>
                        </a:lnTo>
                        <a:lnTo>
                          <a:pt x="4" y="2"/>
                        </a:lnTo>
                        <a:lnTo>
                          <a:pt x="4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97" name="Freeform 371">
                    <a:extLst>
                      <a:ext uri="{FF2B5EF4-FFF2-40B4-BE49-F238E27FC236}">
                        <a16:creationId xmlns:a16="http://schemas.microsoft.com/office/drawing/2014/main" id="{CC613B79-9444-D144-A7F9-B527148835C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7" y="394"/>
                    <a:ext cx="5" cy="10"/>
                  </a:xfrm>
                  <a:custGeom>
                    <a:avLst/>
                    <a:gdLst>
                      <a:gd name="T0" fmla="*/ 4 w 5"/>
                      <a:gd name="T1" fmla="*/ 3 h 10"/>
                      <a:gd name="T2" fmla="*/ 2 w 5"/>
                      <a:gd name="T3" fmla="*/ 3 h 10"/>
                      <a:gd name="T4" fmla="*/ 2 w 5"/>
                      <a:gd name="T5" fmla="*/ 5 h 10"/>
                      <a:gd name="T6" fmla="*/ 2 w 5"/>
                      <a:gd name="T7" fmla="*/ 7 h 10"/>
                      <a:gd name="T8" fmla="*/ 0 w 5"/>
                      <a:gd name="T9" fmla="*/ 7 h 10"/>
                      <a:gd name="T10" fmla="*/ 0 w 5"/>
                      <a:gd name="T11" fmla="*/ 9 h 10"/>
                      <a:gd name="T12" fmla="*/ 2 w 5"/>
                      <a:gd name="T13" fmla="*/ 9 h 10"/>
                      <a:gd name="T14" fmla="*/ 2 w 5"/>
                      <a:gd name="T15" fmla="*/ 10 h 10"/>
                      <a:gd name="T16" fmla="*/ 4 w 5"/>
                      <a:gd name="T17" fmla="*/ 9 h 10"/>
                      <a:gd name="T18" fmla="*/ 4 w 5"/>
                      <a:gd name="T19" fmla="*/ 7 h 10"/>
                      <a:gd name="T20" fmla="*/ 4 w 5"/>
                      <a:gd name="T21" fmla="*/ 5 h 10"/>
                      <a:gd name="T22" fmla="*/ 5 w 5"/>
                      <a:gd name="T23" fmla="*/ 5 h 10"/>
                      <a:gd name="T24" fmla="*/ 5 w 5"/>
                      <a:gd name="T25" fmla="*/ 3 h 10"/>
                      <a:gd name="T26" fmla="*/ 5 w 5"/>
                      <a:gd name="T27" fmla="*/ 2 h 10"/>
                      <a:gd name="T28" fmla="*/ 5 w 5"/>
                      <a:gd name="T29" fmla="*/ 0 h 10"/>
                      <a:gd name="T30" fmla="*/ 4 w 5"/>
                      <a:gd name="T31" fmla="*/ 0 h 10"/>
                      <a:gd name="T32" fmla="*/ 4 w 5"/>
                      <a:gd name="T33" fmla="*/ 2 h 10"/>
                      <a:gd name="T34" fmla="*/ 4 w 5"/>
                      <a:gd name="T35" fmla="*/ 3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5" h="10">
                        <a:moveTo>
                          <a:pt x="4" y="3"/>
                        </a:moveTo>
                        <a:lnTo>
                          <a:pt x="2" y="3"/>
                        </a:lnTo>
                        <a:lnTo>
                          <a:pt x="2" y="5"/>
                        </a:lnTo>
                        <a:lnTo>
                          <a:pt x="2" y="7"/>
                        </a:lnTo>
                        <a:lnTo>
                          <a:pt x="0" y="7"/>
                        </a:lnTo>
                        <a:lnTo>
                          <a:pt x="0" y="9"/>
                        </a:lnTo>
                        <a:lnTo>
                          <a:pt x="2" y="9"/>
                        </a:lnTo>
                        <a:lnTo>
                          <a:pt x="2" y="10"/>
                        </a:lnTo>
                        <a:lnTo>
                          <a:pt x="4" y="9"/>
                        </a:lnTo>
                        <a:lnTo>
                          <a:pt x="4" y="7"/>
                        </a:lnTo>
                        <a:lnTo>
                          <a:pt x="4" y="5"/>
                        </a:lnTo>
                        <a:lnTo>
                          <a:pt x="5" y="5"/>
                        </a:lnTo>
                        <a:lnTo>
                          <a:pt x="5" y="3"/>
                        </a:lnTo>
                        <a:lnTo>
                          <a:pt x="5" y="2"/>
                        </a:lnTo>
                        <a:lnTo>
                          <a:pt x="5" y="0"/>
                        </a:lnTo>
                        <a:lnTo>
                          <a:pt x="4" y="0"/>
                        </a:lnTo>
                        <a:lnTo>
                          <a:pt x="4" y="2"/>
                        </a:lnTo>
                        <a:lnTo>
                          <a:pt x="4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93" name="Group 1992">
                  <a:extLst>
                    <a:ext uri="{FF2B5EF4-FFF2-40B4-BE49-F238E27FC236}">
                      <a16:creationId xmlns:a16="http://schemas.microsoft.com/office/drawing/2014/main" id="{2CA59422-9F25-2541-9AB9-4A4FF3B3685C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87" y="338"/>
                  <a:ext cx="44" cy="63"/>
                  <a:chOff x="287" y="338"/>
                  <a:chExt cx="44" cy="63"/>
                </a:xfrm>
              </p:grpSpPr>
              <p:sp>
                <p:nvSpPr>
                  <p:cNvPr id="1994" name="Freeform 368">
                    <a:extLst>
                      <a:ext uri="{FF2B5EF4-FFF2-40B4-BE49-F238E27FC236}">
                        <a16:creationId xmlns:a16="http://schemas.microsoft.com/office/drawing/2014/main" id="{3B6E6F9F-5403-4E4C-8CB3-0CD6750C681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7" y="338"/>
                    <a:ext cx="44" cy="63"/>
                  </a:xfrm>
                  <a:custGeom>
                    <a:avLst/>
                    <a:gdLst>
                      <a:gd name="T0" fmla="*/ 15 w 44"/>
                      <a:gd name="T1" fmla="*/ 63 h 63"/>
                      <a:gd name="T2" fmla="*/ 20 w 44"/>
                      <a:gd name="T3" fmla="*/ 63 h 63"/>
                      <a:gd name="T4" fmla="*/ 22 w 44"/>
                      <a:gd name="T5" fmla="*/ 61 h 63"/>
                      <a:gd name="T6" fmla="*/ 25 w 44"/>
                      <a:gd name="T7" fmla="*/ 63 h 63"/>
                      <a:gd name="T8" fmla="*/ 23 w 44"/>
                      <a:gd name="T9" fmla="*/ 61 h 63"/>
                      <a:gd name="T10" fmla="*/ 20 w 44"/>
                      <a:gd name="T11" fmla="*/ 59 h 63"/>
                      <a:gd name="T12" fmla="*/ 20 w 44"/>
                      <a:gd name="T13" fmla="*/ 56 h 63"/>
                      <a:gd name="T14" fmla="*/ 23 w 44"/>
                      <a:gd name="T15" fmla="*/ 54 h 63"/>
                      <a:gd name="T16" fmla="*/ 22 w 44"/>
                      <a:gd name="T17" fmla="*/ 53 h 63"/>
                      <a:gd name="T18" fmla="*/ 23 w 44"/>
                      <a:gd name="T19" fmla="*/ 49 h 63"/>
                      <a:gd name="T20" fmla="*/ 23 w 44"/>
                      <a:gd name="T21" fmla="*/ 48 h 63"/>
                      <a:gd name="T22" fmla="*/ 23 w 44"/>
                      <a:gd name="T23" fmla="*/ 44 h 63"/>
                      <a:gd name="T24" fmla="*/ 28 w 44"/>
                      <a:gd name="T25" fmla="*/ 44 h 63"/>
                      <a:gd name="T26" fmla="*/ 27 w 44"/>
                      <a:gd name="T27" fmla="*/ 41 h 63"/>
                      <a:gd name="T28" fmla="*/ 32 w 44"/>
                      <a:gd name="T29" fmla="*/ 41 h 63"/>
                      <a:gd name="T30" fmla="*/ 33 w 44"/>
                      <a:gd name="T31" fmla="*/ 36 h 63"/>
                      <a:gd name="T32" fmla="*/ 35 w 44"/>
                      <a:gd name="T33" fmla="*/ 33 h 63"/>
                      <a:gd name="T34" fmla="*/ 37 w 44"/>
                      <a:gd name="T35" fmla="*/ 36 h 63"/>
                      <a:gd name="T36" fmla="*/ 40 w 44"/>
                      <a:gd name="T37" fmla="*/ 34 h 63"/>
                      <a:gd name="T38" fmla="*/ 44 w 44"/>
                      <a:gd name="T39" fmla="*/ 29 h 63"/>
                      <a:gd name="T40" fmla="*/ 40 w 44"/>
                      <a:gd name="T41" fmla="*/ 27 h 63"/>
                      <a:gd name="T42" fmla="*/ 37 w 44"/>
                      <a:gd name="T43" fmla="*/ 27 h 63"/>
                      <a:gd name="T44" fmla="*/ 33 w 44"/>
                      <a:gd name="T45" fmla="*/ 27 h 63"/>
                      <a:gd name="T46" fmla="*/ 32 w 44"/>
                      <a:gd name="T47" fmla="*/ 26 h 63"/>
                      <a:gd name="T48" fmla="*/ 30 w 44"/>
                      <a:gd name="T49" fmla="*/ 24 h 63"/>
                      <a:gd name="T50" fmla="*/ 32 w 44"/>
                      <a:gd name="T51" fmla="*/ 22 h 63"/>
                      <a:gd name="T52" fmla="*/ 32 w 44"/>
                      <a:gd name="T53" fmla="*/ 21 h 63"/>
                      <a:gd name="T54" fmla="*/ 33 w 44"/>
                      <a:gd name="T55" fmla="*/ 19 h 63"/>
                      <a:gd name="T56" fmla="*/ 33 w 44"/>
                      <a:gd name="T57" fmla="*/ 16 h 63"/>
                      <a:gd name="T58" fmla="*/ 35 w 44"/>
                      <a:gd name="T59" fmla="*/ 12 h 63"/>
                      <a:gd name="T60" fmla="*/ 37 w 44"/>
                      <a:gd name="T61" fmla="*/ 9 h 63"/>
                      <a:gd name="T62" fmla="*/ 35 w 44"/>
                      <a:gd name="T63" fmla="*/ 4 h 63"/>
                      <a:gd name="T64" fmla="*/ 37 w 44"/>
                      <a:gd name="T65" fmla="*/ 0 h 63"/>
                      <a:gd name="T66" fmla="*/ 33 w 44"/>
                      <a:gd name="T67" fmla="*/ 0 h 63"/>
                      <a:gd name="T68" fmla="*/ 28 w 44"/>
                      <a:gd name="T69" fmla="*/ 4 h 63"/>
                      <a:gd name="T70" fmla="*/ 23 w 44"/>
                      <a:gd name="T71" fmla="*/ 7 h 63"/>
                      <a:gd name="T72" fmla="*/ 20 w 44"/>
                      <a:gd name="T73" fmla="*/ 12 h 63"/>
                      <a:gd name="T74" fmla="*/ 12 w 44"/>
                      <a:gd name="T75" fmla="*/ 12 h 63"/>
                      <a:gd name="T76" fmla="*/ 5 w 44"/>
                      <a:gd name="T77" fmla="*/ 16 h 63"/>
                      <a:gd name="T78" fmla="*/ 1 w 44"/>
                      <a:gd name="T79" fmla="*/ 24 h 63"/>
                      <a:gd name="T80" fmla="*/ 0 w 44"/>
                      <a:gd name="T81" fmla="*/ 29 h 63"/>
                      <a:gd name="T82" fmla="*/ 0 w 44"/>
                      <a:gd name="T83" fmla="*/ 36 h 63"/>
                      <a:gd name="T84" fmla="*/ 1 w 44"/>
                      <a:gd name="T85" fmla="*/ 41 h 63"/>
                      <a:gd name="T86" fmla="*/ 0 w 44"/>
                      <a:gd name="T87" fmla="*/ 46 h 63"/>
                      <a:gd name="T88" fmla="*/ 1 w 44"/>
                      <a:gd name="T89" fmla="*/ 48 h 63"/>
                      <a:gd name="T90" fmla="*/ 5 w 44"/>
                      <a:gd name="T91" fmla="*/ 49 h 63"/>
                      <a:gd name="T92" fmla="*/ 8 w 44"/>
                      <a:gd name="T93" fmla="*/ 53 h 63"/>
                      <a:gd name="T94" fmla="*/ 8 w 44"/>
                      <a:gd name="T95" fmla="*/ 58 h 63"/>
                      <a:gd name="T96" fmla="*/ 10 w 44"/>
                      <a:gd name="T9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44" h="63">
                        <a:moveTo>
                          <a:pt x="12" y="63"/>
                        </a:moveTo>
                        <a:lnTo>
                          <a:pt x="15" y="63"/>
                        </a:lnTo>
                        <a:lnTo>
                          <a:pt x="18" y="63"/>
                        </a:lnTo>
                        <a:lnTo>
                          <a:pt x="20" y="63"/>
                        </a:lnTo>
                        <a:lnTo>
                          <a:pt x="22" y="63"/>
                        </a:lnTo>
                        <a:lnTo>
                          <a:pt x="22" y="61"/>
                        </a:lnTo>
                        <a:lnTo>
                          <a:pt x="23" y="63"/>
                        </a:lnTo>
                        <a:lnTo>
                          <a:pt x="25" y="63"/>
                        </a:lnTo>
                        <a:lnTo>
                          <a:pt x="25" y="61"/>
                        </a:lnTo>
                        <a:lnTo>
                          <a:pt x="23" y="61"/>
                        </a:lnTo>
                        <a:lnTo>
                          <a:pt x="22" y="59"/>
                        </a:lnTo>
                        <a:lnTo>
                          <a:pt x="20" y="59"/>
                        </a:lnTo>
                        <a:lnTo>
                          <a:pt x="20" y="58"/>
                        </a:lnTo>
                        <a:lnTo>
                          <a:pt x="20" y="56"/>
                        </a:lnTo>
                        <a:lnTo>
                          <a:pt x="22" y="56"/>
                        </a:lnTo>
                        <a:lnTo>
                          <a:pt x="23" y="54"/>
                        </a:lnTo>
                        <a:lnTo>
                          <a:pt x="22" y="54"/>
                        </a:lnTo>
                        <a:lnTo>
                          <a:pt x="22" y="53"/>
                        </a:lnTo>
                        <a:lnTo>
                          <a:pt x="23" y="51"/>
                        </a:lnTo>
                        <a:lnTo>
                          <a:pt x="23" y="49"/>
                        </a:lnTo>
                        <a:lnTo>
                          <a:pt x="22" y="49"/>
                        </a:lnTo>
                        <a:lnTo>
                          <a:pt x="23" y="48"/>
                        </a:lnTo>
                        <a:lnTo>
                          <a:pt x="25" y="46"/>
                        </a:lnTo>
                        <a:lnTo>
                          <a:pt x="23" y="44"/>
                        </a:lnTo>
                        <a:lnTo>
                          <a:pt x="25" y="44"/>
                        </a:lnTo>
                        <a:lnTo>
                          <a:pt x="28" y="44"/>
                        </a:lnTo>
                        <a:lnTo>
                          <a:pt x="28" y="43"/>
                        </a:lnTo>
                        <a:lnTo>
                          <a:pt x="27" y="41"/>
                        </a:lnTo>
                        <a:lnTo>
                          <a:pt x="28" y="41"/>
                        </a:lnTo>
                        <a:lnTo>
                          <a:pt x="32" y="41"/>
                        </a:lnTo>
                        <a:lnTo>
                          <a:pt x="33" y="39"/>
                        </a:lnTo>
                        <a:lnTo>
                          <a:pt x="33" y="36"/>
                        </a:lnTo>
                        <a:lnTo>
                          <a:pt x="33" y="34"/>
                        </a:lnTo>
                        <a:lnTo>
                          <a:pt x="35" y="33"/>
                        </a:lnTo>
                        <a:lnTo>
                          <a:pt x="35" y="34"/>
                        </a:lnTo>
                        <a:lnTo>
                          <a:pt x="37" y="36"/>
                        </a:lnTo>
                        <a:lnTo>
                          <a:pt x="39" y="34"/>
                        </a:lnTo>
                        <a:lnTo>
                          <a:pt x="40" y="34"/>
                        </a:lnTo>
                        <a:lnTo>
                          <a:pt x="42" y="31"/>
                        </a:lnTo>
                        <a:lnTo>
                          <a:pt x="44" y="29"/>
                        </a:lnTo>
                        <a:lnTo>
                          <a:pt x="42" y="27"/>
                        </a:lnTo>
                        <a:lnTo>
                          <a:pt x="40" y="27"/>
                        </a:lnTo>
                        <a:lnTo>
                          <a:pt x="39" y="27"/>
                        </a:lnTo>
                        <a:lnTo>
                          <a:pt x="37" y="27"/>
                        </a:lnTo>
                        <a:lnTo>
                          <a:pt x="35" y="27"/>
                        </a:lnTo>
                        <a:lnTo>
                          <a:pt x="33" y="27"/>
                        </a:lnTo>
                        <a:lnTo>
                          <a:pt x="32" y="27"/>
                        </a:lnTo>
                        <a:lnTo>
                          <a:pt x="32" y="26"/>
                        </a:lnTo>
                        <a:lnTo>
                          <a:pt x="33" y="24"/>
                        </a:lnTo>
                        <a:lnTo>
                          <a:pt x="30" y="24"/>
                        </a:lnTo>
                        <a:lnTo>
                          <a:pt x="30" y="22"/>
                        </a:lnTo>
                        <a:lnTo>
                          <a:pt x="32" y="22"/>
                        </a:lnTo>
                        <a:lnTo>
                          <a:pt x="33" y="21"/>
                        </a:lnTo>
                        <a:lnTo>
                          <a:pt x="32" y="21"/>
                        </a:lnTo>
                        <a:lnTo>
                          <a:pt x="33" y="21"/>
                        </a:lnTo>
                        <a:lnTo>
                          <a:pt x="33" y="19"/>
                        </a:lnTo>
                        <a:lnTo>
                          <a:pt x="33" y="17"/>
                        </a:lnTo>
                        <a:lnTo>
                          <a:pt x="33" y="16"/>
                        </a:lnTo>
                        <a:lnTo>
                          <a:pt x="33" y="14"/>
                        </a:lnTo>
                        <a:lnTo>
                          <a:pt x="35" y="12"/>
                        </a:lnTo>
                        <a:lnTo>
                          <a:pt x="37" y="11"/>
                        </a:lnTo>
                        <a:lnTo>
                          <a:pt x="37" y="9"/>
                        </a:lnTo>
                        <a:lnTo>
                          <a:pt x="35" y="6"/>
                        </a:lnTo>
                        <a:lnTo>
                          <a:pt x="35" y="4"/>
                        </a:lnTo>
                        <a:lnTo>
                          <a:pt x="35" y="2"/>
                        </a:lnTo>
                        <a:lnTo>
                          <a:pt x="37" y="0"/>
                        </a:lnTo>
                        <a:lnTo>
                          <a:pt x="35" y="0"/>
                        </a:lnTo>
                        <a:lnTo>
                          <a:pt x="33" y="0"/>
                        </a:lnTo>
                        <a:lnTo>
                          <a:pt x="32" y="2"/>
                        </a:lnTo>
                        <a:lnTo>
                          <a:pt x="28" y="4"/>
                        </a:lnTo>
                        <a:lnTo>
                          <a:pt x="25" y="6"/>
                        </a:lnTo>
                        <a:lnTo>
                          <a:pt x="23" y="7"/>
                        </a:lnTo>
                        <a:lnTo>
                          <a:pt x="22" y="11"/>
                        </a:lnTo>
                        <a:lnTo>
                          <a:pt x="20" y="12"/>
                        </a:lnTo>
                        <a:lnTo>
                          <a:pt x="17" y="12"/>
                        </a:lnTo>
                        <a:lnTo>
                          <a:pt x="12" y="12"/>
                        </a:lnTo>
                        <a:lnTo>
                          <a:pt x="8" y="14"/>
                        </a:lnTo>
                        <a:lnTo>
                          <a:pt x="5" y="16"/>
                        </a:lnTo>
                        <a:lnTo>
                          <a:pt x="3" y="17"/>
                        </a:lnTo>
                        <a:lnTo>
                          <a:pt x="1" y="24"/>
                        </a:lnTo>
                        <a:lnTo>
                          <a:pt x="1" y="26"/>
                        </a:lnTo>
                        <a:lnTo>
                          <a:pt x="0" y="29"/>
                        </a:lnTo>
                        <a:lnTo>
                          <a:pt x="0" y="33"/>
                        </a:lnTo>
                        <a:lnTo>
                          <a:pt x="0" y="36"/>
                        </a:lnTo>
                        <a:lnTo>
                          <a:pt x="0" y="39"/>
                        </a:lnTo>
                        <a:lnTo>
                          <a:pt x="1" y="41"/>
                        </a:lnTo>
                        <a:lnTo>
                          <a:pt x="1" y="44"/>
                        </a:lnTo>
                        <a:lnTo>
                          <a:pt x="0" y="46"/>
                        </a:lnTo>
                        <a:lnTo>
                          <a:pt x="0" y="48"/>
                        </a:lnTo>
                        <a:lnTo>
                          <a:pt x="1" y="48"/>
                        </a:lnTo>
                        <a:lnTo>
                          <a:pt x="3" y="48"/>
                        </a:lnTo>
                        <a:lnTo>
                          <a:pt x="5" y="49"/>
                        </a:lnTo>
                        <a:lnTo>
                          <a:pt x="7" y="51"/>
                        </a:lnTo>
                        <a:lnTo>
                          <a:pt x="8" y="53"/>
                        </a:lnTo>
                        <a:lnTo>
                          <a:pt x="8" y="54"/>
                        </a:lnTo>
                        <a:lnTo>
                          <a:pt x="8" y="58"/>
                        </a:lnTo>
                        <a:lnTo>
                          <a:pt x="8" y="59"/>
                        </a:lnTo>
                        <a:lnTo>
                          <a:pt x="10" y="63"/>
                        </a:lnTo>
                        <a:lnTo>
                          <a:pt x="12" y="6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95" name="Freeform 369">
                    <a:extLst>
                      <a:ext uri="{FF2B5EF4-FFF2-40B4-BE49-F238E27FC236}">
                        <a16:creationId xmlns:a16="http://schemas.microsoft.com/office/drawing/2014/main" id="{C9A91087-BD03-C54F-A0D9-D53717BBD52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7" y="338"/>
                    <a:ext cx="44" cy="63"/>
                  </a:xfrm>
                  <a:custGeom>
                    <a:avLst/>
                    <a:gdLst>
                      <a:gd name="T0" fmla="*/ 15 w 44"/>
                      <a:gd name="T1" fmla="*/ 63 h 63"/>
                      <a:gd name="T2" fmla="*/ 20 w 44"/>
                      <a:gd name="T3" fmla="*/ 63 h 63"/>
                      <a:gd name="T4" fmla="*/ 22 w 44"/>
                      <a:gd name="T5" fmla="*/ 61 h 63"/>
                      <a:gd name="T6" fmla="*/ 25 w 44"/>
                      <a:gd name="T7" fmla="*/ 63 h 63"/>
                      <a:gd name="T8" fmla="*/ 23 w 44"/>
                      <a:gd name="T9" fmla="*/ 61 h 63"/>
                      <a:gd name="T10" fmla="*/ 20 w 44"/>
                      <a:gd name="T11" fmla="*/ 59 h 63"/>
                      <a:gd name="T12" fmla="*/ 20 w 44"/>
                      <a:gd name="T13" fmla="*/ 56 h 63"/>
                      <a:gd name="T14" fmla="*/ 23 w 44"/>
                      <a:gd name="T15" fmla="*/ 54 h 63"/>
                      <a:gd name="T16" fmla="*/ 22 w 44"/>
                      <a:gd name="T17" fmla="*/ 53 h 63"/>
                      <a:gd name="T18" fmla="*/ 23 w 44"/>
                      <a:gd name="T19" fmla="*/ 49 h 63"/>
                      <a:gd name="T20" fmla="*/ 23 w 44"/>
                      <a:gd name="T21" fmla="*/ 48 h 63"/>
                      <a:gd name="T22" fmla="*/ 23 w 44"/>
                      <a:gd name="T23" fmla="*/ 44 h 63"/>
                      <a:gd name="T24" fmla="*/ 28 w 44"/>
                      <a:gd name="T25" fmla="*/ 44 h 63"/>
                      <a:gd name="T26" fmla="*/ 27 w 44"/>
                      <a:gd name="T27" fmla="*/ 41 h 63"/>
                      <a:gd name="T28" fmla="*/ 32 w 44"/>
                      <a:gd name="T29" fmla="*/ 41 h 63"/>
                      <a:gd name="T30" fmla="*/ 33 w 44"/>
                      <a:gd name="T31" fmla="*/ 36 h 63"/>
                      <a:gd name="T32" fmla="*/ 35 w 44"/>
                      <a:gd name="T33" fmla="*/ 33 h 63"/>
                      <a:gd name="T34" fmla="*/ 37 w 44"/>
                      <a:gd name="T35" fmla="*/ 36 h 63"/>
                      <a:gd name="T36" fmla="*/ 40 w 44"/>
                      <a:gd name="T37" fmla="*/ 34 h 63"/>
                      <a:gd name="T38" fmla="*/ 44 w 44"/>
                      <a:gd name="T39" fmla="*/ 29 h 63"/>
                      <a:gd name="T40" fmla="*/ 40 w 44"/>
                      <a:gd name="T41" fmla="*/ 27 h 63"/>
                      <a:gd name="T42" fmla="*/ 37 w 44"/>
                      <a:gd name="T43" fmla="*/ 27 h 63"/>
                      <a:gd name="T44" fmla="*/ 33 w 44"/>
                      <a:gd name="T45" fmla="*/ 27 h 63"/>
                      <a:gd name="T46" fmla="*/ 32 w 44"/>
                      <a:gd name="T47" fmla="*/ 26 h 63"/>
                      <a:gd name="T48" fmla="*/ 30 w 44"/>
                      <a:gd name="T49" fmla="*/ 24 h 63"/>
                      <a:gd name="T50" fmla="*/ 32 w 44"/>
                      <a:gd name="T51" fmla="*/ 22 h 63"/>
                      <a:gd name="T52" fmla="*/ 32 w 44"/>
                      <a:gd name="T53" fmla="*/ 21 h 63"/>
                      <a:gd name="T54" fmla="*/ 33 w 44"/>
                      <a:gd name="T55" fmla="*/ 19 h 63"/>
                      <a:gd name="T56" fmla="*/ 33 w 44"/>
                      <a:gd name="T57" fmla="*/ 16 h 63"/>
                      <a:gd name="T58" fmla="*/ 35 w 44"/>
                      <a:gd name="T59" fmla="*/ 12 h 63"/>
                      <a:gd name="T60" fmla="*/ 37 w 44"/>
                      <a:gd name="T61" fmla="*/ 9 h 63"/>
                      <a:gd name="T62" fmla="*/ 35 w 44"/>
                      <a:gd name="T63" fmla="*/ 4 h 63"/>
                      <a:gd name="T64" fmla="*/ 37 w 44"/>
                      <a:gd name="T65" fmla="*/ 0 h 63"/>
                      <a:gd name="T66" fmla="*/ 33 w 44"/>
                      <a:gd name="T67" fmla="*/ 0 h 63"/>
                      <a:gd name="T68" fmla="*/ 28 w 44"/>
                      <a:gd name="T69" fmla="*/ 4 h 63"/>
                      <a:gd name="T70" fmla="*/ 23 w 44"/>
                      <a:gd name="T71" fmla="*/ 7 h 63"/>
                      <a:gd name="T72" fmla="*/ 20 w 44"/>
                      <a:gd name="T73" fmla="*/ 12 h 63"/>
                      <a:gd name="T74" fmla="*/ 12 w 44"/>
                      <a:gd name="T75" fmla="*/ 12 h 63"/>
                      <a:gd name="T76" fmla="*/ 5 w 44"/>
                      <a:gd name="T77" fmla="*/ 16 h 63"/>
                      <a:gd name="T78" fmla="*/ 1 w 44"/>
                      <a:gd name="T79" fmla="*/ 24 h 63"/>
                      <a:gd name="T80" fmla="*/ 0 w 44"/>
                      <a:gd name="T81" fmla="*/ 29 h 63"/>
                      <a:gd name="T82" fmla="*/ 0 w 44"/>
                      <a:gd name="T83" fmla="*/ 36 h 63"/>
                      <a:gd name="T84" fmla="*/ 1 w 44"/>
                      <a:gd name="T85" fmla="*/ 41 h 63"/>
                      <a:gd name="T86" fmla="*/ 0 w 44"/>
                      <a:gd name="T87" fmla="*/ 46 h 63"/>
                      <a:gd name="T88" fmla="*/ 1 w 44"/>
                      <a:gd name="T89" fmla="*/ 48 h 63"/>
                      <a:gd name="T90" fmla="*/ 5 w 44"/>
                      <a:gd name="T91" fmla="*/ 49 h 63"/>
                      <a:gd name="T92" fmla="*/ 8 w 44"/>
                      <a:gd name="T93" fmla="*/ 53 h 63"/>
                      <a:gd name="T94" fmla="*/ 8 w 44"/>
                      <a:gd name="T95" fmla="*/ 58 h 63"/>
                      <a:gd name="T96" fmla="*/ 10 w 44"/>
                      <a:gd name="T9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44" h="63">
                        <a:moveTo>
                          <a:pt x="12" y="63"/>
                        </a:moveTo>
                        <a:lnTo>
                          <a:pt x="15" y="63"/>
                        </a:lnTo>
                        <a:lnTo>
                          <a:pt x="18" y="63"/>
                        </a:lnTo>
                        <a:lnTo>
                          <a:pt x="20" y="63"/>
                        </a:lnTo>
                        <a:lnTo>
                          <a:pt x="22" y="63"/>
                        </a:lnTo>
                        <a:lnTo>
                          <a:pt x="22" y="61"/>
                        </a:lnTo>
                        <a:lnTo>
                          <a:pt x="23" y="63"/>
                        </a:lnTo>
                        <a:lnTo>
                          <a:pt x="25" y="63"/>
                        </a:lnTo>
                        <a:lnTo>
                          <a:pt x="25" y="61"/>
                        </a:lnTo>
                        <a:lnTo>
                          <a:pt x="23" y="61"/>
                        </a:lnTo>
                        <a:lnTo>
                          <a:pt x="22" y="59"/>
                        </a:lnTo>
                        <a:lnTo>
                          <a:pt x="20" y="59"/>
                        </a:lnTo>
                        <a:lnTo>
                          <a:pt x="20" y="58"/>
                        </a:lnTo>
                        <a:lnTo>
                          <a:pt x="20" y="56"/>
                        </a:lnTo>
                        <a:lnTo>
                          <a:pt x="22" y="56"/>
                        </a:lnTo>
                        <a:lnTo>
                          <a:pt x="23" y="54"/>
                        </a:lnTo>
                        <a:lnTo>
                          <a:pt x="22" y="54"/>
                        </a:lnTo>
                        <a:lnTo>
                          <a:pt x="22" y="53"/>
                        </a:lnTo>
                        <a:lnTo>
                          <a:pt x="23" y="51"/>
                        </a:lnTo>
                        <a:lnTo>
                          <a:pt x="23" y="49"/>
                        </a:lnTo>
                        <a:lnTo>
                          <a:pt x="22" y="49"/>
                        </a:lnTo>
                        <a:lnTo>
                          <a:pt x="23" y="48"/>
                        </a:lnTo>
                        <a:lnTo>
                          <a:pt x="25" y="46"/>
                        </a:lnTo>
                        <a:lnTo>
                          <a:pt x="23" y="44"/>
                        </a:lnTo>
                        <a:lnTo>
                          <a:pt x="25" y="44"/>
                        </a:lnTo>
                        <a:lnTo>
                          <a:pt x="28" y="44"/>
                        </a:lnTo>
                        <a:lnTo>
                          <a:pt x="28" y="43"/>
                        </a:lnTo>
                        <a:lnTo>
                          <a:pt x="27" y="41"/>
                        </a:lnTo>
                        <a:lnTo>
                          <a:pt x="28" y="41"/>
                        </a:lnTo>
                        <a:lnTo>
                          <a:pt x="32" y="41"/>
                        </a:lnTo>
                        <a:lnTo>
                          <a:pt x="33" y="39"/>
                        </a:lnTo>
                        <a:lnTo>
                          <a:pt x="33" y="36"/>
                        </a:lnTo>
                        <a:lnTo>
                          <a:pt x="33" y="34"/>
                        </a:lnTo>
                        <a:lnTo>
                          <a:pt x="35" y="33"/>
                        </a:lnTo>
                        <a:lnTo>
                          <a:pt x="35" y="34"/>
                        </a:lnTo>
                        <a:lnTo>
                          <a:pt x="37" y="36"/>
                        </a:lnTo>
                        <a:lnTo>
                          <a:pt x="39" y="34"/>
                        </a:lnTo>
                        <a:lnTo>
                          <a:pt x="40" y="34"/>
                        </a:lnTo>
                        <a:lnTo>
                          <a:pt x="42" y="31"/>
                        </a:lnTo>
                        <a:lnTo>
                          <a:pt x="44" y="29"/>
                        </a:lnTo>
                        <a:lnTo>
                          <a:pt x="42" y="27"/>
                        </a:lnTo>
                        <a:lnTo>
                          <a:pt x="40" y="27"/>
                        </a:lnTo>
                        <a:lnTo>
                          <a:pt x="39" y="27"/>
                        </a:lnTo>
                        <a:lnTo>
                          <a:pt x="37" y="27"/>
                        </a:lnTo>
                        <a:lnTo>
                          <a:pt x="35" y="27"/>
                        </a:lnTo>
                        <a:lnTo>
                          <a:pt x="33" y="27"/>
                        </a:lnTo>
                        <a:lnTo>
                          <a:pt x="32" y="27"/>
                        </a:lnTo>
                        <a:lnTo>
                          <a:pt x="32" y="26"/>
                        </a:lnTo>
                        <a:lnTo>
                          <a:pt x="33" y="24"/>
                        </a:lnTo>
                        <a:lnTo>
                          <a:pt x="30" y="24"/>
                        </a:lnTo>
                        <a:lnTo>
                          <a:pt x="30" y="22"/>
                        </a:lnTo>
                        <a:lnTo>
                          <a:pt x="32" y="22"/>
                        </a:lnTo>
                        <a:lnTo>
                          <a:pt x="33" y="21"/>
                        </a:lnTo>
                        <a:lnTo>
                          <a:pt x="32" y="21"/>
                        </a:lnTo>
                        <a:lnTo>
                          <a:pt x="33" y="21"/>
                        </a:lnTo>
                        <a:lnTo>
                          <a:pt x="33" y="19"/>
                        </a:lnTo>
                        <a:lnTo>
                          <a:pt x="33" y="17"/>
                        </a:lnTo>
                        <a:lnTo>
                          <a:pt x="33" y="16"/>
                        </a:lnTo>
                        <a:lnTo>
                          <a:pt x="33" y="14"/>
                        </a:lnTo>
                        <a:lnTo>
                          <a:pt x="35" y="12"/>
                        </a:lnTo>
                        <a:lnTo>
                          <a:pt x="37" y="11"/>
                        </a:lnTo>
                        <a:lnTo>
                          <a:pt x="37" y="9"/>
                        </a:lnTo>
                        <a:lnTo>
                          <a:pt x="35" y="6"/>
                        </a:lnTo>
                        <a:lnTo>
                          <a:pt x="35" y="4"/>
                        </a:lnTo>
                        <a:lnTo>
                          <a:pt x="35" y="2"/>
                        </a:lnTo>
                        <a:lnTo>
                          <a:pt x="37" y="0"/>
                        </a:lnTo>
                        <a:lnTo>
                          <a:pt x="35" y="0"/>
                        </a:lnTo>
                        <a:lnTo>
                          <a:pt x="33" y="0"/>
                        </a:lnTo>
                        <a:lnTo>
                          <a:pt x="32" y="2"/>
                        </a:lnTo>
                        <a:lnTo>
                          <a:pt x="28" y="4"/>
                        </a:lnTo>
                        <a:lnTo>
                          <a:pt x="25" y="6"/>
                        </a:lnTo>
                        <a:lnTo>
                          <a:pt x="23" y="7"/>
                        </a:lnTo>
                        <a:lnTo>
                          <a:pt x="22" y="11"/>
                        </a:lnTo>
                        <a:lnTo>
                          <a:pt x="20" y="12"/>
                        </a:lnTo>
                        <a:lnTo>
                          <a:pt x="17" y="12"/>
                        </a:lnTo>
                        <a:lnTo>
                          <a:pt x="12" y="12"/>
                        </a:lnTo>
                        <a:lnTo>
                          <a:pt x="8" y="14"/>
                        </a:lnTo>
                        <a:lnTo>
                          <a:pt x="5" y="16"/>
                        </a:lnTo>
                        <a:lnTo>
                          <a:pt x="3" y="17"/>
                        </a:lnTo>
                        <a:lnTo>
                          <a:pt x="1" y="24"/>
                        </a:lnTo>
                        <a:lnTo>
                          <a:pt x="1" y="26"/>
                        </a:lnTo>
                        <a:lnTo>
                          <a:pt x="0" y="29"/>
                        </a:lnTo>
                        <a:lnTo>
                          <a:pt x="0" y="33"/>
                        </a:lnTo>
                        <a:lnTo>
                          <a:pt x="0" y="36"/>
                        </a:lnTo>
                        <a:lnTo>
                          <a:pt x="0" y="39"/>
                        </a:lnTo>
                        <a:lnTo>
                          <a:pt x="1" y="41"/>
                        </a:lnTo>
                        <a:lnTo>
                          <a:pt x="1" y="44"/>
                        </a:lnTo>
                        <a:lnTo>
                          <a:pt x="0" y="46"/>
                        </a:lnTo>
                        <a:lnTo>
                          <a:pt x="0" y="48"/>
                        </a:lnTo>
                        <a:lnTo>
                          <a:pt x="1" y="48"/>
                        </a:lnTo>
                        <a:lnTo>
                          <a:pt x="3" y="48"/>
                        </a:lnTo>
                        <a:lnTo>
                          <a:pt x="5" y="49"/>
                        </a:lnTo>
                        <a:lnTo>
                          <a:pt x="7" y="51"/>
                        </a:lnTo>
                        <a:lnTo>
                          <a:pt x="8" y="53"/>
                        </a:lnTo>
                        <a:lnTo>
                          <a:pt x="8" y="54"/>
                        </a:lnTo>
                        <a:lnTo>
                          <a:pt x="8" y="58"/>
                        </a:lnTo>
                        <a:lnTo>
                          <a:pt x="8" y="59"/>
                        </a:lnTo>
                        <a:lnTo>
                          <a:pt x="10" y="63"/>
                        </a:lnTo>
                        <a:lnTo>
                          <a:pt x="12" y="63"/>
                        </a:lnTo>
                        <a:close/>
                      </a:path>
                    </a:pathLst>
                  </a:custGeom>
                  <a:solidFill>
                    <a:srgbClr val="EB1562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645" name="Group 1644">
                <a:extLst>
                  <a:ext uri="{FF2B5EF4-FFF2-40B4-BE49-F238E27FC236}">
                    <a16:creationId xmlns:a16="http://schemas.microsoft.com/office/drawing/2014/main" id="{C32ACF52-629E-5546-BE93-DC7E5F84C30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1" y="293"/>
                <a:ext cx="106" cy="44"/>
                <a:chOff x="491" y="293"/>
                <a:chExt cx="106" cy="44"/>
              </a:xfrm>
            </p:grpSpPr>
            <p:grpSp>
              <p:nvGrpSpPr>
                <p:cNvPr id="1978" name="Group 1977">
                  <a:extLst>
                    <a:ext uri="{FF2B5EF4-FFF2-40B4-BE49-F238E27FC236}">
                      <a16:creationId xmlns:a16="http://schemas.microsoft.com/office/drawing/2014/main" id="{BF2D159C-4867-6245-8124-DFE8FE87CE3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18" y="293"/>
                  <a:ext cx="79" cy="44"/>
                  <a:chOff x="518" y="293"/>
                  <a:chExt cx="79" cy="44"/>
                </a:xfrm>
              </p:grpSpPr>
              <p:sp>
                <p:nvSpPr>
                  <p:cNvPr id="1985" name="Freeform 359">
                    <a:extLst>
                      <a:ext uri="{FF2B5EF4-FFF2-40B4-BE49-F238E27FC236}">
                        <a16:creationId xmlns:a16="http://schemas.microsoft.com/office/drawing/2014/main" id="{B7F9216E-D01E-774E-AF94-ECEFB312124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8" y="293"/>
                    <a:ext cx="79" cy="44"/>
                  </a:xfrm>
                  <a:custGeom>
                    <a:avLst/>
                    <a:gdLst>
                      <a:gd name="T0" fmla="*/ 77 w 79"/>
                      <a:gd name="T1" fmla="*/ 2 h 44"/>
                      <a:gd name="T2" fmla="*/ 74 w 79"/>
                      <a:gd name="T3" fmla="*/ 3 h 44"/>
                      <a:gd name="T4" fmla="*/ 69 w 79"/>
                      <a:gd name="T5" fmla="*/ 5 h 44"/>
                      <a:gd name="T6" fmla="*/ 64 w 79"/>
                      <a:gd name="T7" fmla="*/ 3 h 44"/>
                      <a:gd name="T8" fmla="*/ 60 w 79"/>
                      <a:gd name="T9" fmla="*/ 2 h 44"/>
                      <a:gd name="T10" fmla="*/ 52 w 79"/>
                      <a:gd name="T11" fmla="*/ 3 h 44"/>
                      <a:gd name="T12" fmla="*/ 44 w 79"/>
                      <a:gd name="T13" fmla="*/ 2 h 44"/>
                      <a:gd name="T14" fmla="*/ 35 w 79"/>
                      <a:gd name="T15" fmla="*/ 0 h 44"/>
                      <a:gd name="T16" fmla="*/ 30 w 79"/>
                      <a:gd name="T17" fmla="*/ 0 h 44"/>
                      <a:gd name="T18" fmla="*/ 25 w 79"/>
                      <a:gd name="T19" fmla="*/ 2 h 44"/>
                      <a:gd name="T20" fmla="*/ 20 w 79"/>
                      <a:gd name="T21" fmla="*/ 2 h 44"/>
                      <a:gd name="T22" fmla="*/ 18 w 79"/>
                      <a:gd name="T23" fmla="*/ 5 h 44"/>
                      <a:gd name="T24" fmla="*/ 13 w 79"/>
                      <a:gd name="T25" fmla="*/ 3 h 44"/>
                      <a:gd name="T26" fmla="*/ 8 w 79"/>
                      <a:gd name="T27" fmla="*/ 7 h 44"/>
                      <a:gd name="T28" fmla="*/ 1 w 79"/>
                      <a:gd name="T29" fmla="*/ 10 h 44"/>
                      <a:gd name="T30" fmla="*/ 1 w 79"/>
                      <a:gd name="T31" fmla="*/ 13 h 44"/>
                      <a:gd name="T32" fmla="*/ 1 w 79"/>
                      <a:gd name="T33" fmla="*/ 17 h 44"/>
                      <a:gd name="T34" fmla="*/ 5 w 79"/>
                      <a:gd name="T35" fmla="*/ 18 h 44"/>
                      <a:gd name="T36" fmla="*/ 5 w 79"/>
                      <a:gd name="T37" fmla="*/ 22 h 44"/>
                      <a:gd name="T38" fmla="*/ 3 w 79"/>
                      <a:gd name="T39" fmla="*/ 24 h 44"/>
                      <a:gd name="T40" fmla="*/ 3 w 79"/>
                      <a:gd name="T41" fmla="*/ 27 h 44"/>
                      <a:gd name="T42" fmla="*/ 6 w 79"/>
                      <a:gd name="T43" fmla="*/ 29 h 44"/>
                      <a:gd name="T44" fmla="*/ 10 w 79"/>
                      <a:gd name="T45" fmla="*/ 27 h 44"/>
                      <a:gd name="T46" fmla="*/ 10 w 79"/>
                      <a:gd name="T47" fmla="*/ 32 h 44"/>
                      <a:gd name="T48" fmla="*/ 13 w 79"/>
                      <a:gd name="T49" fmla="*/ 30 h 44"/>
                      <a:gd name="T50" fmla="*/ 17 w 79"/>
                      <a:gd name="T51" fmla="*/ 27 h 44"/>
                      <a:gd name="T52" fmla="*/ 17 w 79"/>
                      <a:gd name="T53" fmla="*/ 34 h 44"/>
                      <a:gd name="T54" fmla="*/ 15 w 79"/>
                      <a:gd name="T55" fmla="*/ 39 h 44"/>
                      <a:gd name="T56" fmla="*/ 20 w 79"/>
                      <a:gd name="T57" fmla="*/ 37 h 44"/>
                      <a:gd name="T58" fmla="*/ 27 w 79"/>
                      <a:gd name="T59" fmla="*/ 35 h 44"/>
                      <a:gd name="T60" fmla="*/ 33 w 79"/>
                      <a:gd name="T61" fmla="*/ 32 h 44"/>
                      <a:gd name="T62" fmla="*/ 35 w 79"/>
                      <a:gd name="T63" fmla="*/ 35 h 44"/>
                      <a:gd name="T64" fmla="*/ 40 w 79"/>
                      <a:gd name="T65" fmla="*/ 37 h 44"/>
                      <a:gd name="T66" fmla="*/ 45 w 79"/>
                      <a:gd name="T67" fmla="*/ 40 h 44"/>
                      <a:gd name="T68" fmla="*/ 52 w 79"/>
                      <a:gd name="T69" fmla="*/ 44 h 44"/>
                      <a:gd name="T70" fmla="*/ 60 w 79"/>
                      <a:gd name="T71" fmla="*/ 44 h 44"/>
                      <a:gd name="T72" fmla="*/ 64 w 79"/>
                      <a:gd name="T73" fmla="*/ 42 h 44"/>
                      <a:gd name="T74" fmla="*/ 67 w 79"/>
                      <a:gd name="T75" fmla="*/ 44 h 44"/>
                      <a:gd name="T76" fmla="*/ 71 w 79"/>
                      <a:gd name="T77" fmla="*/ 42 h 44"/>
                      <a:gd name="T78" fmla="*/ 71 w 79"/>
                      <a:gd name="T79" fmla="*/ 39 h 44"/>
                      <a:gd name="T80" fmla="*/ 69 w 79"/>
                      <a:gd name="T81" fmla="*/ 34 h 44"/>
                      <a:gd name="T82" fmla="*/ 67 w 79"/>
                      <a:gd name="T83" fmla="*/ 29 h 44"/>
                      <a:gd name="T84" fmla="*/ 69 w 79"/>
                      <a:gd name="T85" fmla="*/ 24 h 44"/>
                      <a:gd name="T86" fmla="*/ 67 w 79"/>
                      <a:gd name="T87" fmla="*/ 20 h 44"/>
                      <a:gd name="T88" fmla="*/ 69 w 79"/>
                      <a:gd name="T89" fmla="*/ 17 h 44"/>
                      <a:gd name="T90" fmla="*/ 72 w 79"/>
                      <a:gd name="T91" fmla="*/ 15 h 44"/>
                      <a:gd name="T92" fmla="*/ 76 w 79"/>
                      <a:gd name="T93" fmla="*/ 10 h 44"/>
                      <a:gd name="T94" fmla="*/ 77 w 79"/>
                      <a:gd name="T95" fmla="*/ 7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79" h="44">
                        <a:moveTo>
                          <a:pt x="79" y="3"/>
                        </a:moveTo>
                        <a:lnTo>
                          <a:pt x="79" y="2"/>
                        </a:lnTo>
                        <a:lnTo>
                          <a:pt x="77" y="2"/>
                        </a:lnTo>
                        <a:lnTo>
                          <a:pt x="76" y="2"/>
                        </a:lnTo>
                        <a:lnTo>
                          <a:pt x="76" y="3"/>
                        </a:lnTo>
                        <a:lnTo>
                          <a:pt x="74" y="3"/>
                        </a:lnTo>
                        <a:lnTo>
                          <a:pt x="72" y="3"/>
                        </a:lnTo>
                        <a:lnTo>
                          <a:pt x="72" y="5"/>
                        </a:lnTo>
                        <a:lnTo>
                          <a:pt x="69" y="5"/>
                        </a:lnTo>
                        <a:lnTo>
                          <a:pt x="67" y="5"/>
                        </a:lnTo>
                        <a:lnTo>
                          <a:pt x="66" y="3"/>
                        </a:lnTo>
                        <a:lnTo>
                          <a:pt x="64" y="3"/>
                        </a:lnTo>
                        <a:lnTo>
                          <a:pt x="64" y="2"/>
                        </a:lnTo>
                        <a:lnTo>
                          <a:pt x="62" y="2"/>
                        </a:lnTo>
                        <a:lnTo>
                          <a:pt x="60" y="2"/>
                        </a:lnTo>
                        <a:lnTo>
                          <a:pt x="59" y="3"/>
                        </a:lnTo>
                        <a:lnTo>
                          <a:pt x="55" y="2"/>
                        </a:lnTo>
                        <a:lnTo>
                          <a:pt x="52" y="3"/>
                        </a:lnTo>
                        <a:lnTo>
                          <a:pt x="50" y="3"/>
                        </a:lnTo>
                        <a:lnTo>
                          <a:pt x="45" y="3"/>
                        </a:lnTo>
                        <a:lnTo>
                          <a:pt x="44" y="2"/>
                        </a:lnTo>
                        <a:lnTo>
                          <a:pt x="40" y="2"/>
                        </a:lnTo>
                        <a:lnTo>
                          <a:pt x="37" y="0"/>
                        </a:lnTo>
                        <a:lnTo>
                          <a:pt x="35" y="0"/>
                        </a:lnTo>
                        <a:lnTo>
                          <a:pt x="33" y="0"/>
                        </a:lnTo>
                        <a:lnTo>
                          <a:pt x="32" y="0"/>
                        </a:lnTo>
                        <a:lnTo>
                          <a:pt x="30" y="0"/>
                        </a:lnTo>
                        <a:lnTo>
                          <a:pt x="28" y="2"/>
                        </a:lnTo>
                        <a:lnTo>
                          <a:pt x="27" y="2"/>
                        </a:lnTo>
                        <a:lnTo>
                          <a:pt x="25" y="2"/>
                        </a:lnTo>
                        <a:lnTo>
                          <a:pt x="23" y="2"/>
                        </a:lnTo>
                        <a:lnTo>
                          <a:pt x="22" y="2"/>
                        </a:lnTo>
                        <a:lnTo>
                          <a:pt x="20" y="2"/>
                        </a:lnTo>
                        <a:lnTo>
                          <a:pt x="20" y="3"/>
                        </a:lnTo>
                        <a:lnTo>
                          <a:pt x="20" y="5"/>
                        </a:lnTo>
                        <a:lnTo>
                          <a:pt x="18" y="5"/>
                        </a:lnTo>
                        <a:lnTo>
                          <a:pt x="17" y="3"/>
                        </a:lnTo>
                        <a:lnTo>
                          <a:pt x="15" y="3"/>
                        </a:lnTo>
                        <a:lnTo>
                          <a:pt x="13" y="3"/>
                        </a:lnTo>
                        <a:lnTo>
                          <a:pt x="12" y="3"/>
                        </a:lnTo>
                        <a:lnTo>
                          <a:pt x="10" y="5"/>
                        </a:lnTo>
                        <a:lnTo>
                          <a:pt x="8" y="7"/>
                        </a:lnTo>
                        <a:lnTo>
                          <a:pt x="6" y="8"/>
                        </a:lnTo>
                        <a:lnTo>
                          <a:pt x="5" y="8"/>
                        </a:lnTo>
                        <a:lnTo>
                          <a:pt x="1" y="10"/>
                        </a:lnTo>
                        <a:lnTo>
                          <a:pt x="0" y="10"/>
                        </a:lnTo>
                        <a:lnTo>
                          <a:pt x="0" y="12"/>
                        </a:lnTo>
                        <a:lnTo>
                          <a:pt x="1" y="13"/>
                        </a:lnTo>
                        <a:lnTo>
                          <a:pt x="3" y="13"/>
                        </a:lnTo>
                        <a:lnTo>
                          <a:pt x="3" y="15"/>
                        </a:lnTo>
                        <a:lnTo>
                          <a:pt x="1" y="17"/>
                        </a:lnTo>
                        <a:lnTo>
                          <a:pt x="1" y="18"/>
                        </a:lnTo>
                        <a:lnTo>
                          <a:pt x="3" y="18"/>
                        </a:lnTo>
                        <a:lnTo>
                          <a:pt x="5" y="18"/>
                        </a:lnTo>
                        <a:lnTo>
                          <a:pt x="6" y="18"/>
                        </a:lnTo>
                        <a:lnTo>
                          <a:pt x="6" y="20"/>
                        </a:lnTo>
                        <a:lnTo>
                          <a:pt x="5" y="22"/>
                        </a:lnTo>
                        <a:lnTo>
                          <a:pt x="3" y="22"/>
                        </a:lnTo>
                        <a:lnTo>
                          <a:pt x="1" y="22"/>
                        </a:lnTo>
                        <a:lnTo>
                          <a:pt x="3" y="24"/>
                        </a:lnTo>
                        <a:lnTo>
                          <a:pt x="5" y="24"/>
                        </a:lnTo>
                        <a:lnTo>
                          <a:pt x="5" y="25"/>
                        </a:lnTo>
                        <a:lnTo>
                          <a:pt x="3" y="27"/>
                        </a:lnTo>
                        <a:lnTo>
                          <a:pt x="5" y="27"/>
                        </a:lnTo>
                        <a:lnTo>
                          <a:pt x="5" y="29"/>
                        </a:lnTo>
                        <a:lnTo>
                          <a:pt x="6" y="29"/>
                        </a:lnTo>
                        <a:lnTo>
                          <a:pt x="8" y="29"/>
                        </a:lnTo>
                        <a:lnTo>
                          <a:pt x="8" y="27"/>
                        </a:lnTo>
                        <a:lnTo>
                          <a:pt x="10" y="27"/>
                        </a:lnTo>
                        <a:lnTo>
                          <a:pt x="10" y="29"/>
                        </a:lnTo>
                        <a:lnTo>
                          <a:pt x="10" y="30"/>
                        </a:lnTo>
                        <a:lnTo>
                          <a:pt x="10" y="32"/>
                        </a:lnTo>
                        <a:lnTo>
                          <a:pt x="12" y="32"/>
                        </a:lnTo>
                        <a:lnTo>
                          <a:pt x="13" y="32"/>
                        </a:lnTo>
                        <a:lnTo>
                          <a:pt x="13" y="30"/>
                        </a:lnTo>
                        <a:lnTo>
                          <a:pt x="15" y="29"/>
                        </a:lnTo>
                        <a:lnTo>
                          <a:pt x="15" y="27"/>
                        </a:lnTo>
                        <a:lnTo>
                          <a:pt x="17" y="27"/>
                        </a:lnTo>
                        <a:lnTo>
                          <a:pt x="17" y="29"/>
                        </a:lnTo>
                        <a:lnTo>
                          <a:pt x="17" y="32"/>
                        </a:lnTo>
                        <a:lnTo>
                          <a:pt x="17" y="34"/>
                        </a:lnTo>
                        <a:lnTo>
                          <a:pt x="17" y="35"/>
                        </a:lnTo>
                        <a:lnTo>
                          <a:pt x="15" y="37"/>
                        </a:lnTo>
                        <a:lnTo>
                          <a:pt x="15" y="39"/>
                        </a:lnTo>
                        <a:lnTo>
                          <a:pt x="17" y="39"/>
                        </a:lnTo>
                        <a:lnTo>
                          <a:pt x="18" y="39"/>
                        </a:lnTo>
                        <a:lnTo>
                          <a:pt x="20" y="37"/>
                        </a:lnTo>
                        <a:lnTo>
                          <a:pt x="22" y="37"/>
                        </a:lnTo>
                        <a:lnTo>
                          <a:pt x="25" y="37"/>
                        </a:lnTo>
                        <a:lnTo>
                          <a:pt x="27" y="35"/>
                        </a:lnTo>
                        <a:lnTo>
                          <a:pt x="28" y="34"/>
                        </a:lnTo>
                        <a:lnTo>
                          <a:pt x="30" y="34"/>
                        </a:lnTo>
                        <a:lnTo>
                          <a:pt x="33" y="32"/>
                        </a:lnTo>
                        <a:lnTo>
                          <a:pt x="33" y="34"/>
                        </a:lnTo>
                        <a:lnTo>
                          <a:pt x="35" y="34"/>
                        </a:lnTo>
                        <a:lnTo>
                          <a:pt x="35" y="35"/>
                        </a:lnTo>
                        <a:lnTo>
                          <a:pt x="37" y="35"/>
                        </a:lnTo>
                        <a:lnTo>
                          <a:pt x="39" y="35"/>
                        </a:lnTo>
                        <a:lnTo>
                          <a:pt x="40" y="37"/>
                        </a:lnTo>
                        <a:lnTo>
                          <a:pt x="44" y="37"/>
                        </a:lnTo>
                        <a:lnTo>
                          <a:pt x="45" y="39"/>
                        </a:lnTo>
                        <a:lnTo>
                          <a:pt x="45" y="40"/>
                        </a:lnTo>
                        <a:lnTo>
                          <a:pt x="49" y="42"/>
                        </a:lnTo>
                        <a:lnTo>
                          <a:pt x="50" y="44"/>
                        </a:lnTo>
                        <a:lnTo>
                          <a:pt x="52" y="44"/>
                        </a:lnTo>
                        <a:lnTo>
                          <a:pt x="55" y="44"/>
                        </a:lnTo>
                        <a:lnTo>
                          <a:pt x="59" y="44"/>
                        </a:lnTo>
                        <a:lnTo>
                          <a:pt x="60" y="44"/>
                        </a:lnTo>
                        <a:lnTo>
                          <a:pt x="62" y="44"/>
                        </a:lnTo>
                        <a:lnTo>
                          <a:pt x="62" y="42"/>
                        </a:lnTo>
                        <a:lnTo>
                          <a:pt x="64" y="42"/>
                        </a:lnTo>
                        <a:lnTo>
                          <a:pt x="66" y="42"/>
                        </a:lnTo>
                        <a:lnTo>
                          <a:pt x="67" y="42"/>
                        </a:lnTo>
                        <a:lnTo>
                          <a:pt x="67" y="44"/>
                        </a:lnTo>
                        <a:lnTo>
                          <a:pt x="69" y="44"/>
                        </a:lnTo>
                        <a:lnTo>
                          <a:pt x="69" y="42"/>
                        </a:lnTo>
                        <a:lnTo>
                          <a:pt x="71" y="42"/>
                        </a:lnTo>
                        <a:lnTo>
                          <a:pt x="71" y="40"/>
                        </a:lnTo>
                        <a:lnTo>
                          <a:pt x="72" y="40"/>
                        </a:lnTo>
                        <a:lnTo>
                          <a:pt x="71" y="39"/>
                        </a:lnTo>
                        <a:lnTo>
                          <a:pt x="69" y="37"/>
                        </a:lnTo>
                        <a:lnTo>
                          <a:pt x="69" y="35"/>
                        </a:lnTo>
                        <a:lnTo>
                          <a:pt x="69" y="34"/>
                        </a:lnTo>
                        <a:lnTo>
                          <a:pt x="67" y="32"/>
                        </a:lnTo>
                        <a:lnTo>
                          <a:pt x="67" y="30"/>
                        </a:lnTo>
                        <a:lnTo>
                          <a:pt x="67" y="29"/>
                        </a:lnTo>
                        <a:lnTo>
                          <a:pt x="67" y="27"/>
                        </a:lnTo>
                        <a:lnTo>
                          <a:pt x="69" y="25"/>
                        </a:lnTo>
                        <a:lnTo>
                          <a:pt x="69" y="24"/>
                        </a:lnTo>
                        <a:lnTo>
                          <a:pt x="69" y="22"/>
                        </a:lnTo>
                        <a:lnTo>
                          <a:pt x="67" y="22"/>
                        </a:lnTo>
                        <a:lnTo>
                          <a:pt x="67" y="20"/>
                        </a:lnTo>
                        <a:lnTo>
                          <a:pt x="67" y="18"/>
                        </a:lnTo>
                        <a:lnTo>
                          <a:pt x="69" y="18"/>
                        </a:lnTo>
                        <a:lnTo>
                          <a:pt x="69" y="17"/>
                        </a:lnTo>
                        <a:lnTo>
                          <a:pt x="71" y="17"/>
                        </a:lnTo>
                        <a:lnTo>
                          <a:pt x="72" y="17"/>
                        </a:lnTo>
                        <a:lnTo>
                          <a:pt x="72" y="15"/>
                        </a:lnTo>
                        <a:lnTo>
                          <a:pt x="74" y="13"/>
                        </a:lnTo>
                        <a:lnTo>
                          <a:pt x="74" y="12"/>
                        </a:lnTo>
                        <a:lnTo>
                          <a:pt x="76" y="10"/>
                        </a:lnTo>
                        <a:lnTo>
                          <a:pt x="77" y="10"/>
                        </a:lnTo>
                        <a:lnTo>
                          <a:pt x="77" y="8"/>
                        </a:lnTo>
                        <a:lnTo>
                          <a:pt x="77" y="7"/>
                        </a:lnTo>
                        <a:lnTo>
                          <a:pt x="79" y="5"/>
                        </a:lnTo>
                        <a:lnTo>
                          <a:pt x="79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86" name="Freeform 360">
                    <a:extLst>
                      <a:ext uri="{FF2B5EF4-FFF2-40B4-BE49-F238E27FC236}">
                        <a16:creationId xmlns:a16="http://schemas.microsoft.com/office/drawing/2014/main" id="{301314E3-3AC7-004E-984E-A219578136F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8" y="293"/>
                    <a:ext cx="79" cy="44"/>
                  </a:xfrm>
                  <a:custGeom>
                    <a:avLst/>
                    <a:gdLst>
                      <a:gd name="T0" fmla="*/ 77 w 79"/>
                      <a:gd name="T1" fmla="*/ 2 h 44"/>
                      <a:gd name="T2" fmla="*/ 74 w 79"/>
                      <a:gd name="T3" fmla="*/ 3 h 44"/>
                      <a:gd name="T4" fmla="*/ 69 w 79"/>
                      <a:gd name="T5" fmla="*/ 5 h 44"/>
                      <a:gd name="T6" fmla="*/ 64 w 79"/>
                      <a:gd name="T7" fmla="*/ 3 h 44"/>
                      <a:gd name="T8" fmla="*/ 60 w 79"/>
                      <a:gd name="T9" fmla="*/ 2 h 44"/>
                      <a:gd name="T10" fmla="*/ 52 w 79"/>
                      <a:gd name="T11" fmla="*/ 3 h 44"/>
                      <a:gd name="T12" fmla="*/ 44 w 79"/>
                      <a:gd name="T13" fmla="*/ 2 h 44"/>
                      <a:gd name="T14" fmla="*/ 35 w 79"/>
                      <a:gd name="T15" fmla="*/ 0 h 44"/>
                      <a:gd name="T16" fmla="*/ 30 w 79"/>
                      <a:gd name="T17" fmla="*/ 0 h 44"/>
                      <a:gd name="T18" fmla="*/ 25 w 79"/>
                      <a:gd name="T19" fmla="*/ 2 h 44"/>
                      <a:gd name="T20" fmla="*/ 20 w 79"/>
                      <a:gd name="T21" fmla="*/ 2 h 44"/>
                      <a:gd name="T22" fmla="*/ 18 w 79"/>
                      <a:gd name="T23" fmla="*/ 5 h 44"/>
                      <a:gd name="T24" fmla="*/ 13 w 79"/>
                      <a:gd name="T25" fmla="*/ 3 h 44"/>
                      <a:gd name="T26" fmla="*/ 8 w 79"/>
                      <a:gd name="T27" fmla="*/ 7 h 44"/>
                      <a:gd name="T28" fmla="*/ 1 w 79"/>
                      <a:gd name="T29" fmla="*/ 10 h 44"/>
                      <a:gd name="T30" fmla="*/ 1 w 79"/>
                      <a:gd name="T31" fmla="*/ 13 h 44"/>
                      <a:gd name="T32" fmla="*/ 1 w 79"/>
                      <a:gd name="T33" fmla="*/ 17 h 44"/>
                      <a:gd name="T34" fmla="*/ 5 w 79"/>
                      <a:gd name="T35" fmla="*/ 18 h 44"/>
                      <a:gd name="T36" fmla="*/ 5 w 79"/>
                      <a:gd name="T37" fmla="*/ 22 h 44"/>
                      <a:gd name="T38" fmla="*/ 3 w 79"/>
                      <a:gd name="T39" fmla="*/ 24 h 44"/>
                      <a:gd name="T40" fmla="*/ 3 w 79"/>
                      <a:gd name="T41" fmla="*/ 27 h 44"/>
                      <a:gd name="T42" fmla="*/ 6 w 79"/>
                      <a:gd name="T43" fmla="*/ 29 h 44"/>
                      <a:gd name="T44" fmla="*/ 10 w 79"/>
                      <a:gd name="T45" fmla="*/ 27 h 44"/>
                      <a:gd name="T46" fmla="*/ 10 w 79"/>
                      <a:gd name="T47" fmla="*/ 32 h 44"/>
                      <a:gd name="T48" fmla="*/ 13 w 79"/>
                      <a:gd name="T49" fmla="*/ 30 h 44"/>
                      <a:gd name="T50" fmla="*/ 17 w 79"/>
                      <a:gd name="T51" fmla="*/ 27 h 44"/>
                      <a:gd name="T52" fmla="*/ 17 w 79"/>
                      <a:gd name="T53" fmla="*/ 34 h 44"/>
                      <a:gd name="T54" fmla="*/ 15 w 79"/>
                      <a:gd name="T55" fmla="*/ 39 h 44"/>
                      <a:gd name="T56" fmla="*/ 20 w 79"/>
                      <a:gd name="T57" fmla="*/ 37 h 44"/>
                      <a:gd name="T58" fmla="*/ 27 w 79"/>
                      <a:gd name="T59" fmla="*/ 35 h 44"/>
                      <a:gd name="T60" fmla="*/ 33 w 79"/>
                      <a:gd name="T61" fmla="*/ 32 h 44"/>
                      <a:gd name="T62" fmla="*/ 35 w 79"/>
                      <a:gd name="T63" fmla="*/ 35 h 44"/>
                      <a:gd name="T64" fmla="*/ 40 w 79"/>
                      <a:gd name="T65" fmla="*/ 37 h 44"/>
                      <a:gd name="T66" fmla="*/ 45 w 79"/>
                      <a:gd name="T67" fmla="*/ 40 h 44"/>
                      <a:gd name="T68" fmla="*/ 52 w 79"/>
                      <a:gd name="T69" fmla="*/ 44 h 44"/>
                      <a:gd name="T70" fmla="*/ 60 w 79"/>
                      <a:gd name="T71" fmla="*/ 44 h 44"/>
                      <a:gd name="T72" fmla="*/ 64 w 79"/>
                      <a:gd name="T73" fmla="*/ 42 h 44"/>
                      <a:gd name="T74" fmla="*/ 67 w 79"/>
                      <a:gd name="T75" fmla="*/ 44 h 44"/>
                      <a:gd name="T76" fmla="*/ 71 w 79"/>
                      <a:gd name="T77" fmla="*/ 42 h 44"/>
                      <a:gd name="T78" fmla="*/ 71 w 79"/>
                      <a:gd name="T79" fmla="*/ 39 h 44"/>
                      <a:gd name="T80" fmla="*/ 69 w 79"/>
                      <a:gd name="T81" fmla="*/ 34 h 44"/>
                      <a:gd name="T82" fmla="*/ 67 w 79"/>
                      <a:gd name="T83" fmla="*/ 29 h 44"/>
                      <a:gd name="T84" fmla="*/ 69 w 79"/>
                      <a:gd name="T85" fmla="*/ 24 h 44"/>
                      <a:gd name="T86" fmla="*/ 67 w 79"/>
                      <a:gd name="T87" fmla="*/ 20 h 44"/>
                      <a:gd name="T88" fmla="*/ 69 w 79"/>
                      <a:gd name="T89" fmla="*/ 17 h 44"/>
                      <a:gd name="T90" fmla="*/ 72 w 79"/>
                      <a:gd name="T91" fmla="*/ 15 h 44"/>
                      <a:gd name="T92" fmla="*/ 76 w 79"/>
                      <a:gd name="T93" fmla="*/ 10 h 44"/>
                      <a:gd name="T94" fmla="*/ 77 w 79"/>
                      <a:gd name="T95" fmla="*/ 7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79" h="44">
                        <a:moveTo>
                          <a:pt x="79" y="3"/>
                        </a:moveTo>
                        <a:lnTo>
                          <a:pt x="79" y="2"/>
                        </a:lnTo>
                        <a:lnTo>
                          <a:pt x="77" y="2"/>
                        </a:lnTo>
                        <a:lnTo>
                          <a:pt x="76" y="2"/>
                        </a:lnTo>
                        <a:lnTo>
                          <a:pt x="76" y="3"/>
                        </a:lnTo>
                        <a:lnTo>
                          <a:pt x="74" y="3"/>
                        </a:lnTo>
                        <a:lnTo>
                          <a:pt x="72" y="3"/>
                        </a:lnTo>
                        <a:lnTo>
                          <a:pt x="72" y="5"/>
                        </a:lnTo>
                        <a:lnTo>
                          <a:pt x="69" y="5"/>
                        </a:lnTo>
                        <a:lnTo>
                          <a:pt x="67" y="5"/>
                        </a:lnTo>
                        <a:lnTo>
                          <a:pt x="66" y="3"/>
                        </a:lnTo>
                        <a:lnTo>
                          <a:pt x="64" y="3"/>
                        </a:lnTo>
                        <a:lnTo>
                          <a:pt x="64" y="2"/>
                        </a:lnTo>
                        <a:lnTo>
                          <a:pt x="62" y="2"/>
                        </a:lnTo>
                        <a:lnTo>
                          <a:pt x="60" y="2"/>
                        </a:lnTo>
                        <a:lnTo>
                          <a:pt x="59" y="3"/>
                        </a:lnTo>
                        <a:lnTo>
                          <a:pt x="55" y="2"/>
                        </a:lnTo>
                        <a:lnTo>
                          <a:pt x="52" y="3"/>
                        </a:lnTo>
                        <a:lnTo>
                          <a:pt x="50" y="3"/>
                        </a:lnTo>
                        <a:lnTo>
                          <a:pt x="45" y="3"/>
                        </a:lnTo>
                        <a:lnTo>
                          <a:pt x="44" y="2"/>
                        </a:lnTo>
                        <a:lnTo>
                          <a:pt x="40" y="2"/>
                        </a:lnTo>
                        <a:lnTo>
                          <a:pt x="37" y="0"/>
                        </a:lnTo>
                        <a:lnTo>
                          <a:pt x="35" y="0"/>
                        </a:lnTo>
                        <a:lnTo>
                          <a:pt x="33" y="0"/>
                        </a:lnTo>
                        <a:lnTo>
                          <a:pt x="32" y="0"/>
                        </a:lnTo>
                        <a:lnTo>
                          <a:pt x="30" y="0"/>
                        </a:lnTo>
                        <a:lnTo>
                          <a:pt x="28" y="2"/>
                        </a:lnTo>
                        <a:lnTo>
                          <a:pt x="27" y="2"/>
                        </a:lnTo>
                        <a:lnTo>
                          <a:pt x="25" y="2"/>
                        </a:lnTo>
                        <a:lnTo>
                          <a:pt x="23" y="2"/>
                        </a:lnTo>
                        <a:lnTo>
                          <a:pt x="22" y="2"/>
                        </a:lnTo>
                        <a:lnTo>
                          <a:pt x="20" y="2"/>
                        </a:lnTo>
                        <a:lnTo>
                          <a:pt x="20" y="3"/>
                        </a:lnTo>
                        <a:lnTo>
                          <a:pt x="20" y="5"/>
                        </a:lnTo>
                        <a:lnTo>
                          <a:pt x="18" y="5"/>
                        </a:lnTo>
                        <a:lnTo>
                          <a:pt x="17" y="3"/>
                        </a:lnTo>
                        <a:lnTo>
                          <a:pt x="15" y="3"/>
                        </a:lnTo>
                        <a:lnTo>
                          <a:pt x="13" y="3"/>
                        </a:lnTo>
                        <a:lnTo>
                          <a:pt x="12" y="3"/>
                        </a:lnTo>
                        <a:lnTo>
                          <a:pt x="10" y="5"/>
                        </a:lnTo>
                        <a:lnTo>
                          <a:pt x="8" y="7"/>
                        </a:lnTo>
                        <a:lnTo>
                          <a:pt x="6" y="8"/>
                        </a:lnTo>
                        <a:lnTo>
                          <a:pt x="5" y="8"/>
                        </a:lnTo>
                        <a:lnTo>
                          <a:pt x="1" y="10"/>
                        </a:lnTo>
                        <a:lnTo>
                          <a:pt x="0" y="10"/>
                        </a:lnTo>
                        <a:lnTo>
                          <a:pt x="0" y="12"/>
                        </a:lnTo>
                        <a:lnTo>
                          <a:pt x="1" y="13"/>
                        </a:lnTo>
                        <a:lnTo>
                          <a:pt x="3" y="13"/>
                        </a:lnTo>
                        <a:lnTo>
                          <a:pt x="3" y="15"/>
                        </a:lnTo>
                        <a:lnTo>
                          <a:pt x="1" y="17"/>
                        </a:lnTo>
                        <a:lnTo>
                          <a:pt x="1" y="18"/>
                        </a:lnTo>
                        <a:lnTo>
                          <a:pt x="3" y="18"/>
                        </a:lnTo>
                        <a:lnTo>
                          <a:pt x="5" y="18"/>
                        </a:lnTo>
                        <a:lnTo>
                          <a:pt x="6" y="18"/>
                        </a:lnTo>
                        <a:lnTo>
                          <a:pt x="6" y="20"/>
                        </a:lnTo>
                        <a:lnTo>
                          <a:pt x="5" y="22"/>
                        </a:lnTo>
                        <a:lnTo>
                          <a:pt x="3" y="22"/>
                        </a:lnTo>
                        <a:lnTo>
                          <a:pt x="1" y="22"/>
                        </a:lnTo>
                        <a:lnTo>
                          <a:pt x="3" y="24"/>
                        </a:lnTo>
                        <a:lnTo>
                          <a:pt x="5" y="24"/>
                        </a:lnTo>
                        <a:lnTo>
                          <a:pt x="5" y="25"/>
                        </a:lnTo>
                        <a:lnTo>
                          <a:pt x="3" y="27"/>
                        </a:lnTo>
                        <a:lnTo>
                          <a:pt x="5" y="27"/>
                        </a:lnTo>
                        <a:lnTo>
                          <a:pt x="5" y="29"/>
                        </a:lnTo>
                        <a:lnTo>
                          <a:pt x="6" y="29"/>
                        </a:lnTo>
                        <a:lnTo>
                          <a:pt x="8" y="29"/>
                        </a:lnTo>
                        <a:lnTo>
                          <a:pt x="8" y="27"/>
                        </a:lnTo>
                        <a:lnTo>
                          <a:pt x="10" y="27"/>
                        </a:lnTo>
                        <a:lnTo>
                          <a:pt x="10" y="29"/>
                        </a:lnTo>
                        <a:lnTo>
                          <a:pt x="10" y="30"/>
                        </a:lnTo>
                        <a:lnTo>
                          <a:pt x="10" y="32"/>
                        </a:lnTo>
                        <a:lnTo>
                          <a:pt x="12" y="32"/>
                        </a:lnTo>
                        <a:lnTo>
                          <a:pt x="13" y="32"/>
                        </a:lnTo>
                        <a:lnTo>
                          <a:pt x="13" y="30"/>
                        </a:lnTo>
                        <a:lnTo>
                          <a:pt x="15" y="29"/>
                        </a:lnTo>
                        <a:lnTo>
                          <a:pt x="15" y="27"/>
                        </a:lnTo>
                        <a:lnTo>
                          <a:pt x="17" y="27"/>
                        </a:lnTo>
                        <a:lnTo>
                          <a:pt x="17" y="29"/>
                        </a:lnTo>
                        <a:lnTo>
                          <a:pt x="17" y="32"/>
                        </a:lnTo>
                        <a:lnTo>
                          <a:pt x="17" y="34"/>
                        </a:lnTo>
                        <a:lnTo>
                          <a:pt x="17" y="35"/>
                        </a:lnTo>
                        <a:lnTo>
                          <a:pt x="15" y="37"/>
                        </a:lnTo>
                        <a:lnTo>
                          <a:pt x="15" y="39"/>
                        </a:lnTo>
                        <a:lnTo>
                          <a:pt x="17" y="39"/>
                        </a:lnTo>
                        <a:lnTo>
                          <a:pt x="18" y="39"/>
                        </a:lnTo>
                        <a:lnTo>
                          <a:pt x="20" y="37"/>
                        </a:lnTo>
                        <a:lnTo>
                          <a:pt x="22" y="37"/>
                        </a:lnTo>
                        <a:lnTo>
                          <a:pt x="25" y="37"/>
                        </a:lnTo>
                        <a:lnTo>
                          <a:pt x="27" y="35"/>
                        </a:lnTo>
                        <a:lnTo>
                          <a:pt x="28" y="34"/>
                        </a:lnTo>
                        <a:lnTo>
                          <a:pt x="30" y="34"/>
                        </a:lnTo>
                        <a:lnTo>
                          <a:pt x="33" y="32"/>
                        </a:lnTo>
                        <a:lnTo>
                          <a:pt x="33" y="34"/>
                        </a:lnTo>
                        <a:lnTo>
                          <a:pt x="35" y="34"/>
                        </a:lnTo>
                        <a:lnTo>
                          <a:pt x="35" y="35"/>
                        </a:lnTo>
                        <a:lnTo>
                          <a:pt x="37" y="35"/>
                        </a:lnTo>
                        <a:lnTo>
                          <a:pt x="39" y="35"/>
                        </a:lnTo>
                        <a:lnTo>
                          <a:pt x="40" y="37"/>
                        </a:lnTo>
                        <a:lnTo>
                          <a:pt x="44" y="37"/>
                        </a:lnTo>
                        <a:lnTo>
                          <a:pt x="45" y="39"/>
                        </a:lnTo>
                        <a:lnTo>
                          <a:pt x="45" y="40"/>
                        </a:lnTo>
                        <a:lnTo>
                          <a:pt x="49" y="42"/>
                        </a:lnTo>
                        <a:lnTo>
                          <a:pt x="50" y="44"/>
                        </a:lnTo>
                        <a:lnTo>
                          <a:pt x="52" y="44"/>
                        </a:lnTo>
                        <a:lnTo>
                          <a:pt x="55" y="44"/>
                        </a:lnTo>
                        <a:lnTo>
                          <a:pt x="59" y="44"/>
                        </a:lnTo>
                        <a:lnTo>
                          <a:pt x="60" y="44"/>
                        </a:lnTo>
                        <a:lnTo>
                          <a:pt x="62" y="44"/>
                        </a:lnTo>
                        <a:lnTo>
                          <a:pt x="62" y="42"/>
                        </a:lnTo>
                        <a:lnTo>
                          <a:pt x="64" y="42"/>
                        </a:lnTo>
                        <a:lnTo>
                          <a:pt x="66" y="42"/>
                        </a:lnTo>
                        <a:lnTo>
                          <a:pt x="67" y="42"/>
                        </a:lnTo>
                        <a:lnTo>
                          <a:pt x="67" y="44"/>
                        </a:lnTo>
                        <a:lnTo>
                          <a:pt x="69" y="44"/>
                        </a:lnTo>
                        <a:lnTo>
                          <a:pt x="69" y="42"/>
                        </a:lnTo>
                        <a:lnTo>
                          <a:pt x="71" y="42"/>
                        </a:lnTo>
                        <a:lnTo>
                          <a:pt x="71" y="40"/>
                        </a:lnTo>
                        <a:lnTo>
                          <a:pt x="72" y="40"/>
                        </a:lnTo>
                        <a:lnTo>
                          <a:pt x="71" y="39"/>
                        </a:lnTo>
                        <a:lnTo>
                          <a:pt x="69" y="37"/>
                        </a:lnTo>
                        <a:lnTo>
                          <a:pt x="69" y="35"/>
                        </a:lnTo>
                        <a:lnTo>
                          <a:pt x="69" y="34"/>
                        </a:lnTo>
                        <a:lnTo>
                          <a:pt x="67" y="32"/>
                        </a:lnTo>
                        <a:lnTo>
                          <a:pt x="67" y="30"/>
                        </a:lnTo>
                        <a:lnTo>
                          <a:pt x="67" y="29"/>
                        </a:lnTo>
                        <a:lnTo>
                          <a:pt x="67" y="27"/>
                        </a:lnTo>
                        <a:lnTo>
                          <a:pt x="69" y="25"/>
                        </a:lnTo>
                        <a:lnTo>
                          <a:pt x="69" y="24"/>
                        </a:lnTo>
                        <a:lnTo>
                          <a:pt x="69" y="22"/>
                        </a:lnTo>
                        <a:lnTo>
                          <a:pt x="67" y="22"/>
                        </a:lnTo>
                        <a:lnTo>
                          <a:pt x="67" y="20"/>
                        </a:lnTo>
                        <a:lnTo>
                          <a:pt x="67" y="18"/>
                        </a:lnTo>
                        <a:lnTo>
                          <a:pt x="69" y="18"/>
                        </a:lnTo>
                        <a:lnTo>
                          <a:pt x="69" y="17"/>
                        </a:lnTo>
                        <a:lnTo>
                          <a:pt x="71" y="17"/>
                        </a:lnTo>
                        <a:lnTo>
                          <a:pt x="72" y="17"/>
                        </a:lnTo>
                        <a:lnTo>
                          <a:pt x="72" y="15"/>
                        </a:lnTo>
                        <a:lnTo>
                          <a:pt x="74" y="13"/>
                        </a:lnTo>
                        <a:lnTo>
                          <a:pt x="74" y="12"/>
                        </a:lnTo>
                        <a:lnTo>
                          <a:pt x="76" y="10"/>
                        </a:lnTo>
                        <a:lnTo>
                          <a:pt x="77" y="10"/>
                        </a:lnTo>
                        <a:lnTo>
                          <a:pt x="77" y="8"/>
                        </a:lnTo>
                        <a:lnTo>
                          <a:pt x="77" y="7"/>
                        </a:lnTo>
                        <a:lnTo>
                          <a:pt x="79" y="5"/>
                        </a:lnTo>
                        <a:lnTo>
                          <a:pt x="79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79" name="Group 1978">
                  <a:extLst>
                    <a:ext uri="{FF2B5EF4-FFF2-40B4-BE49-F238E27FC236}">
                      <a16:creationId xmlns:a16="http://schemas.microsoft.com/office/drawing/2014/main" id="{51EDA42A-F23C-9B4C-BBBF-C2C9BAD7CD0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91" y="317"/>
                  <a:ext cx="20" cy="18"/>
                  <a:chOff x="491" y="317"/>
                  <a:chExt cx="20" cy="18"/>
                </a:xfrm>
              </p:grpSpPr>
              <p:sp>
                <p:nvSpPr>
                  <p:cNvPr id="1983" name="Freeform 357">
                    <a:extLst>
                      <a:ext uri="{FF2B5EF4-FFF2-40B4-BE49-F238E27FC236}">
                        <a16:creationId xmlns:a16="http://schemas.microsoft.com/office/drawing/2014/main" id="{4DEE76E6-D218-B54A-8C53-4EBEEF40185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1" y="317"/>
                    <a:ext cx="20" cy="18"/>
                  </a:xfrm>
                  <a:custGeom>
                    <a:avLst/>
                    <a:gdLst>
                      <a:gd name="T0" fmla="*/ 20 w 20"/>
                      <a:gd name="T1" fmla="*/ 5 h 18"/>
                      <a:gd name="T2" fmla="*/ 20 w 20"/>
                      <a:gd name="T3" fmla="*/ 3 h 18"/>
                      <a:gd name="T4" fmla="*/ 18 w 20"/>
                      <a:gd name="T5" fmla="*/ 3 h 18"/>
                      <a:gd name="T6" fmla="*/ 17 w 20"/>
                      <a:gd name="T7" fmla="*/ 3 h 18"/>
                      <a:gd name="T8" fmla="*/ 17 w 20"/>
                      <a:gd name="T9" fmla="*/ 1 h 18"/>
                      <a:gd name="T10" fmla="*/ 15 w 20"/>
                      <a:gd name="T11" fmla="*/ 1 h 18"/>
                      <a:gd name="T12" fmla="*/ 13 w 20"/>
                      <a:gd name="T13" fmla="*/ 1 h 18"/>
                      <a:gd name="T14" fmla="*/ 12 w 20"/>
                      <a:gd name="T15" fmla="*/ 1 h 18"/>
                      <a:gd name="T16" fmla="*/ 10 w 20"/>
                      <a:gd name="T17" fmla="*/ 0 h 18"/>
                      <a:gd name="T18" fmla="*/ 8 w 20"/>
                      <a:gd name="T19" fmla="*/ 0 h 18"/>
                      <a:gd name="T20" fmla="*/ 8 w 20"/>
                      <a:gd name="T21" fmla="*/ 1 h 18"/>
                      <a:gd name="T22" fmla="*/ 7 w 20"/>
                      <a:gd name="T23" fmla="*/ 1 h 18"/>
                      <a:gd name="T24" fmla="*/ 5 w 20"/>
                      <a:gd name="T25" fmla="*/ 1 h 18"/>
                      <a:gd name="T26" fmla="*/ 3 w 20"/>
                      <a:gd name="T27" fmla="*/ 1 h 18"/>
                      <a:gd name="T28" fmla="*/ 3 w 20"/>
                      <a:gd name="T29" fmla="*/ 3 h 18"/>
                      <a:gd name="T30" fmla="*/ 3 w 20"/>
                      <a:gd name="T31" fmla="*/ 5 h 18"/>
                      <a:gd name="T32" fmla="*/ 1 w 20"/>
                      <a:gd name="T33" fmla="*/ 5 h 18"/>
                      <a:gd name="T34" fmla="*/ 0 w 20"/>
                      <a:gd name="T35" fmla="*/ 5 h 18"/>
                      <a:gd name="T36" fmla="*/ 0 w 20"/>
                      <a:gd name="T37" fmla="*/ 6 h 18"/>
                      <a:gd name="T38" fmla="*/ 1 w 20"/>
                      <a:gd name="T39" fmla="*/ 8 h 18"/>
                      <a:gd name="T40" fmla="*/ 0 w 20"/>
                      <a:gd name="T41" fmla="*/ 8 h 18"/>
                      <a:gd name="T42" fmla="*/ 0 w 20"/>
                      <a:gd name="T43" fmla="*/ 10 h 18"/>
                      <a:gd name="T44" fmla="*/ 1 w 20"/>
                      <a:gd name="T45" fmla="*/ 10 h 18"/>
                      <a:gd name="T46" fmla="*/ 3 w 20"/>
                      <a:gd name="T47" fmla="*/ 10 h 18"/>
                      <a:gd name="T48" fmla="*/ 3 w 20"/>
                      <a:gd name="T49" fmla="*/ 11 h 18"/>
                      <a:gd name="T50" fmla="*/ 1 w 20"/>
                      <a:gd name="T51" fmla="*/ 13 h 18"/>
                      <a:gd name="T52" fmla="*/ 1 w 20"/>
                      <a:gd name="T53" fmla="*/ 15 h 18"/>
                      <a:gd name="T54" fmla="*/ 1 w 20"/>
                      <a:gd name="T55" fmla="*/ 16 h 18"/>
                      <a:gd name="T56" fmla="*/ 1 w 20"/>
                      <a:gd name="T57" fmla="*/ 18 h 18"/>
                      <a:gd name="T58" fmla="*/ 3 w 20"/>
                      <a:gd name="T59" fmla="*/ 16 h 18"/>
                      <a:gd name="T60" fmla="*/ 5 w 20"/>
                      <a:gd name="T61" fmla="*/ 16 h 18"/>
                      <a:gd name="T62" fmla="*/ 7 w 20"/>
                      <a:gd name="T63" fmla="*/ 15 h 18"/>
                      <a:gd name="T64" fmla="*/ 7 w 20"/>
                      <a:gd name="T65" fmla="*/ 13 h 18"/>
                      <a:gd name="T66" fmla="*/ 8 w 20"/>
                      <a:gd name="T67" fmla="*/ 10 h 18"/>
                      <a:gd name="T68" fmla="*/ 8 w 20"/>
                      <a:gd name="T69" fmla="*/ 8 h 18"/>
                      <a:gd name="T70" fmla="*/ 10 w 20"/>
                      <a:gd name="T71" fmla="*/ 8 h 18"/>
                      <a:gd name="T72" fmla="*/ 12 w 20"/>
                      <a:gd name="T73" fmla="*/ 8 h 18"/>
                      <a:gd name="T74" fmla="*/ 13 w 20"/>
                      <a:gd name="T75" fmla="*/ 8 h 18"/>
                      <a:gd name="T76" fmla="*/ 15 w 20"/>
                      <a:gd name="T77" fmla="*/ 8 h 18"/>
                      <a:gd name="T78" fmla="*/ 17 w 20"/>
                      <a:gd name="T79" fmla="*/ 6 h 18"/>
                      <a:gd name="T80" fmla="*/ 18 w 20"/>
                      <a:gd name="T81" fmla="*/ 6 h 18"/>
                      <a:gd name="T82" fmla="*/ 20 w 20"/>
                      <a:gd name="T83" fmla="*/ 5 h 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</a:cxnLst>
                    <a:rect l="0" t="0" r="r" b="b"/>
                    <a:pathLst>
                      <a:path w="20" h="18">
                        <a:moveTo>
                          <a:pt x="20" y="5"/>
                        </a:moveTo>
                        <a:lnTo>
                          <a:pt x="20" y="3"/>
                        </a:lnTo>
                        <a:lnTo>
                          <a:pt x="18" y="3"/>
                        </a:lnTo>
                        <a:lnTo>
                          <a:pt x="17" y="3"/>
                        </a:lnTo>
                        <a:lnTo>
                          <a:pt x="17" y="1"/>
                        </a:lnTo>
                        <a:lnTo>
                          <a:pt x="15" y="1"/>
                        </a:lnTo>
                        <a:lnTo>
                          <a:pt x="13" y="1"/>
                        </a:lnTo>
                        <a:lnTo>
                          <a:pt x="12" y="1"/>
                        </a:lnTo>
                        <a:lnTo>
                          <a:pt x="10" y="0"/>
                        </a:lnTo>
                        <a:lnTo>
                          <a:pt x="8" y="0"/>
                        </a:lnTo>
                        <a:lnTo>
                          <a:pt x="8" y="1"/>
                        </a:lnTo>
                        <a:lnTo>
                          <a:pt x="7" y="1"/>
                        </a:lnTo>
                        <a:lnTo>
                          <a:pt x="5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1" y="8"/>
                        </a:lnTo>
                        <a:lnTo>
                          <a:pt x="0" y="8"/>
                        </a:lnTo>
                        <a:lnTo>
                          <a:pt x="0" y="10"/>
                        </a:lnTo>
                        <a:lnTo>
                          <a:pt x="1" y="10"/>
                        </a:lnTo>
                        <a:lnTo>
                          <a:pt x="3" y="10"/>
                        </a:lnTo>
                        <a:lnTo>
                          <a:pt x="3" y="11"/>
                        </a:lnTo>
                        <a:lnTo>
                          <a:pt x="1" y="13"/>
                        </a:lnTo>
                        <a:lnTo>
                          <a:pt x="1" y="15"/>
                        </a:lnTo>
                        <a:lnTo>
                          <a:pt x="1" y="16"/>
                        </a:lnTo>
                        <a:lnTo>
                          <a:pt x="1" y="18"/>
                        </a:lnTo>
                        <a:lnTo>
                          <a:pt x="3" y="16"/>
                        </a:lnTo>
                        <a:lnTo>
                          <a:pt x="5" y="16"/>
                        </a:lnTo>
                        <a:lnTo>
                          <a:pt x="7" y="15"/>
                        </a:lnTo>
                        <a:lnTo>
                          <a:pt x="7" y="13"/>
                        </a:lnTo>
                        <a:lnTo>
                          <a:pt x="8" y="10"/>
                        </a:lnTo>
                        <a:lnTo>
                          <a:pt x="8" y="8"/>
                        </a:lnTo>
                        <a:lnTo>
                          <a:pt x="10" y="8"/>
                        </a:lnTo>
                        <a:lnTo>
                          <a:pt x="12" y="8"/>
                        </a:lnTo>
                        <a:lnTo>
                          <a:pt x="13" y="8"/>
                        </a:lnTo>
                        <a:lnTo>
                          <a:pt x="15" y="8"/>
                        </a:lnTo>
                        <a:lnTo>
                          <a:pt x="17" y="6"/>
                        </a:lnTo>
                        <a:lnTo>
                          <a:pt x="18" y="6"/>
                        </a:lnTo>
                        <a:lnTo>
                          <a:pt x="20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84" name="Freeform 358">
                    <a:extLst>
                      <a:ext uri="{FF2B5EF4-FFF2-40B4-BE49-F238E27FC236}">
                        <a16:creationId xmlns:a16="http://schemas.microsoft.com/office/drawing/2014/main" id="{A17D7C01-BE90-4742-B925-AA3542A1E41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1" y="317"/>
                    <a:ext cx="20" cy="18"/>
                  </a:xfrm>
                  <a:custGeom>
                    <a:avLst/>
                    <a:gdLst>
                      <a:gd name="T0" fmla="*/ 20 w 20"/>
                      <a:gd name="T1" fmla="*/ 5 h 18"/>
                      <a:gd name="T2" fmla="*/ 20 w 20"/>
                      <a:gd name="T3" fmla="*/ 3 h 18"/>
                      <a:gd name="T4" fmla="*/ 18 w 20"/>
                      <a:gd name="T5" fmla="*/ 3 h 18"/>
                      <a:gd name="T6" fmla="*/ 17 w 20"/>
                      <a:gd name="T7" fmla="*/ 3 h 18"/>
                      <a:gd name="T8" fmla="*/ 17 w 20"/>
                      <a:gd name="T9" fmla="*/ 1 h 18"/>
                      <a:gd name="T10" fmla="*/ 15 w 20"/>
                      <a:gd name="T11" fmla="*/ 1 h 18"/>
                      <a:gd name="T12" fmla="*/ 13 w 20"/>
                      <a:gd name="T13" fmla="*/ 1 h 18"/>
                      <a:gd name="T14" fmla="*/ 12 w 20"/>
                      <a:gd name="T15" fmla="*/ 1 h 18"/>
                      <a:gd name="T16" fmla="*/ 10 w 20"/>
                      <a:gd name="T17" fmla="*/ 0 h 18"/>
                      <a:gd name="T18" fmla="*/ 8 w 20"/>
                      <a:gd name="T19" fmla="*/ 0 h 18"/>
                      <a:gd name="T20" fmla="*/ 8 w 20"/>
                      <a:gd name="T21" fmla="*/ 1 h 18"/>
                      <a:gd name="T22" fmla="*/ 7 w 20"/>
                      <a:gd name="T23" fmla="*/ 1 h 18"/>
                      <a:gd name="T24" fmla="*/ 5 w 20"/>
                      <a:gd name="T25" fmla="*/ 1 h 18"/>
                      <a:gd name="T26" fmla="*/ 3 w 20"/>
                      <a:gd name="T27" fmla="*/ 1 h 18"/>
                      <a:gd name="T28" fmla="*/ 3 w 20"/>
                      <a:gd name="T29" fmla="*/ 3 h 18"/>
                      <a:gd name="T30" fmla="*/ 3 w 20"/>
                      <a:gd name="T31" fmla="*/ 5 h 18"/>
                      <a:gd name="T32" fmla="*/ 1 w 20"/>
                      <a:gd name="T33" fmla="*/ 5 h 18"/>
                      <a:gd name="T34" fmla="*/ 0 w 20"/>
                      <a:gd name="T35" fmla="*/ 5 h 18"/>
                      <a:gd name="T36" fmla="*/ 0 w 20"/>
                      <a:gd name="T37" fmla="*/ 6 h 18"/>
                      <a:gd name="T38" fmla="*/ 1 w 20"/>
                      <a:gd name="T39" fmla="*/ 8 h 18"/>
                      <a:gd name="T40" fmla="*/ 0 w 20"/>
                      <a:gd name="T41" fmla="*/ 8 h 18"/>
                      <a:gd name="T42" fmla="*/ 0 w 20"/>
                      <a:gd name="T43" fmla="*/ 10 h 18"/>
                      <a:gd name="T44" fmla="*/ 1 w 20"/>
                      <a:gd name="T45" fmla="*/ 10 h 18"/>
                      <a:gd name="T46" fmla="*/ 3 w 20"/>
                      <a:gd name="T47" fmla="*/ 10 h 18"/>
                      <a:gd name="T48" fmla="*/ 3 w 20"/>
                      <a:gd name="T49" fmla="*/ 11 h 18"/>
                      <a:gd name="T50" fmla="*/ 1 w 20"/>
                      <a:gd name="T51" fmla="*/ 13 h 18"/>
                      <a:gd name="T52" fmla="*/ 1 w 20"/>
                      <a:gd name="T53" fmla="*/ 15 h 18"/>
                      <a:gd name="T54" fmla="*/ 1 w 20"/>
                      <a:gd name="T55" fmla="*/ 16 h 18"/>
                      <a:gd name="T56" fmla="*/ 1 w 20"/>
                      <a:gd name="T57" fmla="*/ 18 h 18"/>
                      <a:gd name="T58" fmla="*/ 3 w 20"/>
                      <a:gd name="T59" fmla="*/ 16 h 18"/>
                      <a:gd name="T60" fmla="*/ 5 w 20"/>
                      <a:gd name="T61" fmla="*/ 16 h 18"/>
                      <a:gd name="T62" fmla="*/ 7 w 20"/>
                      <a:gd name="T63" fmla="*/ 15 h 18"/>
                      <a:gd name="T64" fmla="*/ 7 w 20"/>
                      <a:gd name="T65" fmla="*/ 13 h 18"/>
                      <a:gd name="T66" fmla="*/ 8 w 20"/>
                      <a:gd name="T67" fmla="*/ 10 h 18"/>
                      <a:gd name="T68" fmla="*/ 8 w 20"/>
                      <a:gd name="T69" fmla="*/ 8 h 18"/>
                      <a:gd name="T70" fmla="*/ 10 w 20"/>
                      <a:gd name="T71" fmla="*/ 8 h 18"/>
                      <a:gd name="T72" fmla="*/ 12 w 20"/>
                      <a:gd name="T73" fmla="*/ 8 h 18"/>
                      <a:gd name="T74" fmla="*/ 13 w 20"/>
                      <a:gd name="T75" fmla="*/ 8 h 18"/>
                      <a:gd name="T76" fmla="*/ 15 w 20"/>
                      <a:gd name="T77" fmla="*/ 8 h 18"/>
                      <a:gd name="T78" fmla="*/ 17 w 20"/>
                      <a:gd name="T79" fmla="*/ 6 h 18"/>
                      <a:gd name="T80" fmla="*/ 18 w 20"/>
                      <a:gd name="T81" fmla="*/ 6 h 18"/>
                      <a:gd name="T82" fmla="*/ 20 w 20"/>
                      <a:gd name="T83" fmla="*/ 5 h 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</a:cxnLst>
                    <a:rect l="0" t="0" r="r" b="b"/>
                    <a:pathLst>
                      <a:path w="20" h="18">
                        <a:moveTo>
                          <a:pt x="20" y="5"/>
                        </a:moveTo>
                        <a:lnTo>
                          <a:pt x="20" y="3"/>
                        </a:lnTo>
                        <a:lnTo>
                          <a:pt x="18" y="3"/>
                        </a:lnTo>
                        <a:lnTo>
                          <a:pt x="17" y="3"/>
                        </a:lnTo>
                        <a:lnTo>
                          <a:pt x="17" y="1"/>
                        </a:lnTo>
                        <a:lnTo>
                          <a:pt x="15" y="1"/>
                        </a:lnTo>
                        <a:lnTo>
                          <a:pt x="13" y="1"/>
                        </a:lnTo>
                        <a:lnTo>
                          <a:pt x="12" y="1"/>
                        </a:lnTo>
                        <a:lnTo>
                          <a:pt x="10" y="0"/>
                        </a:lnTo>
                        <a:lnTo>
                          <a:pt x="8" y="0"/>
                        </a:lnTo>
                        <a:lnTo>
                          <a:pt x="8" y="1"/>
                        </a:lnTo>
                        <a:lnTo>
                          <a:pt x="7" y="1"/>
                        </a:lnTo>
                        <a:lnTo>
                          <a:pt x="5" y="1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1" y="8"/>
                        </a:lnTo>
                        <a:lnTo>
                          <a:pt x="0" y="8"/>
                        </a:lnTo>
                        <a:lnTo>
                          <a:pt x="0" y="10"/>
                        </a:lnTo>
                        <a:lnTo>
                          <a:pt x="1" y="10"/>
                        </a:lnTo>
                        <a:lnTo>
                          <a:pt x="3" y="10"/>
                        </a:lnTo>
                        <a:lnTo>
                          <a:pt x="3" y="11"/>
                        </a:lnTo>
                        <a:lnTo>
                          <a:pt x="1" y="13"/>
                        </a:lnTo>
                        <a:lnTo>
                          <a:pt x="1" y="15"/>
                        </a:lnTo>
                        <a:lnTo>
                          <a:pt x="1" y="16"/>
                        </a:lnTo>
                        <a:lnTo>
                          <a:pt x="1" y="18"/>
                        </a:lnTo>
                        <a:lnTo>
                          <a:pt x="3" y="16"/>
                        </a:lnTo>
                        <a:lnTo>
                          <a:pt x="5" y="16"/>
                        </a:lnTo>
                        <a:lnTo>
                          <a:pt x="7" y="15"/>
                        </a:lnTo>
                        <a:lnTo>
                          <a:pt x="7" y="13"/>
                        </a:lnTo>
                        <a:lnTo>
                          <a:pt x="8" y="10"/>
                        </a:lnTo>
                        <a:lnTo>
                          <a:pt x="8" y="8"/>
                        </a:lnTo>
                        <a:lnTo>
                          <a:pt x="10" y="8"/>
                        </a:lnTo>
                        <a:lnTo>
                          <a:pt x="12" y="8"/>
                        </a:lnTo>
                        <a:lnTo>
                          <a:pt x="13" y="8"/>
                        </a:lnTo>
                        <a:lnTo>
                          <a:pt x="15" y="8"/>
                        </a:lnTo>
                        <a:lnTo>
                          <a:pt x="17" y="6"/>
                        </a:lnTo>
                        <a:lnTo>
                          <a:pt x="18" y="6"/>
                        </a:lnTo>
                        <a:lnTo>
                          <a:pt x="20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80" name="Group 1979">
                  <a:extLst>
                    <a:ext uri="{FF2B5EF4-FFF2-40B4-BE49-F238E27FC236}">
                      <a16:creationId xmlns:a16="http://schemas.microsoft.com/office/drawing/2014/main" id="{856AC0C8-1A1D-E142-AFF4-2FAEF99ACDD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96" y="306"/>
                  <a:ext cx="12" cy="9"/>
                  <a:chOff x="496" y="306"/>
                  <a:chExt cx="12" cy="9"/>
                </a:xfrm>
              </p:grpSpPr>
              <p:sp>
                <p:nvSpPr>
                  <p:cNvPr id="1981" name="Freeform 355">
                    <a:extLst>
                      <a:ext uri="{FF2B5EF4-FFF2-40B4-BE49-F238E27FC236}">
                        <a16:creationId xmlns:a16="http://schemas.microsoft.com/office/drawing/2014/main" id="{5D76BD95-ED77-AF4D-8F90-8DA03BE3739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6" y="306"/>
                    <a:ext cx="12" cy="9"/>
                  </a:xfrm>
                  <a:custGeom>
                    <a:avLst/>
                    <a:gdLst>
                      <a:gd name="T0" fmla="*/ 8 w 12"/>
                      <a:gd name="T1" fmla="*/ 7 h 9"/>
                      <a:gd name="T2" fmla="*/ 10 w 12"/>
                      <a:gd name="T3" fmla="*/ 7 h 9"/>
                      <a:gd name="T4" fmla="*/ 12 w 12"/>
                      <a:gd name="T5" fmla="*/ 5 h 9"/>
                      <a:gd name="T6" fmla="*/ 12 w 12"/>
                      <a:gd name="T7" fmla="*/ 4 h 9"/>
                      <a:gd name="T8" fmla="*/ 10 w 12"/>
                      <a:gd name="T9" fmla="*/ 4 h 9"/>
                      <a:gd name="T10" fmla="*/ 8 w 12"/>
                      <a:gd name="T11" fmla="*/ 2 h 9"/>
                      <a:gd name="T12" fmla="*/ 8 w 12"/>
                      <a:gd name="T13" fmla="*/ 0 h 9"/>
                      <a:gd name="T14" fmla="*/ 7 w 12"/>
                      <a:gd name="T15" fmla="*/ 0 h 9"/>
                      <a:gd name="T16" fmla="*/ 5 w 12"/>
                      <a:gd name="T17" fmla="*/ 0 h 9"/>
                      <a:gd name="T18" fmla="*/ 5 w 12"/>
                      <a:gd name="T19" fmla="*/ 2 h 9"/>
                      <a:gd name="T20" fmla="*/ 3 w 12"/>
                      <a:gd name="T21" fmla="*/ 2 h 9"/>
                      <a:gd name="T22" fmla="*/ 3 w 12"/>
                      <a:gd name="T23" fmla="*/ 4 h 9"/>
                      <a:gd name="T24" fmla="*/ 2 w 12"/>
                      <a:gd name="T25" fmla="*/ 4 h 9"/>
                      <a:gd name="T26" fmla="*/ 0 w 12"/>
                      <a:gd name="T27" fmla="*/ 4 h 9"/>
                      <a:gd name="T28" fmla="*/ 0 w 12"/>
                      <a:gd name="T29" fmla="*/ 5 h 9"/>
                      <a:gd name="T30" fmla="*/ 2 w 12"/>
                      <a:gd name="T31" fmla="*/ 5 h 9"/>
                      <a:gd name="T32" fmla="*/ 3 w 12"/>
                      <a:gd name="T33" fmla="*/ 5 h 9"/>
                      <a:gd name="T34" fmla="*/ 5 w 12"/>
                      <a:gd name="T35" fmla="*/ 5 h 9"/>
                      <a:gd name="T36" fmla="*/ 5 w 12"/>
                      <a:gd name="T37" fmla="*/ 7 h 9"/>
                      <a:gd name="T38" fmla="*/ 7 w 12"/>
                      <a:gd name="T39" fmla="*/ 9 h 9"/>
                      <a:gd name="T40" fmla="*/ 8 w 12"/>
                      <a:gd name="T41" fmla="*/ 9 h 9"/>
                      <a:gd name="T42" fmla="*/ 8 w 12"/>
                      <a:gd name="T43" fmla="*/ 7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12" h="9">
                        <a:moveTo>
                          <a:pt x="8" y="7"/>
                        </a:moveTo>
                        <a:lnTo>
                          <a:pt x="10" y="7"/>
                        </a:lnTo>
                        <a:lnTo>
                          <a:pt x="12" y="5"/>
                        </a:lnTo>
                        <a:lnTo>
                          <a:pt x="12" y="4"/>
                        </a:lnTo>
                        <a:lnTo>
                          <a:pt x="10" y="4"/>
                        </a:lnTo>
                        <a:lnTo>
                          <a:pt x="8" y="2"/>
                        </a:lnTo>
                        <a:lnTo>
                          <a:pt x="8" y="0"/>
                        </a:lnTo>
                        <a:lnTo>
                          <a:pt x="7" y="0"/>
                        </a:lnTo>
                        <a:lnTo>
                          <a:pt x="5" y="0"/>
                        </a:lnTo>
                        <a:lnTo>
                          <a:pt x="5" y="2"/>
                        </a:lnTo>
                        <a:lnTo>
                          <a:pt x="3" y="2"/>
                        </a:lnTo>
                        <a:lnTo>
                          <a:pt x="3" y="4"/>
                        </a:lnTo>
                        <a:lnTo>
                          <a:pt x="2" y="4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5" y="5"/>
                        </a:lnTo>
                        <a:lnTo>
                          <a:pt x="5" y="7"/>
                        </a:lnTo>
                        <a:lnTo>
                          <a:pt x="7" y="9"/>
                        </a:lnTo>
                        <a:lnTo>
                          <a:pt x="8" y="9"/>
                        </a:lnTo>
                        <a:lnTo>
                          <a:pt x="8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82" name="Freeform 356">
                    <a:extLst>
                      <a:ext uri="{FF2B5EF4-FFF2-40B4-BE49-F238E27FC236}">
                        <a16:creationId xmlns:a16="http://schemas.microsoft.com/office/drawing/2014/main" id="{4CA7226D-02AB-8B44-AC50-07B96449B6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6" y="306"/>
                    <a:ext cx="12" cy="9"/>
                  </a:xfrm>
                  <a:custGeom>
                    <a:avLst/>
                    <a:gdLst>
                      <a:gd name="T0" fmla="*/ 8 w 12"/>
                      <a:gd name="T1" fmla="*/ 7 h 9"/>
                      <a:gd name="T2" fmla="*/ 10 w 12"/>
                      <a:gd name="T3" fmla="*/ 7 h 9"/>
                      <a:gd name="T4" fmla="*/ 12 w 12"/>
                      <a:gd name="T5" fmla="*/ 5 h 9"/>
                      <a:gd name="T6" fmla="*/ 12 w 12"/>
                      <a:gd name="T7" fmla="*/ 4 h 9"/>
                      <a:gd name="T8" fmla="*/ 10 w 12"/>
                      <a:gd name="T9" fmla="*/ 4 h 9"/>
                      <a:gd name="T10" fmla="*/ 8 w 12"/>
                      <a:gd name="T11" fmla="*/ 2 h 9"/>
                      <a:gd name="T12" fmla="*/ 8 w 12"/>
                      <a:gd name="T13" fmla="*/ 0 h 9"/>
                      <a:gd name="T14" fmla="*/ 7 w 12"/>
                      <a:gd name="T15" fmla="*/ 0 h 9"/>
                      <a:gd name="T16" fmla="*/ 5 w 12"/>
                      <a:gd name="T17" fmla="*/ 0 h 9"/>
                      <a:gd name="T18" fmla="*/ 5 w 12"/>
                      <a:gd name="T19" fmla="*/ 2 h 9"/>
                      <a:gd name="T20" fmla="*/ 3 w 12"/>
                      <a:gd name="T21" fmla="*/ 2 h 9"/>
                      <a:gd name="T22" fmla="*/ 3 w 12"/>
                      <a:gd name="T23" fmla="*/ 4 h 9"/>
                      <a:gd name="T24" fmla="*/ 2 w 12"/>
                      <a:gd name="T25" fmla="*/ 4 h 9"/>
                      <a:gd name="T26" fmla="*/ 0 w 12"/>
                      <a:gd name="T27" fmla="*/ 4 h 9"/>
                      <a:gd name="T28" fmla="*/ 0 w 12"/>
                      <a:gd name="T29" fmla="*/ 5 h 9"/>
                      <a:gd name="T30" fmla="*/ 2 w 12"/>
                      <a:gd name="T31" fmla="*/ 5 h 9"/>
                      <a:gd name="T32" fmla="*/ 3 w 12"/>
                      <a:gd name="T33" fmla="*/ 5 h 9"/>
                      <a:gd name="T34" fmla="*/ 5 w 12"/>
                      <a:gd name="T35" fmla="*/ 5 h 9"/>
                      <a:gd name="T36" fmla="*/ 5 w 12"/>
                      <a:gd name="T37" fmla="*/ 7 h 9"/>
                      <a:gd name="T38" fmla="*/ 7 w 12"/>
                      <a:gd name="T39" fmla="*/ 9 h 9"/>
                      <a:gd name="T40" fmla="*/ 8 w 12"/>
                      <a:gd name="T41" fmla="*/ 9 h 9"/>
                      <a:gd name="T42" fmla="*/ 8 w 12"/>
                      <a:gd name="T43" fmla="*/ 7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12" h="9">
                        <a:moveTo>
                          <a:pt x="8" y="7"/>
                        </a:moveTo>
                        <a:lnTo>
                          <a:pt x="10" y="7"/>
                        </a:lnTo>
                        <a:lnTo>
                          <a:pt x="12" y="5"/>
                        </a:lnTo>
                        <a:lnTo>
                          <a:pt x="12" y="4"/>
                        </a:lnTo>
                        <a:lnTo>
                          <a:pt x="10" y="4"/>
                        </a:lnTo>
                        <a:lnTo>
                          <a:pt x="8" y="2"/>
                        </a:lnTo>
                        <a:lnTo>
                          <a:pt x="8" y="0"/>
                        </a:lnTo>
                        <a:lnTo>
                          <a:pt x="7" y="0"/>
                        </a:lnTo>
                        <a:lnTo>
                          <a:pt x="5" y="0"/>
                        </a:lnTo>
                        <a:lnTo>
                          <a:pt x="5" y="2"/>
                        </a:lnTo>
                        <a:lnTo>
                          <a:pt x="3" y="2"/>
                        </a:lnTo>
                        <a:lnTo>
                          <a:pt x="3" y="4"/>
                        </a:lnTo>
                        <a:lnTo>
                          <a:pt x="2" y="4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5" y="5"/>
                        </a:lnTo>
                        <a:lnTo>
                          <a:pt x="5" y="7"/>
                        </a:lnTo>
                        <a:lnTo>
                          <a:pt x="7" y="9"/>
                        </a:lnTo>
                        <a:lnTo>
                          <a:pt x="8" y="9"/>
                        </a:lnTo>
                        <a:lnTo>
                          <a:pt x="8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646" name="Group 1645">
                <a:extLst>
                  <a:ext uri="{FF2B5EF4-FFF2-40B4-BE49-F238E27FC236}">
                    <a16:creationId xmlns:a16="http://schemas.microsoft.com/office/drawing/2014/main" id="{0F468989-5C78-814E-BBE4-84C8E03506D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4" y="231"/>
                <a:ext cx="17" cy="21"/>
                <a:chOff x="44" y="231"/>
                <a:chExt cx="17" cy="21"/>
              </a:xfrm>
            </p:grpSpPr>
            <p:grpSp>
              <p:nvGrpSpPr>
                <p:cNvPr id="1960" name="Group 1959">
                  <a:extLst>
                    <a:ext uri="{FF2B5EF4-FFF2-40B4-BE49-F238E27FC236}">
                      <a16:creationId xmlns:a16="http://schemas.microsoft.com/office/drawing/2014/main" id="{9456E1C0-5963-854B-83A2-BF3048AB1AEC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4" y="236"/>
                  <a:ext cx="7" cy="1"/>
                  <a:chOff x="44" y="236"/>
                  <a:chExt cx="7" cy="1"/>
                </a:xfrm>
              </p:grpSpPr>
              <p:sp>
                <p:nvSpPr>
                  <p:cNvPr id="1976" name="Freeform 350">
                    <a:extLst>
                      <a:ext uri="{FF2B5EF4-FFF2-40B4-BE49-F238E27FC236}">
                        <a16:creationId xmlns:a16="http://schemas.microsoft.com/office/drawing/2014/main" id="{0D899418-F120-854C-9503-08D05152B48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" y="236"/>
                    <a:ext cx="7" cy="1"/>
                  </a:xfrm>
                  <a:custGeom>
                    <a:avLst/>
                    <a:gdLst>
                      <a:gd name="T0" fmla="*/ 5 w 7"/>
                      <a:gd name="T1" fmla="*/ 1 h 1"/>
                      <a:gd name="T2" fmla="*/ 3 w 7"/>
                      <a:gd name="T3" fmla="*/ 1 h 1"/>
                      <a:gd name="T4" fmla="*/ 2 w 7"/>
                      <a:gd name="T5" fmla="*/ 1 h 1"/>
                      <a:gd name="T6" fmla="*/ 0 w 7"/>
                      <a:gd name="T7" fmla="*/ 0 h 1"/>
                      <a:gd name="T8" fmla="*/ 2 w 7"/>
                      <a:gd name="T9" fmla="*/ 0 h 1"/>
                      <a:gd name="T10" fmla="*/ 3 w 7"/>
                      <a:gd name="T11" fmla="*/ 0 h 1"/>
                      <a:gd name="T12" fmla="*/ 5 w 7"/>
                      <a:gd name="T13" fmla="*/ 0 h 1"/>
                      <a:gd name="T14" fmla="*/ 7 w 7"/>
                      <a:gd name="T15" fmla="*/ 1 h 1"/>
                      <a:gd name="T16" fmla="*/ 5 w 7"/>
                      <a:gd name="T17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7" h="1">
                        <a:moveTo>
                          <a:pt x="5" y="1"/>
                        </a:moveTo>
                        <a:lnTo>
                          <a:pt x="3" y="1"/>
                        </a:lnTo>
                        <a:lnTo>
                          <a:pt x="2" y="1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3" y="0"/>
                        </a:lnTo>
                        <a:lnTo>
                          <a:pt x="5" y="0"/>
                        </a:lnTo>
                        <a:lnTo>
                          <a:pt x="7" y="1"/>
                        </a:lnTo>
                        <a:lnTo>
                          <a:pt x="5" y="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77" name="Freeform 351">
                    <a:extLst>
                      <a:ext uri="{FF2B5EF4-FFF2-40B4-BE49-F238E27FC236}">
                        <a16:creationId xmlns:a16="http://schemas.microsoft.com/office/drawing/2014/main" id="{8ED9685E-A042-9D4C-BF5B-3F43A252A9B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" y="236"/>
                    <a:ext cx="7" cy="1"/>
                  </a:xfrm>
                  <a:custGeom>
                    <a:avLst/>
                    <a:gdLst>
                      <a:gd name="T0" fmla="*/ 5 w 7"/>
                      <a:gd name="T1" fmla="*/ 1 h 1"/>
                      <a:gd name="T2" fmla="*/ 3 w 7"/>
                      <a:gd name="T3" fmla="*/ 1 h 1"/>
                      <a:gd name="T4" fmla="*/ 2 w 7"/>
                      <a:gd name="T5" fmla="*/ 1 h 1"/>
                      <a:gd name="T6" fmla="*/ 0 w 7"/>
                      <a:gd name="T7" fmla="*/ 0 h 1"/>
                      <a:gd name="T8" fmla="*/ 2 w 7"/>
                      <a:gd name="T9" fmla="*/ 0 h 1"/>
                      <a:gd name="T10" fmla="*/ 3 w 7"/>
                      <a:gd name="T11" fmla="*/ 0 h 1"/>
                      <a:gd name="T12" fmla="*/ 5 w 7"/>
                      <a:gd name="T13" fmla="*/ 0 h 1"/>
                      <a:gd name="T14" fmla="*/ 7 w 7"/>
                      <a:gd name="T15" fmla="*/ 1 h 1"/>
                      <a:gd name="T16" fmla="*/ 5 w 7"/>
                      <a:gd name="T17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7" h="1">
                        <a:moveTo>
                          <a:pt x="5" y="1"/>
                        </a:moveTo>
                        <a:lnTo>
                          <a:pt x="3" y="1"/>
                        </a:lnTo>
                        <a:lnTo>
                          <a:pt x="2" y="1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3" y="0"/>
                        </a:lnTo>
                        <a:lnTo>
                          <a:pt x="5" y="0"/>
                        </a:lnTo>
                        <a:lnTo>
                          <a:pt x="7" y="1"/>
                        </a:lnTo>
                        <a:lnTo>
                          <a:pt x="5" y="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61" name="Group 1960">
                  <a:extLst>
                    <a:ext uri="{FF2B5EF4-FFF2-40B4-BE49-F238E27FC236}">
                      <a16:creationId xmlns:a16="http://schemas.microsoft.com/office/drawing/2014/main" id="{E6721F91-1563-8C41-8FD1-59E18BBD62C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7" y="232"/>
                  <a:ext cx="9" cy="7"/>
                  <a:chOff x="47" y="232"/>
                  <a:chExt cx="9" cy="7"/>
                </a:xfrm>
              </p:grpSpPr>
              <p:sp>
                <p:nvSpPr>
                  <p:cNvPr id="1974" name="Freeform 348">
                    <a:extLst>
                      <a:ext uri="{FF2B5EF4-FFF2-40B4-BE49-F238E27FC236}">
                        <a16:creationId xmlns:a16="http://schemas.microsoft.com/office/drawing/2014/main" id="{E9EEBE28-F869-D744-8E75-16073551BEB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" y="232"/>
                    <a:ext cx="9" cy="7"/>
                  </a:xfrm>
                  <a:custGeom>
                    <a:avLst/>
                    <a:gdLst>
                      <a:gd name="T0" fmla="*/ 7 w 9"/>
                      <a:gd name="T1" fmla="*/ 7 h 7"/>
                      <a:gd name="T2" fmla="*/ 5 w 9"/>
                      <a:gd name="T3" fmla="*/ 7 h 7"/>
                      <a:gd name="T4" fmla="*/ 5 w 9"/>
                      <a:gd name="T5" fmla="*/ 5 h 7"/>
                      <a:gd name="T6" fmla="*/ 4 w 9"/>
                      <a:gd name="T7" fmla="*/ 4 h 7"/>
                      <a:gd name="T8" fmla="*/ 2 w 9"/>
                      <a:gd name="T9" fmla="*/ 4 h 7"/>
                      <a:gd name="T10" fmla="*/ 0 w 9"/>
                      <a:gd name="T11" fmla="*/ 2 h 7"/>
                      <a:gd name="T12" fmla="*/ 0 w 9"/>
                      <a:gd name="T13" fmla="*/ 0 h 7"/>
                      <a:gd name="T14" fmla="*/ 2 w 9"/>
                      <a:gd name="T15" fmla="*/ 0 h 7"/>
                      <a:gd name="T16" fmla="*/ 5 w 9"/>
                      <a:gd name="T17" fmla="*/ 0 h 7"/>
                      <a:gd name="T18" fmla="*/ 5 w 9"/>
                      <a:gd name="T19" fmla="*/ 2 h 7"/>
                      <a:gd name="T20" fmla="*/ 7 w 9"/>
                      <a:gd name="T21" fmla="*/ 4 h 7"/>
                      <a:gd name="T22" fmla="*/ 9 w 9"/>
                      <a:gd name="T23" fmla="*/ 5 h 7"/>
                      <a:gd name="T24" fmla="*/ 9 w 9"/>
                      <a:gd name="T25" fmla="*/ 7 h 7"/>
                      <a:gd name="T26" fmla="*/ 7 w 9"/>
                      <a:gd name="T27" fmla="*/ 7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9" h="7">
                        <a:moveTo>
                          <a:pt x="7" y="7"/>
                        </a:moveTo>
                        <a:lnTo>
                          <a:pt x="5" y="7"/>
                        </a:lnTo>
                        <a:lnTo>
                          <a:pt x="5" y="5"/>
                        </a:lnTo>
                        <a:lnTo>
                          <a:pt x="4" y="4"/>
                        </a:lnTo>
                        <a:lnTo>
                          <a:pt x="2" y="4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5" y="0"/>
                        </a:lnTo>
                        <a:lnTo>
                          <a:pt x="5" y="2"/>
                        </a:lnTo>
                        <a:lnTo>
                          <a:pt x="7" y="4"/>
                        </a:lnTo>
                        <a:lnTo>
                          <a:pt x="9" y="5"/>
                        </a:lnTo>
                        <a:lnTo>
                          <a:pt x="9" y="7"/>
                        </a:lnTo>
                        <a:lnTo>
                          <a:pt x="7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75" name="Freeform 349">
                    <a:extLst>
                      <a:ext uri="{FF2B5EF4-FFF2-40B4-BE49-F238E27FC236}">
                        <a16:creationId xmlns:a16="http://schemas.microsoft.com/office/drawing/2014/main" id="{6592B423-DEE1-0844-9CC9-43E89FC1695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" y="232"/>
                    <a:ext cx="9" cy="7"/>
                  </a:xfrm>
                  <a:custGeom>
                    <a:avLst/>
                    <a:gdLst>
                      <a:gd name="T0" fmla="*/ 7 w 9"/>
                      <a:gd name="T1" fmla="*/ 7 h 7"/>
                      <a:gd name="T2" fmla="*/ 5 w 9"/>
                      <a:gd name="T3" fmla="*/ 7 h 7"/>
                      <a:gd name="T4" fmla="*/ 5 w 9"/>
                      <a:gd name="T5" fmla="*/ 5 h 7"/>
                      <a:gd name="T6" fmla="*/ 4 w 9"/>
                      <a:gd name="T7" fmla="*/ 4 h 7"/>
                      <a:gd name="T8" fmla="*/ 2 w 9"/>
                      <a:gd name="T9" fmla="*/ 4 h 7"/>
                      <a:gd name="T10" fmla="*/ 0 w 9"/>
                      <a:gd name="T11" fmla="*/ 2 h 7"/>
                      <a:gd name="T12" fmla="*/ 0 w 9"/>
                      <a:gd name="T13" fmla="*/ 0 h 7"/>
                      <a:gd name="T14" fmla="*/ 2 w 9"/>
                      <a:gd name="T15" fmla="*/ 0 h 7"/>
                      <a:gd name="T16" fmla="*/ 5 w 9"/>
                      <a:gd name="T17" fmla="*/ 0 h 7"/>
                      <a:gd name="T18" fmla="*/ 5 w 9"/>
                      <a:gd name="T19" fmla="*/ 2 h 7"/>
                      <a:gd name="T20" fmla="*/ 7 w 9"/>
                      <a:gd name="T21" fmla="*/ 4 h 7"/>
                      <a:gd name="T22" fmla="*/ 9 w 9"/>
                      <a:gd name="T23" fmla="*/ 5 h 7"/>
                      <a:gd name="T24" fmla="*/ 9 w 9"/>
                      <a:gd name="T25" fmla="*/ 7 h 7"/>
                      <a:gd name="T26" fmla="*/ 7 w 9"/>
                      <a:gd name="T27" fmla="*/ 7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9" h="7">
                        <a:moveTo>
                          <a:pt x="7" y="7"/>
                        </a:moveTo>
                        <a:lnTo>
                          <a:pt x="5" y="7"/>
                        </a:lnTo>
                        <a:lnTo>
                          <a:pt x="5" y="5"/>
                        </a:lnTo>
                        <a:lnTo>
                          <a:pt x="4" y="4"/>
                        </a:lnTo>
                        <a:lnTo>
                          <a:pt x="2" y="4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5" y="0"/>
                        </a:lnTo>
                        <a:lnTo>
                          <a:pt x="5" y="2"/>
                        </a:lnTo>
                        <a:lnTo>
                          <a:pt x="7" y="4"/>
                        </a:lnTo>
                        <a:lnTo>
                          <a:pt x="9" y="5"/>
                        </a:lnTo>
                        <a:lnTo>
                          <a:pt x="9" y="7"/>
                        </a:lnTo>
                        <a:lnTo>
                          <a:pt x="7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62" name="Group 1961">
                  <a:extLst>
                    <a:ext uri="{FF2B5EF4-FFF2-40B4-BE49-F238E27FC236}">
                      <a16:creationId xmlns:a16="http://schemas.microsoft.com/office/drawing/2014/main" id="{2A130613-9AC5-EF41-9028-AC947318701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1" y="231"/>
                  <a:ext cx="6" cy="6"/>
                  <a:chOff x="51" y="231"/>
                  <a:chExt cx="6" cy="6"/>
                </a:xfrm>
              </p:grpSpPr>
              <p:sp>
                <p:nvSpPr>
                  <p:cNvPr id="1972" name="Freeform 346">
                    <a:extLst>
                      <a:ext uri="{FF2B5EF4-FFF2-40B4-BE49-F238E27FC236}">
                        <a16:creationId xmlns:a16="http://schemas.microsoft.com/office/drawing/2014/main" id="{57B4FF85-3B85-AA44-9A40-AA38119B49B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" y="231"/>
                    <a:ext cx="6" cy="6"/>
                  </a:xfrm>
                  <a:custGeom>
                    <a:avLst/>
                    <a:gdLst>
                      <a:gd name="T0" fmla="*/ 5 w 6"/>
                      <a:gd name="T1" fmla="*/ 6 h 6"/>
                      <a:gd name="T2" fmla="*/ 3 w 6"/>
                      <a:gd name="T3" fmla="*/ 5 h 6"/>
                      <a:gd name="T4" fmla="*/ 3 w 6"/>
                      <a:gd name="T5" fmla="*/ 3 h 6"/>
                      <a:gd name="T6" fmla="*/ 1 w 6"/>
                      <a:gd name="T7" fmla="*/ 1 h 6"/>
                      <a:gd name="T8" fmla="*/ 0 w 6"/>
                      <a:gd name="T9" fmla="*/ 0 h 6"/>
                      <a:gd name="T10" fmla="*/ 1 w 6"/>
                      <a:gd name="T11" fmla="*/ 0 h 6"/>
                      <a:gd name="T12" fmla="*/ 1 w 6"/>
                      <a:gd name="T13" fmla="*/ 1 h 6"/>
                      <a:gd name="T14" fmla="*/ 3 w 6"/>
                      <a:gd name="T15" fmla="*/ 1 h 6"/>
                      <a:gd name="T16" fmla="*/ 5 w 6"/>
                      <a:gd name="T17" fmla="*/ 1 h 6"/>
                      <a:gd name="T18" fmla="*/ 5 w 6"/>
                      <a:gd name="T19" fmla="*/ 3 h 6"/>
                      <a:gd name="T20" fmla="*/ 6 w 6"/>
                      <a:gd name="T21" fmla="*/ 5 h 6"/>
                      <a:gd name="T22" fmla="*/ 6 w 6"/>
                      <a:gd name="T23" fmla="*/ 6 h 6"/>
                      <a:gd name="T24" fmla="*/ 5 w 6"/>
                      <a:gd name="T25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6" h="6">
                        <a:moveTo>
                          <a:pt x="5" y="6"/>
                        </a:moveTo>
                        <a:lnTo>
                          <a:pt x="3" y="5"/>
                        </a:lnTo>
                        <a:lnTo>
                          <a:pt x="3" y="3"/>
                        </a:lnTo>
                        <a:lnTo>
                          <a:pt x="1" y="1"/>
                        </a:ln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5" y="1"/>
                        </a:lnTo>
                        <a:lnTo>
                          <a:pt x="5" y="3"/>
                        </a:lnTo>
                        <a:lnTo>
                          <a:pt x="6" y="5"/>
                        </a:lnTo>
                        <a:lnTo>
                          <a:pt x="6" y="6"/>
                        </a:lnTo>
                        <a:lnTo>
                          <a:pt x="5" y="6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73" name="Freeform 347">
                    <a:extLst>
                      <a:ext uri="{FF2B5EF4-FFF2-40B4-BE49-F238E27FC236}">
                        <a16:creationId xmlns:a16="http://schemas.microsoft.com/office/drawing/2014/main" id="{70D0DFC1-AB75-A34B-962D-8AF3D6E5B9F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" y="231"/>
                    <a:ext cx="6" cy="6"/>
                  </a:xfrm>
                  <a:custGeom>
                    <a:avLst/>
                    <a:gdLst>
                      <a:gd name="T0" fmla="*/ 5 w 6"/>
                      <a:gd name="T1" fmla="*/ 6 h 6"/>
                      <a:gd name="T2" fmla="*/ 3 w 6"/>
                      <a:gd name="T3" fmla="*/ 5 h 6"/>
                      <a:gd name="T4" fmla="*/ 3 w 6"/>
                      <a:gd name="T5" fmla="*/ 3 h 6"/>
                      <a:gd name="T6" fmla="*/ 1 w 6"/>
                      <a:gd name="T7" fmla="*/ 1 h 6"/>
                      <a:gd name="T8" fmla="*/ 0 w 6"/>
                      <a:gd name="T9" fmla="*/ 0 h 6"/>
                      <a:gd name="T10" fmla="*/ 1 w 6"/>
                      <a:gd name="T11" fmla="*/ 0 h 6"/>
                      <a:gd name="T12" fmla="*/ 1 w 6"/>
                      <a:gd name="T13" fmla="*/ 1 h 6"/>
                      <a:gd name="T14" fmla="*/ 3 w 6"/>
                      <a:gd name="T15" fmla="*/ 1 h 6"/>
                      <a:gd name="T16" fmla="*/ 5 w 6"/>
                      <a:gd name="T17" fmla="*/ 1 h 6"/>
                      <a:gd name="T18" fmla="*/ 5 w 6"/>
                      <a:gd name="T19" fmla="*/ 3 h 6"/>
                      <a:gd name="T20" fmla="*/ 6 w 6"/>
                      <a:gd name="T21" fmla="*/ 5 h 6"/>
                      <a:gd name="T22" fmla="*/ 6 w 6"/>
                      <a:gd name="T23" fmla="*/ 6 h 6"/>
                      <a:gd name="T24" fmla="*/ 5 w 6"/>
                      <a:gd name="T25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6" h="6">
                        <a:moveTo>
                          <a:pt x="5" y="6"/>
                        </a:moveTo>
                        <a:lnTo>
                          <a:pt x="3" y="5"/>
                        </a:lnTo>
                        <a:lnTo>
                          <a:pt x="3" y="3"/>
                        </a:lnTo>
                        <a:lnTo>
                          <a:pt x="1" y="1"/>
                        </a:ln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3" y="1"/>
                        </a:lnTo>
                        <a:lnTo>
                          <a:pt x="5" y="1"/>
                        </a:lnTo>
                        <a:lnTo>
                          <a:pt x="5" y="3"/>
                        </a:lnTo>
                        <a:lnTo>
                          <a:pt x="6" y="5"/>
                        </a:lnTo>
                        <a:lnTo>
                          <a:pt x="6" y="6"/>
                        </a:lnTo>
                        <a:lnTo>
                          <a:pt x="5" y="6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63" name="Group 1962">
                  <a:extLst>
                    <a:ext uri="{FF2B5EF4-FFF2-40B4-BE49-F238E27FC236}">
                      <a16:creationId xmlns:a16="http://schemas.microsoft.com/office/drawing/2014/main" id="{44F1B41A-116B-5A4E-A06A-7A7117BEA3D7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7" y="231"/>
                  <a:ext cx="4" cy="3"/>
                  <a:chOff x="57" y="231"/>
                  <a:chExt cx="4" cy="3"/>
                </a:xfrm>
              </p:grpSpPr>
              <p:sp>
                <p:nvSpPr>
                  <p:cNvPr id="1970" name="Freeform 344">
                    <a:extLst>
                      <a:ext uri="{FF2B5EF4-FFF2-40B4-BE49-F238E27FC236}">
                        <a16:creationId xmlns:a16="http://schemas.microsoft.com/office/drawing/2014/main" id="{AEAAC16C-D1D9-704C-9FAF-5B92355C5A2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7" y="231"/>
                    <a:ext cx="4" cy="3"/>
                  </a:xfrm>
                  <a:custGeom>
                    <a:avLst/>
                    <a:gdLst>
                      <a:gd name="T0" fmla="*/ 2 w 4"/>
                      <a:gd name="T1" fmla="*/ 1 h 3"/>
                      <a:gd name="T2" fmla="*/ 2 w 4"/>
                      <a:gd name="T3" fmla="*/ 3 h 3"/>
                      <a:gd name="T4" fmla="*/ 0 w 4"/>
                      <a:gd name="T5" fmla="*/ 3 h 3"/>
                      <a:gd name="T6" fmla="*/ 0 w 4"/>
                      <a:gd name="T7" fmla="*/ 1 h 3"/>
                      <a:gd name="T8" fmla="*/ 0 w 4"/>
                      <a:gd name="T9" fmla="*/ 0 h 3"/>
                      <a:gd name="T10" fmla="*/ 2 w 4"/>
                      <a:gd name="T11" fmla="*/ 0 h 3"/>
                      <a:gd name="T12" fmla="*/ 2 w 4"/>
                      <a:gd name="T13" fmla="*/ 1 h 3"/>
                      <a:gd name="T14" fmla="*/ 4 w 4"/>
                      <a:gd name="T15" fmla="*/ 1 h 3"/>
                      <a:gd name="T16" fmla="*/ 2 w 4"/>
                      <a:gd name="T17" fmla="*/ 1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" h="3">
                        <a:moveTo>
                          <a:pt x="2" y="1"/>
                        </a:moveTo>
                        <a:lnTo>
                          <a:pt x="2" y="3"/>
                        </a:ln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2" y="1"/>
                        </a:lnTo>
                        <a:lnTo>
                          <a:pt x="4" y="1"/>
                        </a:lnTo>
                        <a:lnTo>
                          <a:pt x="2" y="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71" name="Freeform 345">
                    <a:extLst>
                      <a:ext uri="{FF2B5EF4-FFF2-40B4-BE49-F238E27FC236}">
                        <a16:creationId xmlns:a16="http://schemas.microsoft.com/office/drawing/2014/main" id="{71FD35EC-2595-A242-8D04-5A347A75562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7" y="231"/>
                    <a:ext cx="4" cy="3"/>
                  </a:xfrm>
                  <a:custGeom>
                    <a:avLst/>
                    <a:gdLst>
                      <a:gd name="T0" fmla="*/ 2 w 4"/>
                      <a:gd name="T1" fmla="*/ 1 h 3"/>
                      <a:gd name="T2" fmla="*/ 2 w 4"/>
                      <a:gd name="T3" fmla="*/ 3 h 3"/>
                      <a:gd name="T4" fmla="*/ 0 w 4"/>
                      <a:gd name="T5" fmla="*/ 3 h 3"/>
                      <a:gd name="T6" fmla="*/ 0 w 4"/>
                      <a:gd name="T7" fmla="*/ 1 h 3"/>
                      <a:gd name="T8" fmla="*/ 0 w 4"/>
                      <a:gd name="T9" fmla="*/ 0 h 3"/>
                      <a:gd name="T10" fmla="*/ 2 w 4"/>
                      <a:gd name="T11" fmla="*/ 0 h 3"/>
                      <a:gd name="T12" fmla="*/ 2 w 4"/>
                      <a:gd name="T13" fmla="*/ 1 h 3"/>
                      <a:gd name="T14" fmla="*/ 4 w 4"/>
                      <a:gd name="T15" fmla="*/ 1 h 3"/>
                      <a:gd name="T16" fmla="*/ 2 w 4"/>
                      <a:gd name="T17" fmla="*/ 1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" h="3">
                        <a:moveTo>
                          <a:pt x="2" y="1"/>
                        </a:moveTo>
                        <a:lnTo>
                          <a:pt x="2" y="3"/>
                        </a:ln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2" y="1"/>
                        </a:lnTo>
                        <a:lnTo>
                          <a:pt x="4" y="1"/>
                        </a:lnTo>
                        <a:lnTo>
                          <a:pt x="2" y="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64" name="Group 1963">
                  <a:extLst>
                    <a:ext uri="{FF2B5EF4-FFF2-40B4-BE49-F238E27FC236}">
                      <a16:creationId xmlns:a16="http://schemas.microsoft.com/office/drawing/2014/main" id="{3862879D-B801-6A49-A83A-558B8D2F6C67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4" y="241"/>
                  <a:ext cx="3" cy="3"/>
                  <a:chOff x="54" y="241"/>
                  <a:chExt cx="3" cy="3"/>
                </a:xfrm>
              </p:grpSpPr>
              <p:sp>
                <p:nvSpPr>
                  <p:cNvPr id="1968" name="Freeform 342">
                    <a:extLst>
                      <a:ext uri="{FF2B5EF4-FFF2-40B4-BE49-F238E27FC236}">
                        <a16:creationId xmlns:a16="http://schemas.microsoft.com/office/drawing/2014/main" id="{0A5D86A6-2C5F-F34B-A785-BB8ECC38E18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" y="241"/>
                    <a:ext cx="3" cy="3"/>
                  </a:xfrm>
                  <a:custGeom>
                    <a:avLst/>
                    <a:gdLst>
                      <a:gd name="T0" fmla="*/ 3 w 3"/>
                      <a:gd name="T1" fmla="*/ 3 h 3"/>
                      <a:gd name="T2" fmla="*/ 2 w 3"/>
                      <a:gd name="T3" fmla="*/ 3 h 3"/>
                      <a:gd name="T4" fmla="*/ 2 w 3"/>
                      <a:gd name="T5" fmla="*/ 1 h 3"/>
                      <a:gd name="T6" fmla="*/ 0 w 3"/>
                      <a:gd name="T7" fmla="*/ 1 h 3"/>
                      <a:gd name="T8" fmla="*/ 2 w 3"/>
                      <a:gd name="T9" fmla="*/ 0 h 3"/>
                      <a:gd name="T10" fmla="*/ 3 w 3"/>
                      <a:gd name="T11" fmla="*/ 1 h 3"/>
                      <a:gd name="T12" fmla="*/ 3 w 3"/>
                      <a:gd name="T13" fmla="*/ 3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" h="3">
                        <a:moveTo>
                          <a:pt x="3" y="3"/>
                        </a:moveTo>
                        <a:lnTo>
                          <a:pt x="2" y="3"/>
                        </a:lnTo>
                        <a:lnTo>
                          <a:pt x="2" y="1"/>
                        </a:lnTo>
                        <a:lnTo>
                          <a:pt x="0" y="1"/>
                        </a:lnTo>
                        <a:lnTo>
                          <a:pt x="2" y="0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69" name="Freeform 343">
                    <a:extLst>
                      <a:ext uri="{FF2B5EF4-FFF2-40B4-BE49-F238E27FC236}">
                        <a16:creationId xmlns:a16="http://schemas.microsoft.com/office/drawing/2014/main" id="{083DB9FA-20D4-D142-ADFD-3707EBBC85D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" y="241"/>
                    <a:ext cx="3" cy="3"/>
                  </a:xfrm>
                  <a:custGeom>
                    <a:avLst/>
                    <a:gdLst>
                      <a:gd name="T0" fmla="*/ 3 w 3"/>
                      <a:gd name="T1" fmla="*/ 3 h 3"/>
                      <a:gd name="T2" fmla="*/ 2 w 3"/>
                      <a:gd name="T3" fmla="*/ 3 h 3"/>
                      <a:gd name="T4" fmla="*/ 2 w 3"/>
                      <a:gd name="T5" fmla="*/ 1 h 3"/>
                      <a:gd name="T6" fmla="*/ 0 w 3"/>
                      <a:gd name="T7" fmla="*/ 1 h 3"/>
                      <a:gd name="T8" fmla="*/ 2 w 3"/>
                      <a:gd name="T9" fmla="*/ 0 h 3"/>
                      <a:gd name="T10" fmla="*/ 3 w 3"/>
                      <a:gd name="T11" fmla="*/ 1 h 3"/>
                      <a:gd name="T12" fmla="*/ 3 w 3"/>
                      <a:gd name="T13" fmla="*/ 3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" h="3">
                        <a:moveTo>
                          <a:pt x="3" y="3"/>
                        </a:moveTo>
                        <a:lnTo>
                          <a:pt x="2" y="3"/>
                        </a:lnTo>
                        <a:lnTo>
                          <a:pt x="2" y="1"/>
                        </a:lnTo>
                        <a:lnTo>
                          <a:pt x="0" y="1"/>
                        </a:lnTo>
                        <a:lnTo>
                          <a:pt x="2" y="0"/>
                        </a:lnTo>
                        <a:lnTo>
                          <a:pt x="3" y="1"/>
                        </a:lnTo>
                        <a:lnTo>
                          <a:pt x="3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65" name="Group 1964">
                  <a:extLst>
                    <a:ext uri="{FF2B5EF4-FFF2-40B4-BE49-F238E27FC236}">
                      <a16:creationId xmlns:a16="http://schemas.microsoft.com/office/drawing/2014/main" id="{FAE0C39E-6770-0E47-AAB2-BD10752D020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2" y="247"/>
                  <a:ext cx="4" cy="5"/>
                  <a:chOff x="52" y="247"/>
                  <a:chExt cx="4" cy="5"/>
                </a:xfrm>
              </p:grpSpPr>
              <p:sp>
                <p:nvSpPr>
                  <p:cNvPr id="1966" name="Freeform 340">
                    <a:extLst>
                      <a:ext uri="{FF2B5EF4-FFF2-40B4-BE49-F238E27FC236}">
                        <a16:creationId xmlns:a16="http://schemas.microsoft.com/office/drawing/2014/main" id="{4D08B272-5E75-8345-86E4-B891DC01665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" y="247"/>
                    <a:ext cx="4" cy="5"/>
                  </a:xfrm>
                  <a:custGeom>
                    <a:avLst/>
                    <a:gdLst>
                      <a:gd name="T0" fmla="*/ 2 w 4"/>
                      <a:gd name="T1" fmla="*/ 2 h 5"/>
                      <a:gd name="T2" fmla="*/ 4 w 4"/>
                      <a:gd name="T3" fmla="*/ 2 h 5"/>
                      <a:gd name="T4" fmla="*/ 4 w 4"/>
                      <a:gd name="T5" fmla="*/ 4 h 5"/>
                      <a:gd name="T6" fmla="*/ 4 w 4"/>
                      <a:gd name="T7" fmla="*/ 5 h 5"/>
                      <a:gd name="T8" fmla="*/ 2 w 4"/>
                      <a:gd name="T9" fmla="*/ 5 h 5"/>
                      <a:gd name="T10" fmla="*/ 0 w 4"/>
                      <a:gd name="T11" fmla="*/ 4 h 5"/>
                      <a:gd name="T12" fmla="*/ 0 w 4"/>
                      <a:gd name="T13" fmla="*/ 2 h 5"/>
                      <a:gd name="T14" fmla="*/ 0 w 4"/>
                      <a:gd name="T15" fmla="*/ 0 h 5"/>
                      <a:gd name="T16" fmla="*/ 2 w 4"/>
                      <a:gd name="T17" fmla="*/ 2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" h="5">
                        <a:moveTo>
                          <a:pt x="2" y="2"/>
                        </a:moveTo>
                        <a:lnTo>
                          <a:pt x="4" y="2"/>
                        </a:lnTo>
                        <a:lnTo>
                          <a:pt x="4" y="4"/>
                        </a:lnTo>
                        <a:lnTo>
                          <a:pt x="4" y="5"/>
                        </a:lnTo>
                        <a:lnTo>
                          <a:pt x="2" y="5"/>
                        </a:lnTo>
                        <a:lnTo>
                          <a:pt x="0" y="4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2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67" name="Freeform 341">
                    <a:extLst>
                      <a:ext uri="{FF2B5EF4-FFF2-40B4-BE49-F238E27FC236}">
                        <a16:creationId xmlns:a16="http://schemas.microsoft.com/office/drawing/2014/main" id="{1ABA7DDB-DB92-1543-B4BF-F38DD8F2928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" y="247"/>
                    <a:ext cx="4" cy="5"/>
                  </a:xfrm>
                  <a:custGeom>
                    <a:avLst/>
                    <a:gdLst>
                      <a:gd name="T0" fmla="*/ 2 w 4"/>
                      <a:gd name="T1" fmla="*/ 2 h 5"/>
                      <a:gd name="T2" fmla="*/ 4 w 4"/>
                      <a:gd name="T3" fmla="*/ 2 h 5"/>
                      <a:gd name="T4" fmla="*/ 4 w 4"/>
                      <a:gd name="T5" fmla="*/ 4 h 5"/>
                      <a:gd name="T6" fmla="*/ 4 w 4"/>
                      <a:gd name="T7" fmla="*/ 5 h 5"/>
                      <a:gd name="T8" fmla="*/ 2 w 4"/>
                      <a:gd name="T9" fmla="*/ 5 h 5"/>
                      <a:gd name="T10" fmla="*/ 0 w 4"/>
                      <a:gd name="T11" fmla="*/ 4 h 5"/>
                      <a:gd name="T12" fmla="*/ 0 w 4"/>
                      <a:gd name="T13" fmla="*/ 2 h 5"/>
                      <a:gd name="T14" fmla="*/ 0 w 4"/>
                      <a:gd name="T15" fmla="*/ 0 h 5"/>
                      <a:gd name="T16" fmla="*/ 2 w 4"/>
                      <a:gd name="T17" fmla="*/ 2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" h="5">
                        <a:moveTo>
                          <a:pt x="2" y="2"/>
                        </a:moveTo>
                        <a:lnTo>
                          <a:pt x="4" y="2"/>
                        </a:lnTo>
                        <a:lnTo>
                          <a:pt x="4" y="4"/>
                        </a:lnTo>
                        <a:lnTo>
                          <a:pt x="4" y="5"/>
                        </a:lnTo>
                        <a:lnTo>
                          <a:pt x="2" y="5"/>
                        </a:lnTo>
                        <a:lnTo>
                          <a:pt x="0" y="4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2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647" name="Group 1646">
                <a:extLst>
                  <a:ext uri="{FF2B5EF4-FFF2-40B4-BE49-F238E27FC236}">
                    <a16:creationId xmlns:a16="http://schemas.microsoft.com/office/drawing/2014/main" id="{B9FD006A-D832-0D42-96E9-5A59160222E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67" y="30"/>
                <a:ext cx="184" cy="260"/>
                <a:chOff x="467" y="30"/>
                <a:chExt cx="184" cy="260"/>
              </a:xfrm>
            </p:grpSpPr>
            <p:grpSp>
              <p:nvGrpSpPr>
                <p:cNvPr id="1948" name="Group 1947">
                  <a:extLst>
                    <a:ext uri="{FF2B5EF4-FFF2-40B4-BE49-F238E27FC236}">
                      <a16:creationId xmlns:a16="http://schemas.microsoft.com/office/drawing/2014/main" id="{B7A0B245-3DEF-CB42-9AD0-E2F997051783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82" y="30"/>
                  <a:ext cx="169" cy="260"/>
                  <a:chOff x="482" y="30"/>
                  <a:chExt cx="169" cy="260"/>
                </a:xfrm>
              </p:grpSpPr>
              <p:sp>
                <p:nvSpPr>
                  <p:cNvPr id="1958" name="Freeform 332">
                    <a:extLst>
                      <a:ext uri="{FF2B5EF4-FFF2-40B4-BE49-F238E27FC236}">
                        <a16:creationId xmlns:a16="http://schemas.microsoft.com/office/drawing/2014/main" id="{7BADA805-6339-9940-B83C-C111DABDF3A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82" y="30"/>
                    <a:ext cx="169" cy="260"/>
                  </a:xfrm>
                  <a:custGeom>
                    <a:avLst/>
                    <a:gdLst>
                      <a:gd name="T0" fmla="*/ 140 w 169"/>
                      <a:gd name="T1" fmla="*/ 222 h 260"/>
                      <a:gd name="T2" fmla="*/ 164 w 169"/>
                      <a:gd name="T3" fmla="*/ 199 h 260"/>
                      <a:gd name="T4" fmla="*/ 167 w 169"/>
                      <a:gd name="T5" fmla="*/ 184 h 260"/>
                      <a:gd name="T6" fmla="*/ 161 w 169"/>
                      <a:gd name="T7" fmla="*/ 175 h 260"/>
                      <a:gd name="T8" fmla="*/ 152 w 169"/>
                      <a:gd name="T9" fmla="*/ 163 h 260"/>
                      <a:gd name="T10" fmla="*/ 150 w 169"/>
                      <a:gd name="T11" fmla="*/ 147 h 260"/>
                      <a:gd name="T12" fmla="*/ 145 w 169"/>
                      <a:gd name="T13" fmla="*/ 131 h 260"/>
                      <a:gd name="T14" fmla="*/ 149 w 169"/>
                      <a:gd name="T15" fmla="*/ 116 h 260"/>
                      <a:gd name="T16" fmla="*/ 145 w 169"/>
                      <a:gd name="T17" fmla="*/ 104 h 260"/>
                      <a:gd name="T18" fmla="*/ 135 w 169"/>
                      <a:gd name="T19" fmla="*/ 88 h 260"/>
                      <a:gd name="T20" fmla="*/ 145 w 169"/>
                      <a:gd name="T21" fmla="*/ 69 h 260"/>
                      <a:gd name="T22" fmla="*/ 140 w 169"/>
                      <a:gd name="T23" fmla="*/ 57 h 260"/>
                      <a:gd name="T24" fmla="*/ 125 w 169"/>
                      <a:gd name="T25" fmla="*/ 49 h 260"/>
                      <a:gd name="T26" fmla="*/ 127 w 169"/>
                      <a:gd name="T27" fmla="*/ 34 h 260"/>
                      <a:gd name="T28" fmla="*/ 134 w 169"/>
                      <a:gd name="T29" fmla="*/ 27 h 260"/>
                      <a:gd name="T30" fmla="*/ 135 w 169"/>
                      <a:gd name="T31" fmla="*/ 18 h 260"/>
                      <a:gd name="T32" fmla="*/ 134 w 169"/>
                      <a:gd name="T33" fmla="*/ 10 h 260"/>
                      <a:gd name="T34" fmla="*/ 122 w 169"/>
                      <a:gd name="T35" fmla="*/ 3 h 260"/>
                      <a:gd name="T36" fmla="*/ 110 w 169"/>
                      <a:gd name="T37" fmla="*/ 0 h 260"/>
                      <a:gd name="T38" fmla="*/ 91 w 169"/>
                      <a:gd name="T39" fmla="*/ 3 h 260"/>
                      <a:gd name="T40" fmla="*/ 81 w 169"/>
                      <a:gd name="T41" fmla="*/ 15 h 260"/>
                      <a:gd name="T42" fmla="*/ 81 w 169"/>
                      <a:gd name="T43" fmla="*/ 27 h 260"/>
                      <a:gd name="T44" fmla="*/ 68 w 169"/>
                      <a:gd name="T45" fmla="*/ 37 h 260"/>
                      <a:gd name="T46" fmla="*/ 54 w 169"/>
                      <a:gd name="T47" fmla="*/ 32 h 260"/>
                      <a:gd name="T48" fmla="*/ 41 w 169"/>
                      <a:gd name="T49" fmla="*/ 37 h 260"/>
                      <a:gd name="T50" fmla="*/ 27 w 169"/>
                      <a:gd name="T51" fmla="*/ 30 h 260"/>
                      <a:gd name="T52" fmla="*/ 10 w 169"/>
                      <a:gd name="T53" fmla="*/ 20 h 260"/>
                      <a:gd name="T54" fmla="*/ 4 w 169"/>
                      <a:gd name="T55" fmla="*/ 25 h 260"/>
                      <a:gd name="T56" fmla="*/ 5 w 169"/>
                      <a:gd name="T57" fmla="*/ 30 h 260"/>
                      <a:gd name="T58" fmla="*/ 27 w 169"/>
                      <a:gd name="T59" fmla="*/ 42 h 260"/>
                      <a:gd name="T60" fmla="*/ 46 w 169"/>
                      <a:gd name="T61" fmla="*/ 57 h 260"/>
                      <a:gd name="T62" fmla="*/ 46 w 169"/>
                      <a:gd name="T63" fmla="*/ 71 h 260"/>
                      <a:gd name="T64" fmla="*/ 46 w 169"/>
                      <a:gd name="T65" fmla="*/ 81 h 260"/>
                      <a:gd name="T66" fmla="*/ 53 w 169"/>
                      <a:gd name="T67" fmla="*/ 94 h 260"/>
                      <a:gd name="T68" fmla="*/ 54 w 169"/>
                      <a:gd name="T69" fmla="*/ 110 h 260"/>
                      <a:gd name="T70" fmla="*/ 61 w 169"/>
                      <a:gd name="T71" fmla="*/ 113 h 260"/>
                      <a:gd name="T72" fmla="*/ 71 w 169"/>
                      <a:gd name="T73" fmla="*/ 120 h 260"/>
                      <a:gd name="T74" fmla="*/ 75 w 169"/>
                      <a:gd name="T75" fmla="*/ 128 h 260"/>
                      <a:gd name="T76" fmla="*/ 75 w 169"/>
                      <a:gd name="T77" fmla="*/ 135 h 260"/>
                      <a:gd name="T78" fmla="*/ 66 w 169"/>
                      <a:gd name="T79" fmla="*/ 138 h 260"/>
                      <a:gd name="T80" fmla="*/ 54 w 169"/>
                      <a:gd name="T81" fmla="*/ 152 h 260"/>
                      <a:gd name="T82" fmla="*/ 41 w 169"/>
                      <a:gd name="T83" fmla="*/ 163 h 260"/>
                      <a:gd name="T84" fmla="*/ 29 w 169"/>
                      <a:gd name="T85" fmla="*/ 175 h 260"/>
                      <a:gd name="T86" fmla="*/ 17 w 169"/>
                      <a:gd name="T87" fmla="*/ 179 h 260"/>
                      <a:gd name="T88" fmla="*/ 12 w 169"/>
                      <a:gd name="T89" fmla="*/ 184 h 260"/>
                      <a:gd name="T90" fmla="*/ 7 w 169"/>
                      <a:gd name="T91" fmla="*/ 190 h 260"/>
                      <a:gd name="T92" fmla="*/ 9 w 169"/>
                      <a:gd name="T93" fmla="*/ 202 h 260"/>
                      <a:gd name="T94" fmla="*/ 12 w 169"/>
                      <a:gd name="T95" fmla="*/ 212 h 260"/>
                      <a:gd name="T96" fmla="*/ 14 w 169"/>
                      <a:gd name="T97" fmla="*/ 219 h 260"/>
                      <a:gd name="T98" fmla="*/ 12 w 169"/>
                      <a:gd name="T99" fmla="*/ 226 h 260"/>
                      <a:gd name="T100" fmla="*/ 10 w 169"/>
                      <a:gd name="T101" fmla="*/ 233 h 260"/>
                      <a:gd name="T102" fmla="*/ 16 w 169"/>
                      <a:gd name="T103" fmla="*/ 241 h 260"/>
                      <a:gd name="T104" fmla="*/ 27 w 169"/>
                      <a:gd name="T105" fmla="*/ 244 h 260"/>
                      <a:gd name="T106" fmla="*/ 34 w 169"/>
                      <a:gd name="T107" fmla="*/ 248 h 260"/>
                      <a:gd name="T108" fmla="*/ 39 w 169"/>
                      <a:gd name="T109" fmla="*/ 256 h 260"/>
                      <a:gd name="T110" fmla="*/ 41 w 169"/>
                      <a:gd name="T111" fmla="*/ 256 h 260"/>
                      <a:gd name="T112" fmla="*/ 51 w 169"/>
                      <a:gd name="T113" fmla="*/ 255 h 260"/>
                      <a:gd name="T114" fmla="*/ 61 w 169"/>
                      <a:gd name="T115" fmla="*/ 251 h 260"/>
                      <a:gd name="T116" fmla="*/ 71 w 169"/>
                      <a:gd name="T117" fmla="*/ 249 h 260"/>
                      <a:gd name="T118" fmla="*/ 80 w 169"/>
                      <a:gd name="T119" fmla="*/ 248 h 260"/>
                      <a:gd name="T120" fmla="*/ 85 w 169"/>
                      <a:gd name="T121" fmla="*/ 246 h 260"/>
                      <a:gd name="T122" fmla="*/ 96 w 169"/>
                      <a:gd name="T123" fmla="*/ 243 h 260"/>
                      <a:gd name="T124" fmla="*/ 110 w 169"/>
                      <a:gd name="T125" fmla="*/ 241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169" h="260">
                        <a:moveTo>
                          <a:pt x="115" y="239"/>
                        </a:moveTo>
                        <a:lnTo>
                          <a:pt x="120" y="236"/>
                        </a:lnTo>
                        <a:lnTo>
                          <a:pt x="127" y="231"/>
                        </a:lnTo>
                        <a:lnTo>
                          <a:pt x="135" y="226"/>
                        </a:lnTo>
                        <a:lnTo>
                          <a:pt x="140" y="222"/>
                        </a:lnTo>
                        <a:lnTo>
                          <a:pt x="145" y="217"/>
                        </a:lnTo>
                        <a:lnTo>
                          <a:pt x="150" y="212"/>
                        </a:lnTo>
                        <a:lnTo>
                          <a:pt x="155" y="207"/>
                        </a:lnTo>
                        <a:lnTo>
                          <a:pt x="161" y="202"/>
                        </a:lnTo>
                        <a:lnTo>
                          <a:pt x="164" y="199"/>
                        </a:lnTo>
                        <a:lnTo>
                          <a:pt x="167" y="194"/>
                        </a:lnTo>
                        <a:lnTo>
                          <a:pt x="169" y="190"/>
                        </a:lnTo>
                        <a:lnTo>
                          <a:pt x="169" y="187"/>
                        </a:lnTo>
                        <a:lnTo>
                          <a:pt x="169" y="184"/>
                        </a:lnTo>
                        <a:lnTo>
                          <a:pt x="167" y="184"/>
                        </a:lnTo>
                        <a:lnTo>
                          <a:pt x="166" y="182"/>
                        </a:lnTo>
                        <a:lnTo>
                          <a:pt x="166" y="180"/>
                        </a:lnTo>
                        <a:lnTo>
                          <a:pt x="164" y="180"/>
                        </a:lnTo>
                        <a:lnTo>
                          <a:pt x="164" y="177"/>
                        </a:lnTo>
                        <a:lnTo>
                          <a:pt x="161" y="175"/>
                        </a:lnTo>
                        <a:lnTo>
                          <a:pt x="159" y="174"/>
                        </a:lnTo>
                        <a:lnTo>
                          <a:pt x="155" y="172"/>
                        </a:lnTo>
                        <a:lnTo>
                          <a:pt x="152" y="170"/>
                        </a:lnTo>
                        <a:lnTo>
                          <a:pt x="150" y="167"/>
                        </a:lnTo>
                        <a:lnTo>
                          <a:pt x="152" y="163"/>
                        </a:lnTo>
                        <a:lnTo>
                          <a:pt x="155" y="160"/>
                        </a:lnTo>
                        <a:lnTo>
                          <a:pt x="157" y="157"/>
                        </a:lnTo>
                        <a:lnTo>
                          <a:pt x="157" y="153"/>
                        </a:lnTo>
                        <a:lnTo>
                          <a:pt x="152" y="150"/>
                        </a:lnTo>
                        <a:lnTo>
                          <a:pt x="150" y="147"/>
                        </a:lnTo>
                        <a:lnTo>
                          <a:pt x="150" y="143"/>
                        </a:lnTo>
                        <a:lnTo>
                          <a:pt x="149" y="140"/>
                        </a:lnTo>
                        <a:lnTo>
                          <a:pt x="144" y="138"/>
                        </a:lnTo>
                        <a:lnTo>
                          <a:pt x="144" y="135"/>
                        </a:lnTo>
                        <a:lnTo>
                          <a:pt x="145" y="131"/>
                        </a:lnTo>
                        <a:lnTo>
                          <a:pt x="145" y="128"/>
                        </a:lnTo>
                        <a:lnTo>
                          <a:pt x="144" y="126"/>
                        </a:lnTo>
                        <a:lnTo>
                          <a:pt x="145" y="123"/>
                        </a:lnTo>
                        <a:lnTo>
                          <a:pt x="145" y="120"/>
                        </a:lnTo>
                        <a:lnTo>
                          <a:pt x="149" y="116"/>
                        </a:lnTo>
                        <a:lnTo>
                          <a:pt x="150" y="116"/>
                        </a:lnTo>
                        <a:lnTo>
                          <a:pt x="149" y="115"/>
                        </a:lnTo>
                        <a:lnTo>
                          <a:pt x="149" y="111"/>
                        </a:lnTo>
                        <a:lnTo>
                          <a:pt x="147" y="108"/>
                        </a:lnTo>
                        <a:lnTo>
                          <a:pt x="145" y="104"/>
                        </a:lnTo>
                        <a:lnTo>
                          <a:pt x="142" y="101"/>
                        </a:lnTo>
                        <a:lnTo>
                          <a:pt x="140" y="99"/>
                        </a:lnTo>
                        <a:lnTo>
                          <a:pt x="140" y="96"/>
                        </a:lnTo>
                        <a:lnTo>
                          <a:pt x="139" y="93"/>
                        </a:lnTo>
                        <a:lnTo>
                          <a:pt x="135" y="88"/>
                        </a:lnTo>
                        <a:lnTo>
                          <a:pt x="135" y="84"/>
                        </a:lnTo>
                        <a:lnTo>
                          <a:pt x="137" y="83"/>
                        </a:lnTo>
                        <a:lnTo>
                          <a:pt x="140" y="78"/>
                        </a:lnTo>
                        <a:lnTo>
                          <a:pt x="142" y="74"/>
                        </a:lnTo>
                        <a:lnTo>
                          <a:pt x="145" y="69"/>
                        </a:lnTo>
                        <a:lnTo>
                          <a:pt x="147" y="67"/>
                        </a:lnTo>
                        <a:lnTo>
                          <a:pt x="147" y="66"/>
                        </a:lnTo>
                        <a:lnTo>
                          <a:pt x="147" y="62"/>
                        </a:lnTo>
                        <a:lnTo>
                          <a:pt x="144" y="61"/>
                        </a:lnTo>
                        <a:lnTo>
                          <a:pt x="140" y="57"/>
                        </a:lnTo>
                        <a:lnTo>
                          <a:pt x="139" y="54"/>
                        </a:lnTo>
                        <a:lnTo>
                          <a:pt x="134" y="52"/>
                        </a:lnTo>
                        <a:lnTo>
                          <a:pt x="130" y="52"/>
                        </a:lnTo>
                        <a:lnTo>
                          <a:pt x="127" y="51"/>
                        </a:lnTo>
                        <a:lnTo>
                          <a:pt x="125" y="49"/>
                        </a:lnTo>
                        <a:lnTo>
                          <a:pt x="123" y="45"/>
                        </a:lnTo>
                        <a:lnTo>
                          <a:pt x="123" y="40"/>
                        </a:lnTo>
                        <a:lnTo>
                          <a:pt x="123" y="39"/>
                        </a:lnTo>
                        <a:lnTo>
                          <a:pt x="125" y="37"/>
                        </a:lnTo>
                        <a:lnTo>
                          <a:pt x="127" y="34"/>
                        </a:lnTo>
                        <a:lnTo>
                          <a:pt x="125" y="32"/>
                        </a:lnTo>
                        <a:lnTo>
                          <a:pt x="127" y="30"/>
                        </a:lnTo>
                        <a:lnTo>
                          <a:pt x="128" y="30"/>
                        </a:lnTo>
                        <a:lnTo>
                          <a:pt x="132" y="29"/>
                        </a:lnTo>
                        <a:lnTo>
                          <a:pt x="134" y="27"/>
                        </a:lnTo>
                        <a:lnTo>
                          <a:pt x="130" y="25"/>
                        </a:lnTo>
                        <a:lnTo>
                          <a:pt x="130" y="24"/>
                        </a:lnTo>
                        <a:lnTo>
                          <a:pt x="130" y="22"/>
                        </a:lnTo>
                        <a:lnTo>
                          <a:pt x="134" y="20"/>
                        </a:lnTo>
                        <a:lnTo>
                          <a:pt x="135" y="18"/>
                        </a:lnTo>
                        <a:lnTo>
                          <a:pt x="137" y="18"/>
                        </a:lnTo>
                        <a:lnTo>
                          <a:pt x="137" y="17"/>
                        </a:lnTo>
                        <a:lnTo>
                          <a:pt x="137" y="15"/>
                        </a:lnTo>
                        <a:lnTo>
                          <a:pt x="135" y="12"/>
                        </a:lnTo>
                        <a:lnTo>
                          <a:pt x="134" y="10"/>
                        </a:lnTo>
                        <a:lnTo>
                          <a:pt x="132" y="8"/>
                        </a:lnTo>
                        <a:lnTo>
                          <a:pt x="128" y="7"/>
                        </a:lnTo>
                        <a:lnTo>
                          <a:pt x="127" y="7"/>
                        </a:lnTo>
                        <a:lnTo>
                          <a:pt x="123" y="5"/>
                        </a:lnTo>
                        <a:lnTo>
                          <a:pt x="122" y="3"/>
                        </a:lnTo>
                        <a:lnTo>
                          <a:pt x="120" y="2"/>
                        </a:lnTo>
                        <a:lnTo>
                          <a:pt x="118" y="0"/>
                        </a:lnTo>
                        <a:lnTo>
                          <a:pt x="117" y="0"/>
                        </a:lnTo>
                        <a:lnTo>
                          <a:pt x="113" y="0"/>
                        </a:lnTo>
                        <a:lnTo>
                          <a:pt x="110" y="0"/>
                        </a:lnTo>
                        <a:lnTo>
                          <a:pt x="107" y="2"/>
                        </a:lnTo>
                        <a:lnTo>
                          <a:pt x="103" y="3"/>
                        </a:lnTo>
                        <a:lnTo>
                          <a:pt x="100" y="3"/>
                        </a:lnTo>
                        <a:lnTo>
                          <a:pt x="95" y="3"/>
                        </a:lnTo>
                        <a:lnTo>
                          <a:pt x="91" y="3"/>
                        </a:lnTo>
                        <a:lnTo>
                          <a:pt x="88" y="5"/>
                        </a:lnTo>
                        <a:lnTo>
                          <a:pt x="85" y="7"/>
                        </a:lnTo>
                        <a:lnTo>
                          <a:pt x="83" y="10"/>
                        </a:lnTo>
                        <a:lnTo>
                          <a:pt x="81" y="13"/>
                        </a:lnTo>
                        <a:lnTo>
                          <a:pt x="81" y="15"/>
                        </a:lnTo>
                        <a:lnTo>
                          <a:pt x="81" y="18"/>
                        </a:lnTo>
                        <a:lnTo>
                          <a:pt x="81" y="20"/>
                        </a:lnTo>
                        <a:lnTo>
                          <a:pt x="81" y="24"/>
                        </a:lnTo>
                        <a:lnTo>
                          <a:pt x="81" y="25"/>
                        </a:lnTo>
                        <a:lnTo>
                          <a:pt x="81" y="27"/>
                        </a:lnTo>
                        <a:lnTo>
                          <a:pt x="81" y="29"/>
                        </a:lnTo>
                        <a:lnTo>
                          <a:pt x="76" y="30"/>
                        </a:lnTo>
                        <a:lnTo>
                          <a:pt x="73" y="32"/>
                        </a:lnTo>
                        <a:lnTo>
                          <a:pt x="71" y="35"/>
                        </a:lnTo>
                        <a:lnTo>
                          <a:pt x="68" y="37"/>
                        </a:lnTo>
                        <a:lnTo>
                          <a:pt x="63" y="39"/>
                        </a:lnTo>
                        <a:lnTo>
                          <a:pt x="59" y="37"/>
                        </a:lnTo>
                        <a:lnTo>
                          <a:pt x="59" y="35"/>
                        </a:lnTo>
                        <a:lnTo>
                          <a:pt x="56" y="34"/>
                        </a:lnTo>
                        <a:lnTo>
                          <a:pt x="54" y="32"/>
                        </a:lnTo>
                        <a:lnTo>
                          <a:pt x="51" y="34"/>
                        </a:lnTo>
                        <a:lnTo>
                          <a:pt x="49" y="35"/>
                        </a:lnTo>
                        <a:lnTo>
                          <a:pt x="46" y="37"/>
                        </a:lnTo>
                        <a:lnTo>
                          <a:pt x="44" y="37"/>
                        </a:lnTo>
                        <a:lnTo>
                          <a:pt x="41" y="37"/>
                        </a:lnTo>
                        <a:lnTo>
                          <a:pt x="37" y="37"/>
                        </a:lnTo>
                        <a:lnTo>
                          <a:pt x="32" y="35"/>
                        </a:lnTo>
                        <a:lnTo>
                          <a:pt x="29" y="35"/>
                        </a:lnTo>
                        <a:lnTo>
                          <a:pt x="27" y="34"/>
                        </a:lnTo>
                        <a:lnTo>
                          <a:pt x="27" y="30"/>
                        </a:lnTo>
                        <a:lnTo>
                          <a:pt x="24" y="29"/>
                        </a:lnTo>
                        <a:lnTo>
                          <a:pt x="21" y="25"/>
                        </a:lnTo>
                        <a:lnTo>
                          <a:pt x="19" y="24"/>
                        </a:lnTo>
                        <a:lnTo>
                          <a:pt x="14" y="20"/>
                        </a:lnTo>
                        <a:lnTo>
                          <a:pt x="10" y="20"/>
                        </a:lnTo>
                        <a:lnTo>
                          <a:pt x="7" y="22"/>
                        </a:lnTo>
                        <a:lnTo>
                          <a:pt x="7" y="24"/>
                        </a:lnTo>
                        <a:lnTo>
                          <a:pt x="9" y="25"/>
                        </a:lnTo>
                        <a:lnTo>
                          <a:pt x="5" y="25"/>
                        </a:lnTo>
                        <a:lnTo>
                          <a:pt x="4" y="25"/>
                        </a:lnTo>
                        <a:lnTo>
                          <a:pt x="0" y="25"/>
                        </a:lnTo>
                        <a:lnTo>
                          <a:pt x="0" y="27"/>
                        </a:lnTo>
                        <a:lnTo>
                          <a:pt x="2" y="29"/>
                        </a:lnTo>
                        <a:lnTo>
                          <a:pt x="4" y="30"/>
                        </a:lnTo>
                        <a:lnTo>
                          <a:pt x="5" y="30"/>
                        </a:lnTo>
                        <a:lnTo>
                          <a:pt x="9" y="34"/>
                        </a:lnTo>
                        <a:lnTo>
                          <a:pt x="14" y="37"/>
                        </a:lnTo>
                        <a:lnTo>
                          <a:pt x="17" y="39"/>
                        </a:lnTo>
                        <a:lnTo>
                          <a:pt x="22" y="42"/>
                        </a:lnTo>
                        <a:lnTo>
                          <a:pt x="27" y="42"/>
                        </a:lnTo>
                        <a:lnTo>
                          <a:pt x="32" y="44"/>
                        </a:lnTo>
                        <a:lnTo>
                          <a:pt x="37" y="47"/>
                        </a:lnTo>
                        <a:lnTo>
                          <a:pt x="41" y="51"/>
                        </a:lnTo>
                        <a:lnTo>
                          <a:pt x="44" y="54"/>
                        </a:lnTo>
                        <a:lnTo>
                          <a:pt x="46" y="57"/>
                        </a:lnTo>
                        <a:lnTo>
                          <a:pt x="48" y="59"/>
                        </a:lnTo>
                        <a:lnTo>
                          <a:pt x="46" y="61"/>
                        </a:lnTo>
                        <a:lnTo>
                          <a:pt x="46" y="64"/>
                        </a:lnTo>
                        <a:lnTo>
                          <a:pt x="46" y="67"/>
                        </a:lnTo>
                        <a:lnTo>
                          <a:pt x="46" y="71"/>
                        </a:lnTo>
                        <a:lnTo>
                          <a:pt x="48" y="71"/>
                        </a:lnTo>
                        <a:lnTo>
                          <a:pt x="48" y="74"/>
                        </a:lnTo>
                        <a:lnTo>
                          <a:pt x="48" y="76"/>
                        </a:lnTo>
                        <a:lnTo>
                          <a:pt x="46" y="78"/>
                        </a:lnTo>
                        <a:lnTo>
                          <a:pt x="46" y="81"/>
                        </a:lnTo>
                        <a:lnTo>
                          <a:pt x="49" y="84"/>
                        </a:lnTo>
                        <a:lnTo>
                          <a:pt x="51" y="88"/>
                        </a:lnTo>
                        <a:lnTo>
                          <a:pt x="53" y="89"/>
                        </a:lnTo>
                        <a:lnTo>
                          <a:pt x="53" y="93"/>
                        </a:lnTo>
                        <a:lnTo>
                          <a:pt x="53" y="94"/>
                        </a:lnTo>
                        <a:lnTo>
                          <a:pt x="49" y="96"/>
                        </a:lnTo>
                        <a:lnTo>
                          <a:pt x="49" y="99"/>
                        </a:lnTo>
                        <a:lnTo>
                          <a:pt x="49" y="104"/>
                        </a:lnTo>
                        <a:lnTo>
                          <a:pt x="53" y="108"/>
                        </a:lnTo>
                        <a:lnTo>
                          <a:pt x="54" y="110"/>
                        </a:lnTo>
                        <a:lnTo>
                          <a:pt x="54" y="111"/>
                        </a:lnTo>
                        <a:lnTo>
                          <a:pt x="56" y="111"/>
                        </a:lnTo>
                        <a:lnTo>
                          <a:pt x="58" y="113"/>
                        </a:lnTo>
                        <a:lnTo>
                          <a:pt x="61" y="115"/>
                        </a:lnTo>
                        <a:lnTo>
                          <a:pt x="61" y="113"/>
                        </a:lnTo>
                        <a:lnTo>
                          <a:pt x="63" y="115"/>
                        </a:lnTo>
                        <a:lnTo>
                          <a:pt x="64" y="116"/>
                        </a:lnTo>
                        <a:lnTo>
                          <a:pt x="66" y="118"/>
                        </a:lnTo>
                        <a:lnTo>
                          <a:pt x="68" y="118"/>
                        </a:lnTo>
                        <a:lnTo>
                          <a:pt x="71" y="120"/>
                        </a:lnTo>
                        <a:lnTo>
                          <a:pt x="71" y="121"/>
                        </a:lnTo>
                        <a:lnTo>
                          <a:pt x="73" y="123"/>
                        </a:lnTo>
                        <a:lnTo>
                          <a:pt x="75" y="125"/>
                        </a:lnTo>
                        <a:lnTo>
                          <a:pt x="75" y="126"/>
                        </a:lnTo>
                        <a:lnTo>
                          <a:pt x="75" y="128"/>
                        </a:lnTo>
                        <a:lnTo>
                          <a:pt x="75" y="130"/>
                        </a:lnTo>
                        <a:lnTo>
                          <a:pt x="75" y="131"/>
                        </a:lnTo>
                        <a:lnTo>
                          <a:pt x="75" y="133"/>
                        </a:lnTo>
                        <a:lnTo>
                          <a:pt x="76" y="135"/>
                        </a:lnTo>
                        <a:lnTo>
                          <a:pt x="75" y="135"/>
                        </a:lnTo>
                        <a:lnTo>
                          <a:pt x="73" y="137"/>
                        </a:lnTo>
                        <a:lnTo>
                          <a:pt x="75" y="138"/>
                        </a:lnTo>
                        <a:lnTo>
                          <a:pt x="71" y="137"/>
                        </a:lnTo>
                        <a:lnTo>
                          <a:pt x="68" y="138"/>
                        </a:lnTo>
                        <a:lnTo>
                          <a:pt x="66" y="138"/>
                        </a:lnTo>
                        <a:lnTo>
                          <a:pt x="63" y="138"/>
                        </a:lnTo>
                        <a:lnTo>
                          <a:pt x="63" y="142"/>
                        </a:lnTo>
                        <a:lnTo>
                          <a:pt x="61" y="147"/>
                        </a:lnTo>
                        <a:lnTo>
                          <a:pt x="58" y="148"/>
                        </a:lnTo>
                        <a:lnTo>
                          <a:pt x="54" y="152"/>
                        </a:lnTo>
                        <a:lnTo>
                          <a:pt x="51" y="153"/>
                        </a:lnTo>
                        <a:lnTo>
                          <a:pt x="48" y="157"/>
                        </a:lnTo>
                        <a:lnTo>
                          <a:pt x="44" y="158"/>
                        </a:lnTo>
                        <a:lnTo>
                          <a:pt x="42" y="162"/>
                        </a:lnTo>
                        <a:lnTo>
                          <a:pt x="41" y="163"/>
                        </a:lnTo>
                        <a:lnTo>
                          <a:pt x="37" y="167"/>
                        </a:lnTo>
                        <a:lnTo>
                          <a:pt x="36" y="170"/>
                        </a:lnTo>
                        <a:lnTo>
                          <a:pt x="34" y="172"/>
                        </a:lnTo>
                        <a:lnTo>
                          <a:pt x="31" y="174"/>
                        </a:lnTo>
                        <a:lnTo>
                          <a:pt x="29" y="175"/>
                        </a:lnTo>
                        <a:lnTo>
                          <a:pt x="27" y="177"/>
                        </a:lnTo>
                        <a:lnTo>
                          <a:pt x="26" y="179"/>
                        </a:lnTo>
                        <a:lnTo>
                          <a:pt x="22" y="179"/>
                        </a:lnTo>
                        <a:lnTo>
                          <a:pt x="21" y="179"/>
                        </a:lnTo>
                        <a:lnTo>
                          <a:pt x="17" y="179"/>
                        </a:lnTo>
                        <a:lnTo>
                          <a:pt x="17" y="180"/>
                        </a:lnTo>
                        <a:lnTo>
                          <a:pt x="16" y="180"/>
                        </a:lnTo>
                        <a:lnTo>
                          <a:pt x="19" y="182"/>
                        </a:lnTo>
                        <a:lnTo>
                          <a:pt x="17" y="184"/>
                        </a:lnTo>
                        <a:lnTo>
                          <a:pt x="12" y="184"/>
                        </a:lnTo>
                        <a:lnTo>
                          <a:pt x="12" y="185"/>
                        </a:lnTo>
                        <a:lnTo>
                          <a:pt x="12" y="187"/>
                        </a:lnTo>
                        <a:lnTo>
                          <a:pt x="9" y="187"/>
                        </a:lnTo>
                        <a:lnTo>
                          <a:pt x="7" y="189"/>
                        </a:lnTo>
                        <a:lnTo>
                          <a:pt x="7" y="190"/>
                        </a:lnTo>
                        <a:lnTo>
                          <a:pt x="5" y="192"/>
                        </a:lnTo>
                        <a:lnTo>
                          <a:pt x="7" y="194"/>
                        </a:lnTo>
                        <a:lnTo>
                          <a:pt x="7" y="197"/>
                        </a:lnTo>
                        <a:lnTo>
                          <a:pt x="9" y="199"/>
                        </a:lnTo>
                        <a:lnTo>
                          <a:pt x="9" y="202"/>
                        </a:lnTo>
                        <a:lnTo>
                          <a:pt x="9" y="204"/>
                        </a:lnTo>
                        <a:lnTo>
                          <a:pt x="9" y="207"/>
                        </a:lnTo>
                        <a:lnTo>
                          <a:pt x="10" y="209"/>
                        </a:lnTo>
                        <a:lnTo>
                          <a:pt x="12" y="211"/>
                        </a:lnTo>
                        <a:lnTo>
                          <a:pt x="12" y="212"/>
                        </a:lnTo>
                        <a:lnTo>
                          <a:pt x="12" y="214"/>
                        </a:lnTo>
                        <a:lnTo>
                          <a:pt x="14" y="216"/>
                        </a:lnTo>
                        <a:lnTo>
                          <a:pt x="14" y="217"/>
                        </a:lnTo>
                        <a:lnTo>
                          <a:pt x="16" y="219"/>
                        </a:lnTo>
                        <a:lnTo>
                          <a:pt x="14" y="219"/>
                        </a:lnTo>
                        <a:lnTo>
                          <a:pt x="12" y="219"/>
                        </a:lnTo>
                        <a:lnTo>
                          <a:pt x="12" y="221"/>
                        </a:lnTo>
                        <a:lnTo>
                          <a:pt x="12" y="222"/>
                        </a:lnTo>
                        <a:lnTo>
                          <a:pt x="12" y="224"/>
                        </a:lnTo>
                        <a:lnTo>
                          <a:pt x="12" y="226"/>
                        </a:lnTo>
                        <a:lnTo>
                          <a:pt x="12" y="228"/>
                        </a:lnTo>
                        <a:lnTo>
                          <a:pt x="12" y="229"/>
                        </a:lnTo>
                        <a:lnTo>
                          <a:pt x="10" y="229"/>
                        </a:lnTo>
                        <a:lnTo>
                          <a:pt x="9" y="233"/>
                        </a:lnTo>
                        <a:lnTo>
                          <a:pt x="10" y="233"/>
                        </a:lnTo>
                        <a:lnTo>
                          <a:pt x="10" y="234"/>
                        </a:lnTo>
                        <a:lnTo>
                          <a:pt x="10" y="236"/>
                        </a:lnTo>
                        <a:lnTo>
                          <a:pt x="12" y="238"/>
                        </a:lnTo>
                        <a:lnTo>
                          <a:pt x="10" y="239"/>
                        </a:lnTo>
                        <a:lnTo>
                          <a:pt x="16" y="241"/>
                        </a:lnTo>
                        <a:lnTo>
                          <a:pt x="17" y="241"/>
                        </a:lnTo>
                        <a:lnTo>
                          <a:pt x="19" y="241"/>
                        </a:lnTo>
                        <a:lnTo>
                          <a:pt x="21" y="243"/>
                        </a:lnTo>
                        <a:lnTo>
                          <a:pt x="22" y="244"/>
                        </a:lnTo>
                        <a:lnTo>
                          <a:pt x="27" y="244"/>
                        </a:lnTo>
                        <a:lnTo>
                          <a:pt x="29" y="246"/>
                        </a:lnTo>
                        <a:lnTo>
                          <a:pt x="27" y="248"/>
                        </a:lnTo>
                        <a:lnTo>
                          <a:pt x="29" y="248"/>
                        </a:lnTo>
                        <a:lnTo>
                          <a:pt x="31" y="249"/>
                        </a:lnTo>
                        <a:lnTo>
                          <a:pt x="34" y="248"/>
                        </a:lnTo>
                        <a:lnTo>
                          <a:pt x="34" y="251"/>
                        </a:lnTo>
                        <a:lnTo>
                          <a:pt x="36" y="253"/>
                        </a:lnTo>
                        <a:lnTo>
                          <a:pt x="37" y="255"/>
                        </a:lnTo>
                        <a:lnTo>
                          <a:pt x="37" y="256"/>
                        </a:lnTo>
                        <a:lnTo>
                          <a:pt x="39" y="256"/>
                        </a:lnTo>
                        <a:lnTo>
                          <a:pt x="37" y="258"/>
                        </a:lnTo>
                        <a:lnTo>
                          <a:pt x="36" y="260"/>
                        </a:lnTo>
                        <a:lnTo>
                          <a:pt x="37" y="260"/>
                        </a:lnTo>
                        <a:lnTo>
                          <a:pt x="39" y="258"/>
                        </a:lnTo>
                        <a:lnTo>
                          <a:pt x="41" y="256"/>
                        </a:lnTo>
                        <a:lnTo>
                          <a:pt x="42" y="253"/>
                        </a:lnTo>
                        <a:lnTo>
                          <a:pt x="44" y="255"/>
                        </a:lnTo>
                        <a:lnTo>
                          <a:pt x="44" y="256"/>
                        </a:lnTo>
                        <a:lnTo>
                          <a:pt x="48" y="256"/>
                        </a:lnTo>
                        <a:lnTo>
                          <a:pt x="51" y="255"/>
                        </a:lnTo>
                        <a:lnTo>
                          <a:pt x="54" y="255"/>
                        </a:lnTo>
                        <a:lnTo>
                          <a:pt x="56" y="253"/>
                        </a:lnTo>
                        <a:lnTo>
                          <a:pt x="58" y="255"/>
                        </a:lnTo>
                        <a:lnTo>
                          <a:pt x="59" y="253"/>
                        </a:lnTo>
                        <a:lnTo>
                          <a:pt x="61" y="251"/>
                        </a:lnTo>
                        <a:lnTo>
                          <a:pt x="63" y="251"/>
                        </a:lnTo>
                        <a:lnTo>
                          <a:pt x="64" y="251"/>
                        </a:lnTo>
                        <a:lnTo>
                          <a:pt x="68" y="251"/>
                        </a:lnTo>
                        <a:lnTo>
                          <a:pt x="69" y="249"/>
                        </a:lnTo>
                        <a:lnTo>
                          <a:pt x="71" y="249"/>
                        </a:lnTo>
                        <a:lnTo>
                          <a:pt x="75" y="249"/>
                        </a:lnTo>
                        <a:lnTo>
                          <a:pt x="75" y="248"/>
                        </a:lnTo>
                        <a:lnTo>
                          <a:pt x="76" y="246"/>
                        </a:lnTo>
                        <a:lnTo>
                          <a:pt x="78" y="248"/>
                        </a:lnTo>
                        <a:lnTo>
                          <a:pt x="80" y="248"/>
                        </a:lnTo>
                        <a:lnTo>
                          <a:pt x="81" y="248"/>
                        </a:lnTo>
                        <a:lnTo>
                          <a:pt x="83" y="246"/>
                        </a:lnTo>
                        <a:lnTo>
                          <a:pt x="81" y="244"/>
                        </a:lnTo>
                        <a:lnTo>
                          <a:pt x="83" y="244"/>
                        </a:lnTo>
                        <a:lnTo>
                          <a:pt x="85" y="246"/>
                        </a:lnTo>
                        <a:lnTo>
                          <a:pt x="86" y="246"/>
                        </a:lnTo>
                        <a:lnTo>
                          <a:pt x="88" y="244"/>
                        </a:lnTo>
                        <a:lnTo>
                          <a:pt x="91" y="244"/>
                        </a:lnTo>
                        <a:lnTo>
                          <a:pt x="93" y="244"/>
                        </a:lnTo>
                        <a:lnTo>
                          <a:pt x="96" y="243"/>
                        </a:lnTo>
                        <a:lnTo>
                          <a:pt x="100" y="243"/>
                        </a:lnTo>
                        <a:lnTo>
                          <a:pt x="103" y="243"/>
                        </a:lnTo>
                        <a:lnTo>
                          <a:pt x="105" y="243"/>
                        </a:lnTo>
                        <a:lnTo>
                          <a:pt x="108" y="243"/>
                        </a:lnTo>
                        <a:lnTo>
                          <a:pt x="110" y="241"/>
                        </a:lnTo>
                        <a:lnTo>
                          <a:pt x="110" y="243"/>
                        </a:lnTo>
                        <a:lnTo>
                          <a:pt x="115" y="239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59" name="Freeform 333">
                    <a:extLst>
                      <a:ext uri="{FF2B5EF4-FFF2-40B4-BE49-F238E27FC236}">
                        <a16:creationId xmlns:a16="http://schemas.microsoft.com/office/drawing/2014/main" id="{4BD829DB-30C8-C943-83F3-B06CFF5EAB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82" y="30"/>
                    <a:ext cx="169" cy="260"/>
                  </a:xfrm>
                  <a:custGeom>
                    <a:avLst/>
                    <a:gdLst>
                      <a:gd name="T0" fmla="*/ 140 w 169"/>
                      <a:gd name="T1" fmla="*/ 222 h 260"/>
                      <a:gd name="T2" fmla="*/ 164 w 169"/>
                      <a:gd name="T3" fmla="*/ 199 h 260"/>
                      <a:gd name="T4" fmla="*/ 167 w 169"/>
                      <a:gd name="T5" fmla="*/ 184 h 260"/>
                      <a:gd name="T6" fmla="*/ 161 w 169"/>
                      <a:gd name="T7" fmla="*/ 175 h 260"/>
                      <a:gd name="T8" fmla="*/ 152 w 169"/>
                      <a:gd name="T9" fmla="*/ 163 h 260"/>
                      <a:gd name="T10" fmla="*/ 150 w 169"/>
                      <a:gd name="T11" fmla="*/ 147 h 260"/>
                      <a:gd name="T12" fmla="*/ 145 w 169"/>
                      <a:gd name="T13" fmla="*/ 131 h 260"/>
                      <a:gd name="T14" fmla="*/ 149 w 169"/>
                      <a:gd name="T15" fmla="*/ 116 h 260"/>
                      <a:gd name="T16" fmla="*/ 145 w 169"/>
                      <a:gd name="T17" fmla="*/ 104 h 260"/>
                      <a:gd name="T18" fmla="*/ 135 w 169"/>
                      <a:gd name="T19" fmla="*/ 88 h 260"/>
                      <a:gd name="T20" fmla="*/ 145 w 169"/>
                      <a:gd name="T21" fmla="*/ 69 h 260"/>
                      <a:gd name="T22" fmla="*/ 140 w 169"/>
                      <a:gd name="T23" fmla="*/ 57 h 260"/>
                      <a:gd name="T24" fmla="*/ 125 w 169"/>
                      <a:gd name="T25" fmla="*/ 49 h 260"/>
                      <a:gd name="T26" fmla="*/ 127 w 169"/>
                      <a:gd name="T27" fmla="*/ 34 h 260"/>
                      <a:gd name="T28" fmla="*/ 134 w 169"/>
                      <a:gd name="T29" fmla="*/ 27 h 260"/>
                      <a:gd name="T30" fmla="*/ 135 w 169"/>
                      <a:gd name="T31" fmla="*/ 18 h 260"/>
                      <a:gd name="T32" fmla="*/ 134 w 169"/>
                      <a:gd name="T33" fmla="*/ 10 h 260"/>
                      <a:gd name="T34" fmla="*/ 122 w 169"/>
                      <a:gd name="T35" fmla="*/ 3 h 260"/>
                      <a:gd name="T36" fmla="*/ 110 w 169"/>
                      <a:gd name="T37" fmla="*/ 0 h 260"/>
                      <a:gd name="T38" fmla="*/ 91 w 169"/>
                      <a:gd name="T39" fmla="*/ 3 h 260"/>
                      <a:gd name="T40" fmla="*/ 81 w 169"/>
                      <a:gd name="T41" fmla="*/ 15 h 260"/>
                      <a:gd name="T42" fmla="*/ 81 w 169"/>
                      <a:gd name="T43" fmla="*/ 27 h 260"/>
                      <a:gd name="T44" fmla="*/ 68 w 169"/>
                      <a:gd name="T45" fmla="*/ 37 h 260"/>
                      <a:gd name="T46" fmla="*/ 54 w 169"/>
                      <a:gd name="T47" fmla="*/ 32 h 260"/>
                      <a:gd name="T48" fmla="*/ 41 w 169"/>
                      <a:gd name="T49" fmla="*/ 37 h 260"/>
                      <a:gd name="T50" fmla="*/ 27 w 169"/>
                      <a:gd name="T51" fmla="*/ 30 h 260"/>
                      <a:gd name="T52" fmla="*/ 10 w 169"/>
                      <a:gd name="T53" fmla="*/ 20 h 260"/>
                      <a:gd name="T54" fmla="*/ 4 w 169"/>
                      <a:gd name="T55" fmla="*/ 25 h 260"/>
                      <a:gd name="T56" fmla="*/ 5 w 169"/>
                      <a:gd name="T57" fmla="*/ 30 h 260"/>
                      <a:gd name="T58" fmla="*/ 27 w 169"/>
                      <a:gd name="T59" fmla="*/ 42 h 260"/>
                      <a:gd name="T60" fmla="*/ 46 w 169"/>
                      <a:gd name="T61" fmla="*/ 57 h 260"/>
                      <a:gd name="T62" fmla="*/ 46 w 169"/>
                      <a:gd name="T63" fmla="*/ 71 h 260"/>
                      <a:gd name="T64" fmla="*/ 46 w 169"/>
                      <a:gd name="T65" fmla="*/ 81 h 260"/>
                      <a:gd name="T66" fmla="*/ 53 w 169"/>
                      <a:gd name="T67" fmla="*/ 94 h 260"/>
                      <a:gd name="T68" fmla="*/ 54 w 169"/>
                      <a:gd name="T69" fmla="*/ 110 h 260"/>
                      <a:gd name="T70" fmla="*/ 61 w 169"/>
                      <a:gd name="T71" fmla="*/ 113 h 260"/>
                      <a:gd name="T72" fmla="*/ 71 w 169"/>
                      <a:gd name="T73" fmla="*/ 120 h 260"/>
                      <a:gd name="T74" fmla="*/ 75 w 169"/>
                      <a:gd name="T75" fmla="*/ 128 h 260"/>
                      <a:gd name="T76" fmla="*/ 75 w 169"/>
                      <a:gd name="T77" fmla="*/ 135 h 260"/>
                      <a:gd name="T78" fmla="*/ 66 w 169"/>
                      <a:gd name="T79" fmla="*/ 138 h 260"/>
                      <a:gd name="T80" fmla="*/ 54 w 169"/>
                      <a:gd name="T81" fmla="*/ 152 h 260"/>
                      <a:gd name="T82" fmla="*/ 41 w 169"/>
                      <a:gd name="T83" fmla="*/ 163 h 260"/>
                      <a:gd name="T84" fmla="*/ 29 w 169"/>
                      <a:gd name="T85" fmla="*/ 175 h 260"/>
                      <a:gd name="T86" fmla="*/ 17 w 169"/>
                      <a:gd name="T87" fmla="*/ 179 h 260"/>
                      <a:gd name="T88" fmla="*/ 12 w 169"/>
                      <a:gd name="T89" fmla="*/ 184 h 260"/>
                      <a:gd name="T90" fmla="*/ 7 w 169"/>
                      <a:gd name="T91" fmla="*/ 190 h 260"/>
                      <a:gd name="T92" fmla="*/ 9 w 169"/>
                      <a:gd name="T93" fmla="*/ 202 h 260"/>
                      <a:gd name="T94" fmla="*/ 12 w 169"/>
                      <a:gd name="T95" fmla="*/ 212 h 260"/>
                      <a:gd name="T96" fmla="*/ 14 w 169"/>
                      <a:gd name="T97" fmla="*/ 219 h 260"/>
                      <a:gd name="T98" fmla="*/ 12 w 169"/>
                      <a:gd name="T99" fmla="*/ 226 h 260"/>
                      <a:gd name="T100" fmla="*/ 10 w 169"/>
                      <a:gd name="T101" fmla="*/ 233 h 260"/>
                      <a:gd name="T102" fmla="*/ 16 w 169"/>
                      <a:gd name="T103" fmla="*/ 241 h 260"/>
                      <a:gd name="T104" fmla="*/ 27 w 169"/>
                      <a:gd name="T105" fmla="*/ 244 h 260"/>
                      <a:gd name="T106" fmla="*/ 34 w 169"/>
                      <a:gd name="T107" fmla="*/ 248 h 260"/>
                      <a:gd name="T108" fmla="*/ 39 w 169"/>
                      <a:gd name="T109" fmla="*/ 256 h 260"/>
                      <a:gd name="T110" fmla="*/ 41 w 169"/>
                      <a:gd name="T111" fmla="*/ 256 h 260"/>
                      <a:gd name="T112" fmla="*/ 51 w 169"/>
                      <a:gd name="T113" fmla="*/ 255 h 260"/>
                      <a:gd name="T114" fmla="*/ 61 w 169"/>
                      <a:gd name="T115" fmla="*/ 251 h 260"/>
                      <a:gd name="T116" fmla="*/ 71 w 169"/>
                      <a:gd name="T117" fmla="*/ 249 h 260"/>
                      <a:gd name="T118" fmla="*/ 80 w 169"/>
                      <a:gd name="T119" fmla="*/ 248 h 260"/>
                      <a:gd name="T120" fmla="*/ 85 w 169"/>
                      <a:gd name="T121" fmla="*/ 246 h 260"/>
                      <a:gd name="T122" fmla="*/ 96 w 169"/>
                      <a:gd name="T123" fmla="*/ 243 h 260"/>
                      <a:gd name="T124" fmla="*/ 110 w 169"/>
                      <a:gd name="T125" fmla="*/ 241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169" h="260">
                        <a:moveTo>
                          <a:pt x="115" y="239"/>
                        </a:moveTo>
                        <a:lnTo>
                          <a:pt x="120" y="236"/>
                        </a:lnTo>
                        <a:lnTo>
                          <a:pt x="127" y="231"/>
                        </a:lnTo>
                        <a:lnTo>
                          <a:pt x="135" y="226"/>
                        </a:lnTo>
                        <a:lnTo>
                          <a:pt x="140" y="222"/>
                        </a:lnTo>
                        <a:lnTo>
                          <a:pt x="145" y="217"/>
                        </a:lnTo>
                        <a:lnTo>
                          <a:pt x="150" y="212"/>
                        </a:lnTo>
                        <a:lnTo>
                          <a:pt x="155" y="207"/>
                        </a:lnTo>
                        <a:lnTo>
                          <a:pt x="161" y="202"/>
                        </a:lnTo>
                        <a:lnTo>
                          <a:pt x="164" y="199"/>
                        </a:lnTo>
                        <a:lnTo>
                          <a:pt x="167" y="194"/>
                        </a:lnTo>
                        <a:lnTo>
                          <a:pt x="169" y="190"/>
                        </a:lnTo>
                        <a:lnTo>
                          <a:pt x="169" y="187"/>
                        </a:lnTo>
                        <a:lnTo>
                          <a:pt x="169" y="184"/>
                        </a:lnTo>
                        <a:lnTo>
                          <a:pt x="167" y="184"/>
                        </a:lnTo>
                        <a:lnTo>
                          <a:pt x="166" y="182"/>
                        </a:lnTo>
                        <a:lnTo>
                          <a:pt x="166" y="180"/>
                        </a:lnTo>
                        <a:lnTo>
                          <a:pt x="164" y="180"/>
                        </a:lnTo>
                        <a:lnTo>
                          <a:pt x="164" y="177"/>
                        </a:lnTo>
                        <a:lnTo>
                          <a:pt x="161" y="175"/>
                        </a:lnTo>
                        <a:lnTo>
                          <a:pt x="159" y="174"/>
                        </a:lnTo>
                        <a:lnTo>
                          <a:pt x="155" y="172"/>
                        </a:lnTo>
                        <a:lnTo>
                          <a:pt x="152" y="170"/>
                        </a:lnTo>
                        <a:lnTo>
                          <a:pt x="150" y="167"/>
                        </a:lnTo>
                        <a:lnTo>
                          <a:pt x="152" y="163"/>
                        </a:lnTo>
                        <a:lnTo>
                          <a:pt x="155" y="160"/>
                        </a:lnTo>
                        <a:lnTo>
                          <a:pt x="157" y="157"/>
                        </a:lnTo>
                        <a:lnTo>
                          <a:pt x="157" y="153"/>
                        </a:lnTo>
                        <a:lnTo>
                          <a:pt x="152" y="150"/>
                        </a:lnTo>
                        <a:lnTo>
                          <a:pt x="150" y="147"/>
                        </a:lnTo>
                        <a:lnTo>
                          <a:pt x="150" y="143"/>
                        </a:lnTo>
                        <a:lnTo>
                          <a:pt x="149" y="140"/>
                        </a:lnTo>
                        <a:lnTo>
                          <a:pt x="144" y="138"/>
                        </a:lnTo>
                        <a:lnTo>
                          <a:pt x="144" y="135"/>
                        </a:lnTo>
                        <a:lnTo>
                          <a:pt x="145" y="131"/>
                        </a:lnTo>
                        <a:lnTo>
                          <a:pt x="145" y="128"/>
                        </a:lnTo>
                        <a:lnTo>
                          <a:pt x="144" y="126"/>
                        </a:lnTo>
                        <a:lnTo>
                          <a:pt x="145" y="123"/>
                        </a:lnTo>
                        <a:lnTo>
                          <a:pt x="145" y="120"/>
                        </a:lnTo>
                        <a:lnTo>
                          <a:pt x="149" y="116"/>
                        </a:lnTo>
                        <a:lnTo>
                          <a:pt x="150" y="116"/>
                        </a:lnTo>
                        <a:lnTo>
                          <a:pt x="149" y="115"/>
                        </a:lnTo>
                        <a:lnTo>
                          <a:pt x="149" y="111"/>
                        </a:lnTo>
                        <a:lnTo>
                          <a:pt x="147" y="108"/>
                        </a:lnTo>
                        <a:lnTo>
                          <a:pt x="145" y="104"/>
                        </a:lnTo>
                        <a:lnTo>
                          <a:pt x="142" y="101"/>
                        </a:lnTo>
                        <a:lnTo>
                          <a:pt x="140" y="99"/>
                        </a:lnTo>
                        <a:lnTo>
                          <a:pt x="140" y="96"/>
                        </a:lnTo>
                        <a:lnTo>
                          <a:pt x="139" y="93"/>
                        </a:lnTo>
                        <a:lnTo>
                          <a:pt x="135" y="88"/>
                        </a:lnTo>
                        <a:lnTo>
                          <a:pt x="135" y="84"/>
                        </a:lnTo>
                        <a:lnTo>
                          <a:pt x="137" y="83"/>
                        </a:lnTo>
                        <a:lnTo>
                          <a:pt x="140" y="78"/>
                        </a:lnTo>
                        <a:lnTo>
                          <a:pt x="142" y="74"/>
                        </a:lnTo>
                        <a:lnTo>
                          <a:pt x="145" y="69"/>
                        </a:lnTo>
                        <a:lnTo>
                          <a:pt x="147" y="67"/>
                        </a:lnTo>
                        <a:lnTo>
                          <a:pt x="147" y="66"/>
                        </a:lnTo>
                        <a:lnTo>
                          <a:pt x="147" y="62"/>
                        </a:lnTo>
                        <a:lnTo>
                          <a:pt x="144" y="61"/>
                        </a:lnTo>
                        <a:lnTo>
                          <a:pt x="140" y="57"/>
                        </a:lnTo>
                        <a:lnTo>
                          <a:pt x="139" y="54"/>
                        </a:lnTo>
                        <a:lnTo>
                          <a:pt x="134" y="52"/>
                        </a:lnTo>
                        <a:lnTo>
                          <a:pt x="130" y="52"/>
                        </a:lnTo>
                        <a:lnTo>
                          <a:pt x="127" y="51"/>
                        </a:lnTo>
                        <a:lnTo>
                          <a:pt x="125" y="49"/>
                        </a:lnTo>
                        <a:lnTo>
                          <a:pt x="123" y="45"/>
                        </a:lnTo>
                        <a:lnTo>
                          <a:pt x="123" y="40"/>
                        </a:lnTo>
                        <a:lnTo>
                          <a:pt x="123" y="39"/>
                        </a:lnTo>
                        <a:lnTo>
                          <a:pt x="125" y="37"/>
                        </a:lnTo>
                        <a:lnTo>
                          <a:pt x="127" y="34"/>
                        </a:lnTo>
                        <a:lnTo>
                          <a:pt x="125" y="32"/>
                        </a:lnTo>
                        <a:lnTo>
                          <a:pt x="127" y="30"/>
                        </a:lnTo>
                        <a:lnTo>
                          <a:pt x="128" y="30"/>
                        </a:lnTo>
                        <a:lnTo>
                          <a:pt x="132" y="29"/>
                        </a:lnTo>
                        <a:lnTo>
                          <a:pt x="134" y="27"/>
                        </a:lnTo>
                        <a:lnTo>
                          <a:pt x="130" y="25"/>
                        </a:lnTo>
                        <a:lnTo>
                          <a:pt x="130" y="24"/>
                        </a:lnTo>
                        <a:lnTo>
                          <a:pt x="130" y="22"/>
                        </a:lnTo>
                        <a:lnTo>
                          <a:pt x="134" y="20"/>
                        </a:lnTo>
                        <a:lnTo>
                          <a:pt x="135" y="18"/>
                        </a:lnTo>
                        <a:lnTo>
                          <a:pt x="137" y="18"/>
                        </a:lnTo>
                        <a:lnTo>
                          <a:pt x="137" y="17"/>
                        </a:lnTo>
                        <a:lnTo>
                          <a:pt x="137" y="15"/>
                        </a:lnTo>
                        <a:lnTo>
                          <a:pt x="135" y="12"/>
                        </a:lnTo>
                        <a:lnTo>
                          <a:pt x="134" y="10"/>
                        </a:lnTo>
                        <a:lnTo>
                          <a:pt x="132" y="8"/>
                        </a:lnTo>
                        <a:lnTo>
                          <a:pt x="128" y="7"/>
                        </a:lnTo>
                        <a:lnTo>
                          <a:pt x="127" y="7"/>
                        </a:lnTo>
                        <a:lnTo>
                          <a:pt x="123" y="5"/>
                        </a:lnTo>
                        <a:lnTo>
                          <a:pt x="122" y="3"/>
                        </a:lnTo>
                        <a:lnTo>
                          <a:pt x="120" y="2"/>
                        </a:lnTo>
                        <a:lnTo>
                          <a:pt x="118" y="0"/>
                        </a:lnTo>
                        <a:lnTo>
                          <a:pt x="117" y="0"/>
                        </a:lnTo>
                        <a:lnTo>
                          <a:pt x="113" y="0"/>
                        </a:lnTo>
                        <a:lnTo>
                          <a:pt x="110" y="0"/>
                        </a:lnTo>
                        <a:lnTo>
                          <a:pt x="107" y="2"/>
                        </a:lnTo>
                        <a:lnTo>
                          <a:pt x="103" y="3"/>
                        </a:lnTo>
                        <a:lnTo>
                          <a:pt x="100" y="3"/>
                        </a:lnTo>
                        <a:lnTo>
                          <a:pt x="95" y="3"/>
                        </a:lnTo>
                        <a:lnTo>
                          <a:pt x="91" y="3"/>
                        </a:lnTo>
                        <a:lnTo>
                          <a:pt x="88" y="5"/>
                        </a:lnTo>
                        <a:lnTo>
                          <a:pt x="85" y="7"/>
                        </a:lnTo>
                        <a:lnTo>
                          <a:pt x="83" y="10"/>
                        </a:lnTo>
                        <a:lnTo>
                          <a:pt x="81" y="13"/>
                        </a:lnTo>
                        <a:lnTo>
                          <a:pt x="81" y="15"/>
                        </a:lnTo>
                        <a:lnTo>
                          <a:pt x="81" y="18"/>
                        </a:lnTo>
                        <a:lnTo>
                          <a:pt x="81" y="20"/>
                        </a:lnTo>
                        <a:lnTo>
                          <a:pt x="81" y="24"/>
                        </a:lnTo>
                        <a:lnTo>
                          <a:pt x="81" y="25"/>
                        </a:lnTo>
                        <a:lnTo>
                          <a:pt x="81" y="27"/>
                        </a:lnTo>
                        <a:lnTo>
                          <a:pt x="81" y="29"/>
                        </a:lnTo>
                        <a:lnTo>
                          <a:pt x="76" y="30"/>
                        </a:lnTo>
                        <a:lnTo>
                          <a:pt x="73" y="32"/>
                        </a:lnTo>
                        <a:lnTo>
                          <a:pt x="71" y="35"/>
                        </a:lnTo>
                        <a:lnTo>
                          <a:pt x="68" y="37"/>
                        </a:lnTo>
                        <a:lnTo>
                          <a:pt x="63" y="39"/>
                        </a:lnTo>
                        <a:lnTo>
                          <a:pt x="59" y="37"/>
                        </a:lnTo>
                        <a:lnTo>
                          <a:pt x="59" y="35"/>
                        </a:lnTo>
                        <a:lnTo>
                          <a:pt x="56" y="34"/>
                        </a:lnTo>
                        <a:lnTo>
                          <a:pt x="54" y="32"/>
                        </a:lnTo>
                        <a:lnTo>
                          <a:pt x="51" y="34"/>
                        </a:lnTo>
                        <a:lnTo>
                          <a:pt x="49" y="35"/>
                        </a:lnTo>
                        <a:lnTo>
                          <a:pt x="46" y="37"/>
                        </a:lnTo>
                        <a:lnTo>
                          <a:pt x="44" y="37"/>
                        </a:lnTo>
                        <a:lnTo>
                          <a:pt x="41" y="37"/>
                        </a:lnTo>
                        <a:lnTo>
                          <a:pt x="37" y="37"/>
                        </a:lnTo>
                        <a:lnTo>
                          <a:pt x="32" y="35"/>
                        </a:lnTo>
                        <a:lnTo>
                          <a:pt x="29" y="35"/>
                        </a:lnTo>
                        <a:lnTo>
                          <a:pt x="27" y="34"/>
                        </a:lnTo>
                        <a:lnTo>
                          <a:pt x="27" y="30"/>
                        </a:lnTo>
                        <a:lnTo>
                          <a:pt x="24" y="29"/>
                        </a:lnTo>
                        <a:lnTo>
                          <a:pt x="21" y="25"/>
                        </a:lnTo>
                        <a:lnTo>
                          <a:pt x="19" y="24"/>
                        </a:lnTo>
                        <a:lnTo>
                          <a:pt x="14" y="20"/>
                        </a:lnTo>
                        <a:lnTo>
                          <a:pt x="10" y="20"/>
                        </a:lnTo>
                        <a:lnTo>
                          <a:pt x="7" y="22"/>
                        </a:lnTo>
                        <a:lnTo>
                          <a:pt x="7" y="24"/>
                        </a:lnTo>
                        <a:lnTo>
                          <a:pt x="9" y="25"/>
                        </a:lnTo>
                        <a:lnTo>
                          <a:pt x="5" y="25"/>
                        </a:lnTo>
                        <a:lnTo>
                          <a:pt x="4" y="25"/>
                        </a:lnTo>
                        <a:lnTo>
                          <a:pt x="0" y="25"/>
                        </a:lnTo>
                        <a:lnTo>
                          <a:pt x="0" y="27"/>
                        </a:lnTo>
                        <a:lnTo>
                          <a:pt x="2" y="29"/>
                        </a:lnTo>
                        <a:lnTo>
                          <a:pt x="4" y="30"/>
                        </a:lnTo>
                        <a:lnTo>
                          <a:pt x="5" y="30"/>
                        </a:lnTo>
                        <a:lnTo>
                          <a:pt x="9" y="34"/>
                        </a:lnTo>
                        <a:lnTo>
                          <a:pt x="14" y="37"/>
                        </a:lnTo>
                        <a:lnTo>
                          <a:pt x="17" y="39"/>
                        </a:lnTo>
                        <a:lnTo>
                          <a:pt x="22" y="42"/>
                        </a:lnTo>
                        <a:lnTo>
                          <a:pt x="27" y="42"/>
                        </a:lnTo>
                        <a:lnTo>
                          <a:pt x="32" y="44"/>
                        </a:lnTo>
                        <a:lnTo>
                          <a:pt x="37" y="47"/>
                        </a:lnTo>
                        <a:lnTo>
                          <a:pt x="41" y="51"/>
                        </a:lnTo>
                        <a:lnTo>
                          <a:pt x="44" y="54"/>
                        </a:lnTo>
                        <a:lnTo>
                          <a:pt x="46" y="57"/>
                        </a:lnTo>
                        <a:lnTo>
                          <a:pt x="48" y="59"/>
                        </a:lnTo>
                        <a:lnTo>
                          <a:pt x="46" y="61"/>
                        </a:lnTo>
                        <a:lnTo>
                          <a:pt x="46" y="64"/>
                        </a:lnTo>
                        <a:lnTo>
                          <a:pt x="46" y="67"/>
                        </a:lnTo>
                        <a:lnTo>
                          <a:pt x="46" y="71"/>
                        </a:lnTo>
                        <a:lnTo>
                          <a:pt x="48" y="71"/>
                        </a:lnTo>
                        <a:lnTo>
                          <a:pt x="48" y="74"/>
                        </a:lnTo>
                        <a:lnTo>
                          <a:pt x="48" y="76"/>
                        </a:lnTo>
                        <a:lnTo>
                          <a:pt x="46" y="78"/>
                        </a:lnTo>
                        <a:lnTo>
                          <a:pt x="46" y="81"/>
                        </a:lnTo>
                        <a:lnTo>
                          <a:pt x="49" y="84"/>
                        </a:lnTo>
                        <a:lnTo>
                          <a:pt x="51" y="88"/>
                        </a:lnTo>
                        <a:lnTo>
                          <a:pt x="53" y="89"/>
                        </a:lnTo>
                        <a:lnTo>
                          <a:pt x="53" y="93"/>
                        </a:lnTo>
                        <a:lnTo>
                          <a:pt x="53" y="94"/>
                        </a:lnTo>
                        <a:lnTo>
                          <a:pt x="49" y="96"/>
                        </a:lnTo>
                        <a:lnTo>
                          <a:pt x="49" y="99"/>
                        </a:lnTo>
                        <a:lnTo>
                          <a:pt x="49" y="104"/>
                        </a:lnTo>
                        <a:lnTo>
                          <a:pt x="53" y="108"/>
                        </a:lnTo>
                        <a:lnTo>
                          <a:pt x="54" y="110"/>
                        </a:lnTo>
                        <a:lnTo>
                          <a:pt x="54" y="111"/>
                        </a:lnTo>
                        <a:lnTo>
                          <a:pt x="56" y="111"/>
                        </a:lnTo>
                        <a:lnTo>
                          <a:pt x="58" y="113"/>
                        </a:lnTo>
                        <a:lnTo>
                          <a:pt x="61" y="115"/>
                        </a:lnTo>
                        <a:lnTo>
                          <a:pt x="61" y="113"/>
                        </a:lnTo>
                        <a:lnTo>
                          <a:pt x="63" y="115"/>
                        </a:lnTo>
                        <a:lnTo>
                          <a:pt x="64" y="116"/>
                        </a:lnTo>
                        <a:lnTo>
                          <a:pt x="66" y="118"/>
                        </a:lnTo>
                        <a:lnTo>
                          <a:pt x="68" y="118"/>
                        </a:lnTo>
                        <a:lnTo>
                          <a:pt x="71" y="120"/>
                        </a:lnTo>
                        <a:lnTo>
                          <a:pt x="71" y="121"/>
                        </a:lnTo>
                        <a:lnTo>
                          <a:pt x="73" y="123"/>
                        </a:lnTo>
                        <a:lnTo>
                          <a:pt x="75" y="125"/>
                        </a:lnTo>
                        <a:lnTo>
                          <a:pt x="75" y="126"/>
                        </a:lnTo>
                        <a:lnTo>
                          <a:pt x="75" y="128"/>
                        </a:lnTo>
                        <a:lnTo>
                          <a:pt x="75" y="130"/>
                        </a:lnTo>
                        <a:lnTo>
                          <a:pt x="75" y="131"/>
                        </a:lnTo>
                        <a:lnTo>
                          <a:pt x="75" y="133"/>
                        </a:lnTo>
                        <a:lnTo>
                          <a:pt x="76" y="135"/>
                        </a:lnTo>
                        <a:lnTo>
                          <a:pt x="75" y="135"/>
                        </a:lnTo>
                        <a:lnTo>
                          <a:pt x="73" y="137"/>
                        </a:lnTo>
                        <a:lnTo>
                          <a:pt x="75" y="138"/>
                        </a:lnTo>
                        <a:lnTo>
                          <a:pt x="71" y="137"/>
                        </a:lnTo>
                        <a:lnTo>
                          <a:pt x="68" y="138"/>
                        </a:lnTo>
                        <a:lnTo>
                          <a:pt x="66" y="138"/>
                        </a:lnTo>
                        <a:lnTo>
                          <a:pt x="63" y="138"/>
                        </a:lnTo>
                        <a:lnTo>
                          <a:pt x="63" y="142"/>
                        </a:lnTo>
                        <a:lnTo>
                          <a:pt x="61" y="147"/>
                        </a:lnTo>
                        <a:lnTo>
                          <a:pt x="58" y="148"/>
                        </a:lnTo>
                        <a:lnTo>
                          <a:pt x="54" y="152"/>
                        </a:lnTo>
                        <a:lnTo>
                          <a:pt x="51" y="153"/>
                        </a:lnTo>
                        <a:lnTo>
                          <a:pt x="48" y="157"/>
                        </a:lnTo>
                        <a:lnTo>
                          <a:pt x="44" y="158"/>
                        </a:lnTo>
                        <a:lnTo>
                          <a:pt x="42" y="162"/>
                        </a:lnTo>
                        <a:lnTo>
                          <a:pt x="41" y="163"/>
                        </a:lnTo>
                        <a:lnTo>
                          <a:pt x="37" y="167"/>
                        </a:lnTo>
                        <a:lnTo>
                          <a:pt x="36" y="170"/>
                        </a:lnTo>
                        <a:lnTo>
                          <a:pt x="34" y="172"/>
                        </a:lnTo>
                        <a:lnTo>
                          <a:pt x="31" y="174"/>
                        </a:lnTo>
                        <a:lnTo>
                          <a:pt x="29" y="175"/>
                        </a:lnTo>
                        <a:lnTo>
                          <a:pt x="27" y="177"/>
                        </a:lnTo>
                        <a:lnTo>
                          <a:pt x="26" y="179"/>
                        </a:lnTo>
                        <a:lnTo>
                          <a:pt x="22" y="179"/>
                        </a:lnTo>
                        <a:lnTo>
                          <a:pt x="21" y="179"/>
                        </a:lnTo>
                        <a:lnTo>
                          <a:pt x="17" y="179"/>
                        </a:lnTo>
                        <a:lnTo>
                          <a:pt x="17" y="180"/>
                        </a:lnTo>
                        <a:lnTo>
                          <a:pt x="16" y="180"/>
                        </a:lnTo>
                        <a:lnTo>
                          <a:pt x="19" y="182"/>
                        </a:lnTo>
                        <a:lnTo>
                          <a:pt x="17" y="184"/>
                        </a:lnTo>
                        <a:lnTo>
                          <a:pt x="12" y="184"/>
                        </a:lnTo>
                        <a:lnTo>
                          <a:pt x="12" y="185"/>
                        </a:lnTo>
                        <a:lnTo>
                          <a:pt x="12" y="187"/>
                        </a:lnTo>
                        <a:lnTo>
                          <a:pt x="9" y="187"/>
                        </a:lnTo>
                        <a:lnTo>
                          <a:pt x="7" y="189"/>
                        </a:lnTo>
                        <a:lnTo>
                          <a:pt x="7" y="190"/>
                        </a:lnTo>
                        <a:lnTo>
                          <a:pt x="5" y="192"/>
                        </a:lnTo>
                        <a:lnTo>
                          <a:pt x="7" y="194"/>
                        </a:lnTo>
                        <a:lnTo>
                          <a:pt x="7" y="197"/>
                        </a:lnTo>
                        <a:lnTo>
                          <a:pt x="9" y="199"/>
                        </a:lnTo>
                        <a:lnTo>
                          <a:pt x="9" y="202"/>
                        </a:lnTo>
                        <a:lnTo>
                          <a:pt x="9" y="204"/>
                        </a:lnTo>
                        <a:lnTo>
                          <a:pt x="9" y="207"/>
                        </a:lnTo>
                        <a:lnTo>
                          <a:pt x="10" y="209"/>
                        </a:lnTo>
                        <a:lnTo>
                          <a:pt x="12" y="211"/>
                        </a:lnTo>
                        <a:lnTo>
                          <a:pt x="12" y="212"/>
                        </a:lnTo>
                        <a:lnTo>
                          <a:pt x="12" y="214"/>
                        </a:lnTo>
                        <a:lnTo>
                          <a:pt x="14" y="216"/>
                        </a:lnTo>
                        <a:lnTo>
                          <a:pt x="14" y="217"/>
                        </a:lnTo>
                        <a:lnTo>
                          <a:pt x="16" y="219"/>
                        </a:lnTo>
                        <a:lnTo>
                          <a:pt x="14" y="219"/>
                        </a:lnTo>
                        <a:lnTo>
                          <a:pt x="12" y="219"/>
                        </a:lnTo>
                        <a:lnTo>
                          <a:pt x="12" y="221"/>
                        </a:lnTo>
                        <a:lnTo>
                          <a:pt x="12" y="222"/>
                        </a:lnTo>
                        <a:lnTo>
                          <a:pt x="12" y="224"/>
                        </a:lnTo>
                        <a:lnTo>
                          <a:pt x="12" y="226"/>
                        </a:lnTo>
                        <a:lnTo>
                          <a:pt x="12" y="228"/>
                        </a:lnTo>
                        <a:lnTo>
                          <a:pt x="12" y="229"/>
                        </a:lnTo>
                        <a:lnTo>
                          <a:pt x="10" y="229"/>
                        </a:lnTo>
                        <a:lnTo>
                          <a:pt x="9" y="233"/>
                        </a:lnTo>
                        <a:lnTo>
                          <a:pt x="10" y="233"/>
                        </a:lnTo>
                        <a:lnTo>
                          <a:pt x="10" y="234"/>
                        </a:lnTo>
                        <a:lnTo>
                          <a:pt x="10" y="236"/>
                        </a:lnTo>
                        <a:lnTo>
                          <a:pt x="12" y="238"/>
                        </a:lnTo>
                        <a:lnTo>
                          <a:pt x="10" y="239"/>
                        </a:lnTo>
                        <a:lnTo>
                          <a:pt x="16" y="241"/>
                        </a:lnTo>
                        <a:lnTo>
                          <a:pt x="17" y="241"/>
                        </a:lnTo>
                        <a:lnTo>
                          <a:pt x="19" y="241"/>
                        </a:lnTo>
                        <a:lnTo>
                          <a:pt x="21" y="243"/>
                        </a:lnTo>
                        <a:lnTo>
                          <a:pt x="22" y="244"/>
                        </a:lnTo>
                        <a:lnTo>
                          <a:pt x="27" y="244"/>
                        </a:lnTo>
                        <a:lnTo>
                          <a:pt x="29" y="246"/>
                        </a:lnTo>
                        <a:lnTo>
                          <a:pt x="27" y="248"/>
                        </a:lnTo>
                        <a:lnTo>
                          <a:pt x="29" y="248"/>
                        </a:lnTo>
                        <a:lnTo>
                          <a:pt x="31" y="249"/>
                        </a:lnTo>
                        <a:lnTo>
                          <a:pt x="34" y="248"/>
                        </a:lnTo>
                        <a:lnTo>
                          <a:pt x="34" y="251"/>
                        </a:lnTo>
                        <a:lnTo>
                          <a:pt x="36" y="253"/>
                        </a:lnTo>
                        <a:lnTo>
                          <a:pt x="37" y="255"/>
                        </a:lnTo>
                        <a:lnTo>
                          <a:pt x="37" y="256"/>
                        </a:lnTo>
                        <a:lnTo>
                          <a:pt x="39" y="256"/>
                        </a:lnTo>
                        <a:lnTo>
                          <a:pt x="37" y="258"/>
                        </a:lnTo>
                        <a:lnTo>
                          <a:pt x="36" y="260"/>
                        </a:lnTo>
                        <a:lnTo>
                          <a:pt x="37" y="260"/>
                        </a:lnTo>
                        <a:lnTo>
                          <a:pt x="39" y="258"/>
                        </a:lnTo>
                        <a:lnTo>
                          <a:pt x="41" y="256"/>
                        </a:lnTo>
                        <a:lnTo>
                          <a:pt x="42" y="253"/>
                        </a:lnTo>
                        <a:lnTo>
                          <a:pt x="44" y="255"/>
                        </a:lnTo>
                        <a:lnTo>
                          <a:pt x="44" y="256"/>
                        </a:lnTo>
                        <a:lnTo>
                          <a:pt x="48" y="256"/>
                        </a:lnTo>
                        <a:lnTo>
                          <a:pt x="51" y="255"/>
                        </a:lnTo>
                        <a:lnTo>
                          <a:pt x="54" y="255"/>
                        </a:lnTo>
                        <a:lnTo>
                          <a:pt x="56" y="253"/>
                        </a:lnTo>
                        <a:lnTo>
                          <a:pt x="58" y="255"/>
                        </a:lnTo>
                        <a:lnTo>
                          <a:pt x="59" y="253"/>
                        </a:lnTo>
                        <a:lnTo>
                          <a:pt x="61" y="251"/>
                        </a:lnTo>
                        <a:lnTo>
                          <a:pt x="63" y="251"/>
                        </a:lnTo>
                        <a:lnTo>
                          <a:pt x="64" y="251"/>
                        </a:lnTo>
                        <a:lnTo>
                          <a:pt x="68" y="251"/>
                        </a:lnTo>
                        <a:lnTo>
                          <a:pt x="69" y="249"/>
                        </a:lnTo>
                        <a:lnTo>
                          <a:pt x="71" y="249"/>
                        </a:lnTo>
                        <a:lnTo>
                          <a:pt x="75" y="249"/>
                        </a:lnTo>
                        <a:lnTo>
                          <a:pt x="75" y="248"/>
                        </a:lnTo>
                        <a:lnTo>
                          <a:pt x="76" y="246"/>
                        </a:lnTo>
                        <a:lnTo>
                          <a:pt x="78" y="248"/>
                        </a:lnTo>
                        <a:lnTo>
                          <a:pt x="80" y="248"/>
                        </a:lnTo>
                        <a:lnTo>
                          <a:pt x="81" y="248"/>
                        </a:lnTo>
                        <a:lnTo>
                          <a:pt x="83" y="246"/>
                        </a:lnTo>
                        <a:lnTo>
                          <a:pt x="81" y="244"/>
                        </a:lnTo>
                        <a:lnTo>
                          <a:pt x="83" y="244"/>
                        </a:lnTo>
                        <a:lnTo>
                          <a:pt x="85" y="246"/>
                        </a:lnTo>
                        <a:lnTo>
                          <a:pt x="86" y="246"/>
                        </a:lnTo>
                        <a:lnTo>
                          <a:pt x="88" y="244"/>
                        </a:lnTo>
                        <a:lnTo>
                          <a:pt x="91" y="244"/>
                        </a:lnTo>
                        <a:lnTo>
                          <a:pt x="93" y="244"/>
                        </a:lnTo>
                        <a:lnTo>
                          <a:pt x="96" y="243"/>
                        </a:lnTo>
                        <a:lnTo>
                          <a:pt x="100" y="243"/>
                        </a:lnTo>
                        <a:lnTo>
                          <a:pt x="103" y="243"/>
                        </a:lnTo>
                        <a:lnTo>
                          <a:pt x="105" y="243"/>
                        </a:lnTo>
                        <a:lnTo>
                          <a:pt x="108" y="243"/>
                        </a:lnTo>
                        <a:lnTo>
                          <a:pt x="110" y="241"/>
                        </a:lnTo>
                        <a:lnTo>
                          <a:pt x="110" y="243"/>
                        </a:lnTo>
                        <a:lnTo>
                          <a:pt x="115" y="239"/>
                        </a:lnTo>
                        <a:close/>
                      </a:path>
                    </a:pathLst>
                  </a:custGeom>
                  <a:solidFill>
                    <a:srgbClr val="EB1562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49" name="Group 1948">
                  <a:extLst>
                    <a:ext uri="{FF2B5EF4-FFF2-40B4-BE49-F238E27FC236}">
                      <a16:creationId xmlns:a16="http://schemas.microsoft.com/office/drawing/2014/main" id="{46663A5D-897C-CE42-B67B-4BB9D42C530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67" y="276"/>
                  <a:ext cx="7" cy="9"/>
                  <a:chOff x="467" y="276"/>
                  <a:chExt cx="7" cy="9"/>
                </a:xfrm>
              </p:grpSpPr>
              <p:sp>
                <p:nvSpPr>
                  <p:cNvPr id="1956" name="Freeform 330">
                    <a:extLst>
                      <a:ext uri="{FF2B5EF4-FFF2-40B4-BE49-F238E27FC236}">
                        <a16:creationId xmlns:a16="http://schemas.microsoft.com/office/drawing/2014/main" id="{47E116AB-A1FB-7A48-B856-CFA398D680F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7" y="276"/>
                    <a:ext cx="7" cy="9"/>
                  </a:xfrm>
                  <a:custGeom>
                    <a:avLst/>
                    <a:gdLst>
                      <a:gd name="T0" fmla="*/ 5 w 7"/>
                      <a:gd name="T1" fmla="*/ 2 h 9"/>
                      <a:gd name="T2" fmla="*/ 7 w 7"/>
                      <a:gd name="T3" fmla="*/ 2 h 9"/>
                      <a:gd name="T4" fmla="*/ 7 w 7"/>
                      <a:gd name="T5" fmla="*/ 3 h 9"/>
                      <a:gd name="T6" fmla="*/ 5 w 7"/>
                      <a:gd name="T7" fmla="*/ 5 h 9"/>
                      <a:gd name="T8" fmla="*/ 4 w 7"/>
                      <a:gd name="T9" fmla="*/ 5 h 9"/>
                      <a:gd name="T10" fmla="*/ 5 w 7"/>
                      <a:gd name="T11" fmla="*/ 7 h 9"/>
                      <a:gd name="T12" fmla="*/ 7 w 7"/>
                      <a:gd name="T13" fmla="*/ 7 h 9"/>
                      <a:gd name="T14" fmla="*/ 5 w 7"/>
                      <a:gd name="T15" fmla="*/ 9 h 9"/>
                      <a:gd name="T16" fmla="*/ 4 w 7"/>
                      <a:gd name="T17" fmla="*/ 7 h 9"/>
                      <a:gd name="T18" fmla="*/ 2 w 7"/>
                      <a:gd name="T19" fmla="*/ 7 h 9"/>
                      <a:gd name="T20" fmla="*/ 0 w 7"/>
                      <a:gd name="T21" fmla="*/ 7 h 9"/>
                      <a:gd name="T22" fmla="*/ 0 w 7"/>
                      <a:gd name="T23" fmla="*/ 5 h 9"/>
                      <a:gd name="T24" fmla="*/ 0 w 7"/>
                      <a:gd name="T25" fmla="*/ 3 h 9"/>
                      <a:gd name="T26" fmla="*/ 2 w 7"/>
                      <a:gd name="T27" fmla="*/ 3 h 9"/>
                      <a:gd name="T28" fmla="*/ 2 w 7"/>
                      <a:gd name="T29" fmla="*/ 2 h 9"/>
                      <a:gd name="T30" fmla="*/ 0 w 7"/>
                      <a:gd name="T31" fmla="*/ 0 h 9"/>
                      <a:gd name="T32" fmla="*/ 2 w 7"/>
                      <a:gd name="T33" fmla="*/ 0 h 9"/>
                      <a:gd name="T34" fmla="*/ 4 w 7"/>
                      <a:gd name="T35" fmla="*/ 0 h 9"/>
                      <a:gd name="T36" fmla="*/ 5 w 7"/>
                      <a:gd name="T37" fmla="*/ 0 h 9"/>
                      <a:gd name="T38" fmla="*/ 5 w 7"/>
                      <a:gd name="T39" fmla="*/ 2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7" h="9">
                        <a:moveTo>
                          <a:pt x="5" y="2"/>
                        </a:moveTo>
                        <a:lnTo>
                          <a:pt x="7" y="2"/>
                        </a:lnTo>
                        <a:lnTo>
                          <a:pt x="7" y="3"/>
                        </a:lnTo>
                        <a:lnTo>
                          <a:pt x="5" y="5"/>
                        </a:lnTo>
                        <a:lnTo>
                          <a:pt x="4" y="5"/>
                        </a:lnTo>
                        <a:lnTo>
                          <a:pt x="5" y="7"/>
                        </a:lnTo>
                        <a:lnTo>
                          <a:pt x="7" y="7"/>
                        </a:lnTo>
                        <a:lnTo>
                          <a:pt x="5" y="9"/>
                        </a:lnTo>
                        <a:lnTo>
                          <a:pt x="4" y="7"/>
                        </a:lnTo>
                        <a:lnTo>
                          <a:pt x="2" y="7"/>
                        </a:lnTo>
                        <a:lnTo>
                          <a:pt x="0" y="7"/>
                        </a:ln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2" y="3"/>
                        </a:lnTo>
                        <a:lnTo>
                          <a:pt x="2" y="2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4" y="0"/>
                        </a:lnTo>
                        <a:lnTo>
                          <a:pt x="5" y="0"/>
                        </a:lnTo>
                        <a:lnTo>
                          <a:pt x="5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57" name="Freeform 331">
                    <a:extLst>
                      <a:ext uri="{FF2B5EF4-FFF2-40B4-BE49-F238E27FC236}">
                        <a16:creationId xmlns:a16="http://schemas.microsoft.com/office/drawing/2014/main" id="{016CF1F1-E0CB-5145-903C-D0A7F0E535E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7" y="276"/>
                    <a:ext cx="7" cy="9"/>
                  </a:xfrm>
                  <a:custGeom>
                    <a:avLst/>
                    <a:gdLst>
                      <a:gd name="T0" fmla="*/ 5 w 7"/>
                      <a:gd name="T1" fmla="*/ 2 h 9"/>
                      <a:gd name="T2" fmla="*/ 7 w 7"/>
                      <a:gd name="T3" fmla="*/ 2 h 9"/>
                      <a:gd name="T4" fmla="*/ 7 w 7"/>
                      <a:gd name="T5" fmla="*/ 3 h 9"/>
                      <a:gd name="T6" fmla="*/ 5 w 7"/>
                      <a:gd name="T7" fmla="*/ 5 h 9"/>
                      <a:gd name="T8" fmla="*/ 4 w 7"/>
                      <a:gd name="T9" fmla="*/ 5 h 9"/>
                      <a:gd name="T10" fmla="*/ 5 w 7"/>
                      <a:gd name="T11" fmla="*/ 7 h 9"/>
                      <a:gd name="T12" fmla="*/ 7 w 7"/>
                      <a:gd name="T13" fmla="*/ 7 h 9"/>
                      <a:gd name="T14" fmla="*/ 5 w 7"/>
                      <a:gd name="T15" fmla="*/ 9 h 9"/>
                      <a:gd name="T16" fmla="*/ 4 w 7"/>
                      <a:gd name="T17" fmla="*/ 7 h 9"/>
                      <a:gd name="T18" fmla="*/ 2 w 7"/>
                      <a:gd name="T19" fmla="*/ 7 h 9"/>
                      <a:gd name="T20" fmla="*/ 0 w 7"/>
                      <a:gd name="T21" fmla="*/ 7 h 9"/>
                      <a:gd name="T22" fmla="*/ 0 w 7"/>
                      <a:gd name="T23" fmla="*/ 5 h 9"/>
                      <a:gd name="T24" fmla="*/ 0 w 7"/>
                      <a:gd name="T25" fmla="*/ 3 h 9"/>
                      <a:gd name="T26" fmla="*/ 2 w 7"/>
                      <a:gd name="T27" fmla="*/ 3 h 9"/>
                      <a:gd name="T28" fmla="*/ 2 w 7"/>
                      <a:gd name="T29" fmla="*/ 2 h 9"/>
                      <a:gd name="T30" fmla="*/ 0 w 7"/>
                      <a:gd name="T31" fmla="*/ 0 h 9"/>
                      <a:gd name="T32" fmla="*/ 2 w 7"/>
                      <a:gd name="T33" fmla="*/ 0 h 9"/>
                      <a:gd name="T34" fmla="*/ 4 w 7"/>
                      <a:gd name="T35" fmla="*/ 0 h 9"/>
                      <a:gd name="T36" fmla="*/ 5 w 7"/>
                      <a:gd name="T37" fmla="*/ 0 h 9"/>
                      <a:gd name="T38" fmla="*/ 5 w 7"/>
                      <a:gd name="T39" fmla="*/ 2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7" h="9">
                        <a:moveTo>
                          <a:pt x="5" y="2"/>
                        </a:moveTo>
                        <a:lnTo>
                          <a:pt x="7" y="2"/>
                        </a:lnTo>
                        <a:lnTo>
                          <a:pt x="7" y="3"/>
                        </a:lnTo>
                        <a:lnTo>
                          <a:pt x="5" y="5"/>
                        </a:lnTo>
                        <a:lnTo>
                          <a:pt x="4" y="5"/>
                        </a:lnTo>
                        <a:lnTo>
                          <a:pt x="5" y="7"/>
                        </a:lnTo>
                        <a:lnTo>
                          <a:pt x="7" y="7"/>
                        </a:lnTo>
                        <a:lnTo>
                          <a:pt x="5" y="9"/>
                        </a:lnTo>
                        <a:lnTo>
                          <a:pt x="4" y="7"/>
                        </a:lnTo>
                        <a:lnTo>
                          <a:pt x="2" y="7"/>
                        </a:lnTo>
                        <a:lnTo>
                          <a:pt x="0" y="7"/>
                        </a:ln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2" y="3"/>
                        </a:lnTo>
                        <a:lnTo>
                          <a:pt x="2" y="2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4" y="0"/>
                        </a:lnTo>
                        <a:lnTo>
                          <a:pt x="5" y="0"/>
                        </a:lnTo>
                        <a:lnTo>
                          <a:pt x="5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50" name="Group 1949">
                  <a:extLst>
                    <a:ext uri="{FF2B5EF4-FFF2-40B4-BE49-F238E27FC236}">
                      <a16:creationId xmlns:a16="http://schemas.microsoft.com/office/drawing/2014/main" id="{CE7B914B-2E91-9948-BDF1-10650D8097C4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98" y="279"/>
                  <a:ext cx="3" cy="4"/>
                  <a:chOff x="498" y="279"/>
                  <a:chExt cx="3" cy="4"/>
                </a:xfrm>
              </p:grpSpPr>
              <p:sp>
                <p:nvSpPr>
                  <p:cNvPr id="1954" name="Freeform 328">
                    <a:extLst>
                      <a:ext uri="{FF2B5EF4-FFF2-40B4-BE49-F238E27FC236}">
                        <a16:creationId xmlns:a16="http://schemas.microsoft.com/office/drawing/2014/main" id="{B7C6CAFD-FB5E-CD45-96E3-F55123C5835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8" y="279"/>
                    <a:ext cx="3" cy="4"/>
                  </a:xfrm>
                  <a:custGeom>
                    <a:avLst/>
                    <a:gdLst>
                      <a:gd name="T0" fmla="*/ 3 w 3"/>
                      <a:gd name="T1" fmla="*/ 4 h 4"/>
                      <a:gd name="T2" fmla="*/ 1 w 3"/>
                      <a:gd name="T3" fmla="*/ 4 h 4"/>
                      <a:gd name="T4" fmla="*/ 0 w 3"/>
                      <a:gd name="T5" fmla="*/ 2 h 4"/>
                      <a:gd name="T6" fmla="*/ 0 w 3"/>
                      <a:gd name="T7" fmla="*/ 0 h 4"/>
                      <a:gd name="T8" fmla="*/ 1 w 3"/>
                      <a:gd name="T9" fmla="*/ 0 h 4"/>
                      <a:gd name="T10" fmla="*/ 3 w 3"/>
                      <a:gd name="T11" fmla="*/ 2 h 4"/>
                      <a:gd name="T12" fmla="*/ 3 w 3"/>
                      <a:gd name="T13" fmla="*/ 4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" h="4">
                        <a:moveTo>
                          <a:pt x="3" y="4"/>
                        </a:moveTo>
                        <a:lnTo>
                          <a:pt x="1" y="4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3" y="2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55" name="Freeform 329">
                    <a:extLst>
                      <a:ext uri="{FF2B5EF4-FFF2-40B4-BE49-F238E27FC236}">
                        <a16:creationId xmlns:a16="http://schemas.microsoft.com/office/drawing/2014/main" id="{E95772C9-9E87-D54A-8B86-BE34ED60462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8" y="279"/>
                    <a:ext cx="3" cy="4"/>
                  </a:xfrm>
                  <a:custGeom>
                    <a:avLst/>
                    <a:gdLst>
                      <a:gd name="T0" fmla="*/ 3 w 3"/>
                      <a:gd name="T1" fmla="*/ 4 h 4"/>
                      <a:gd name="T2" fmla="*/ 1 w 3"/>
                      <a:gd name="T3" fmla="*/ 4 h 4"/>
                      <a:gd name="T4" fmla="*/ 0 w 3"/>
                      <a:gd name="T5" fmla="*/ 2 h 4"/>
                      <a:gd name="T6" fmla="*/ 0 w 3"/>
                      <a:gd name="T7" fmla="*/ 0 h 4"/>
                      <a:gd name="T8" fmla="*/ 1 w 3"/>
                      <a:gd name="T9" fmla="*/ 0 h 4"/>
                      <a:gd name="T10" fmla="*/ 3 w 3"/>
                      <a:gd name="T11" fmla="*/ 2 h 4"/>
                      <a:gd name="T12" fmla="*/ 3 w 3"/>
                      <a:gd name="T13" fmla="*/ 4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" h="4">
                        <a:moveTo>
                          <a:pt x="3" y="4"/>
                        </a:moveTo>
                        <a:lnTo>
                          <a:pt x="1" y="4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3" y="2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51" name="Group 1950">
                  <a:extLst>
                    <a:ext uri="{FF2B5EF4-FFF2-40B4-BE49-F238E27FC236}">
                      <a16:creationId xmlns:a16="http://schemas.microsoft.com/office/drawing/2014/main" id="{4472CC46-44D3-F54A-9E1B-4ED84AAD76AB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08" y="279"/>
                  <a:ext cx="8" cy="6"/>
                  <a:chOff x="508" y="279"/>
                  <a:chExt cx="8" cy="6"/>
                </a:xfrm>
              </p:grpSpPr>
              <p:sp>
                <p:nvSpPr>
                  <p:cNvPr id="1952" name="Freeform 326">
                    <a:extLst>
                      <a:ext uri="{FF2B5EF4-FFF2-40B4-BE49-F238E27FC236}">
                        <a16:creationId xmlns:a16="http://schemas.microsoft.com/office/drawing/2014/main" id="{572FE909-6AD1-F24B-A122-8796879CC9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08" y="279"/>
                    <a:ext cx="8" cy="6"/>
                  </a:xfrm>
                  <a:custGeom>
                    <a:avLst/>
                    <a:gdLst>
                      <a:gd name="T0" fmla="*/ 5 w 8"/>
                      <a:gd name="T1" fmla="*/ 6 h 6"/>
                      <a:gd name="T2" fmla="*/ 3 w 8"/>
                      <a:gd name="T3" fmla="*/ 6 h 6"/>
                      <a:gd name="T4" fmla="*/ 1 w 8"/>
                      <a:gd name="T5" fmla="*/ 6 h 6"/>
                      <a:gd name="T6" fmla="*/ 0 w 8"/>
                      <a:gd name="T7" fmla="*/ 6 h 6"/>
                      <a:gd name="T8" fmla="*/ 1 w 8"/>
                      <a:gd name="T9" fmla="*/ 4 h 6"/>
                      <a:gd name="T10" fmla="*/ 3 w 8"/>
                      <a:gd name="T11" fmla="*/ 4 h 6"/>
                      <a:gd name="T12" fmla="*/ 3 w 8"/>
                      <a:gd name="T13" fmla="*/ 2 h 6"/>
                      <a:gd name="T14" fmla="*/ 5 w 8"/>
                      <a:gd name="T15" fmla="*/ 0 h 6"/>
                      <a:gd name="T16" fmla="*/ 6 w 8"/>
                      <a:gd name="T17" fmla="*/ 0 h 6"/>
                      <a:gd name="T18" fmla="*/ 8 w 8"/>
                      <a:gd name="T19" fmla="*/ 0 h 6"/>
                      <a:gd name="T20" fmla="*/ 6 w 8"/>
                      <a:gd name="T21" fmla="*/ 0 h 6"/>
                      <a:gd name="T22" fmla="*/ 6 w 8"/>
                      <a:gd name="T23" fmla="*/ 2 h 6"/>
                      <a:gd name="T24" fmla="*/ 6 w 8"/>
                      <a:gd name="T25" fmla="*/ 6 h 6"/>
                      <a:gd name="T26" fmla="*/ 5 w 8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8" h="6">
                        <a:moveTo>
                          <a:pt x="5" y="6"/>
                        </a:moveTo>
                        <a:lnTo>
                          <a:pt x="3" y="6"/>
                        </a:lnTo>
                        <a:lnTo>
                          <a:pt x="1" y="6"/>
                        </a:lnTo>
                        <a:lnTo>
                          <a:pt x="0" y="6"/>
                        </a:lnTo>
                        <a:lnTo>
                          <a:pt x="1" y="4"/>
                        </a:lnTo>
                        <a:lnTo>
                          <a:pt x="3" y="4"/>
                        </a:lnTo>
                        <a:lnTo>
                          <a:pt x="3" y="2"/>
                        </a:lnTo>
                        <a:lnTo>
                          <a:pt x="5" y="0"/>
                        </a:lnTo>
                        <a:lnTo>
                          <a:pt x="6" y="0"/>
                        </a:lnTo>
                        <a:lnTo>
                          <a:pt x="8" y="0"/>
                        </a:lnTo>
                        <a:lnTo>
                          <a:pt x="6" y="0"/>
                        </a:lnTo>
                        <a:lnTo>
                          <a:pt x="6" y="2"/>
                        </a:lnTo>
                        <a:lnTo>
                          <a:pt x="6" y="6"/>
                        </a:lnTo>
                        <a:lnTo>
                          <a:pt x="5" y="6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53" name="Freeform 327">
                    <a:extLst>
                      <a:ext uri="{FF2B5EF4-FFF2-40B4-BE49-F238E27FC236}">
                        <a16:creationId xmlns:a16="http://schemas.microsoft.com/office/drawing/2014/main" id="{3E198636-C544-A747-A4A1-33D625A8864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08" y="279"/>
                    <a:ext cx="8" cy="6"/>
                  </a:xfrm>
                  <a:custGeom>
                    <a:avLst/>
                    <a:gdLst>
                      <a:gd name="T0" fmla="*/ 5 w 8"/>
                      <a:gd name="T1" fmla="*/ 6 h 6"/>
                      <a:gd name="T2" fmla="*/ 3 w 8"/>
                      <a:gd name="T3" fmla="*/ 6 h 6"/>
                      <a:gd name="T4" fmla="*/ 1 w 8"/>
                      <a:gd name="T5" fmla="*/ 6 h 6"/>
                      <a:gd name="T6" fmla="*/ 0 w 8"/>
                      <a:gd name="T7" fmla="*/ 6 h 6"/>
                      <a:gd name="T8" fmla="*/ 1 w 8"/>
                      <a:gd name="T9" fmla="*/ 4 h 6"/>
                      <a:gd name="T10" fmla="*/ 3 w 8"/>
                      <a:gd name="T11" fmla="*/ 4 h 6"/>
                      <a:gd name="T12" fmla="*/ 3 w 8"/>
                      <a:gd name="T13" fmla="*/ 2 h 6"/>
                      <a:gd name="T14" fmla="*/ 5 w 8"/>
                      <a:gd name="T15" fmla="*/ 0 h 6"/>
                      <a:gd name="T16" fmla="*/ 6 w 8"/>
                      <a:gd name="T17" fmla="*/ 0 h 6"/>
                      <a:gd name="T18" fmla="*/ 8 w 8"/>
                      <a:gd name="T19" fmla="*/ 0 h 6"/>
                      <a:gd name="T20" fmla="*/ 6 w 8"/>
                      <a:gd name="T21" fmla="*/ 0 h 6"/>
                      <a:gd name="T22" fmla="*/ 6 w 8"/>
                      <a:gd name="T23" fmla="*/ 2 h 6"/>
                      <a:gd name="T24" fmla="*/ 6 w 8"/>
                      <a:gd name="T25" fmla="*/ 6 h 6"/>
                      <a:gd name="T26" fmla="*/ 5 w 8"/>
                      <a:gd name="T2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8" h="6">
                        <a:moveTo>
                          <a:pt x="5" y="6"/>
                        </a:moveTo>
                        <a:lnTo>
                          <a:pt x="3" y="6"/>
                        </a:lnTo>
                        <a:lnTo>
                          <a:pt x="1" y="6"/>
                        </a:lnTo>
                        <a:lnTo>
                          <a:pt x="0" y="6"/>
                        </a:lnTo>
                        <a:lnTo>
                          <a:pt x="1" y="4"/>
                        </a:lnTo>
                        <a:lnTo>
                          <a:pt x="3" y="4"/>
                        </a:lnTo>
                        <a:lnTo>
                          <a:pt x="3" y="2"/>
                        </a:lnTo>
                        <a:lnTo>
                          <a:pt x="5" y="0"/>
                        </a:lnTo>
                        <a:lnTo>
                          <a:pt x="6" y="0"/>
                        </a:lnTo>
                        <a:lnTo>
                          <a:pt x="8" y="0"/>
                        </a:lnTo>
                        <a:lnTo>
                          <a:pt x="6" y="0"/>
                        </a:lnTo>
                        <a:lnTo>
                          <a:pt x="6" y="2"/>
                        </a:lnTo>
                        <a:lnTo>
                          <a:pt x="6" y="6"/>
                        </a:lnTo>
                        <a:lnTo>
                          <a:pt x="5" y="6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648" name="Group 1647">
                <a:extLst>
                  <a:ext uri="{FF2B5EF4-FFF2-40B4-BE49-F238E27FC236}">
                    <a16:creationId xmlns:a16="http://schemas.microsoft.com/office/drawing/2014/main" id="{7705CC60-6FD6-7949-A719-57EC1D033CC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88" y="480"/>
                <a:ext cx="222" cy="191"/>
                <a:chOff x="88" y="480"/>
                <a:chExt cx="222" cy="191"/>
              </a:xfrm>
            </p:grpSpPr>
            <p:grpSp>
              <p:nvGrpSpPr>
                <p:cNvPr id="1942" name="Group 1941">
                  <a:extLst>
                    <a:ext uri="{FF2B5EF4-FFF2-40B4-BE49-F238E27FC236}">
                      <a16:creationId xmlns:a16="http://schemas.microsoft.com/office/drawing/2014/main" id="{8C5CBE44-0B80-834A-8CD6-81DD9151D44C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88" y="480"/>
                  <a:ext cx="199" cy="172"/>
                  <a:chOff x="88" y="480"/>
                  <a:chExt cx="199" cy="172"/>
                </a:xfrm>
              </p:grpSpPr>
              <p:sp>
                <p:nvSpPr>
                  <p:cNvPr id="1946" name="Freeform 320">
                    <a:extLst>
                      <a:ext uri="{FF2B5EF4-FFF2-40B4-BE49-F238E27FC236}">
                        <a16:creationId xmlns:a16="http://schemas.microsoft.com/office/drawing/2014/main" id="{2DFC0B1F-94B4-8D4E-8E53-6D4ABBB60E4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8" y="480"/>
                    <a:ext cx="199" cy="172"/>
                  </a:xfrm>
                  <a:custGeom>
                    <a:avLst/>
                    <a:gdLst>
                      <a:gd name="T0" fmla="*/ 189 w 199"/>
                      <a:gd name="T1" fmla="*/ 138 h 172"/>
                      <a:gd name="T2" fmla="*/ 180 w 199"/>
                      <a:gd name="T3" fmla="*/ 130 h 172"/>
                      <a:gd name="T4" fmla="*/ 177 w 199"/>
                      <a:gd name="T5" fmla="*/ 121 h 172"/>
                      <a:gd name="T6" fmla="*/ 182 w 199"/>
                      <a:gd name="T7" fmla="*/ 115 h 172"/>
                      <a:gd name="T8" fmla="*/ 179 w 199"/>
                      <a:gd name="T9" fmla="*/ 105 h 172"/>
                      <a:gd name="T10" fmla="*/ 179 w 199"/>
                      <a:gd name="T11" fmla="*/ 101 h 172"/>
                      <a:gd name="T12" fmla="*/ 175 w 199"/>
                      <a:gd name="T13" fmla="*/ 94 h 172"/>
                      <a:gd name="T14" fmla="*/ 167 w 199"/>
                      <a:gd name="T15" fmla="*/ 96 h 172"/>
                      <a:gd name="T16" fmla="*/ 170 w 199"/>
                      <a:gd name="T17" fmla="*/ 88 h 172"/>
                      <a:gd name="T18" fmla="*/ 177 w 199"/>
                      <a:gd name="T19" fmla="*/ 81 h 172"/>
                      <a:gd name="T20" fmla="*/ 182 w 199"/>
                      <a:gd name="T21" fmla="*/ 73 h 172"/>
                      <a:gd name="T22" fmla="*/ 189 w 199"/>
                      <a:gd name="T23" fmla="*/ 68 h 172"/>
                      <a:gd name="T24" fmla="*/ 192 w 199"/>
                      <a:gd name="T25" fmla="*/ 52 h 172"/>
                      <a:gd name="T26" fmla="*/ 190 w 199"/>
                      <a:gd name="T27" fmla="*/ 41 h 172"/>
                      <a:gd name="T28" fmla="*/ 175 w 199"/>
                      <a:gd name="T29" fmla="*/ 37 h 172"/>
                      <a:gd name="T30" fmla="*/ 167 w 199"/>
                      <a:gd name="T31" fmla="*/ 32 h 172"/>
                      <a:gd name="T32" fmla="*/ 152 w 199"/>
                      <a:gd name="T33" fmla="*/ 29 h 172"/>
                      <a:gd name="T34" fmla="*/ 148 w 199"/>
                      <a:gd name="T35" fmla="*/ 20 h 172"/>
                      <a:gd name="T36" fmla="*/ 140 w 199"/>
                      <a:gd name="T37" fmla="*/ 19 h 172"/>
                      <a:gd name="T38" fmla="*/ 130 w 199"/>
                      <a:gd name="T39" fmla="*/ 14 h 172"/>
                      <a:gd name="T40" fmla="*/ 118 w 199"/>
                      <a:gd name="T41" fmla="*/ 7 h 172"/>
                      <a:gd name="T42" fmla="*/ 113 w 199"/>
                      <a:gd name="T43" fmla="*/ 2 h 172"/>
                      <a:gd name="T44" fmla="*/ 99 w 199"/>
                      <a:gd name="T45" fmla="*/ 14 h 172"/>
                      <a:gd name="T46" fmla="*/ 87 w 199"/>
                      <a:gd name="T47" fmla="*/ 25 h 172"/>
                      <a:gd name="T48" fmla="*/ 81 w 199"/>
                      <a:gd name="T49" fmla="*/ 34 h 172"/>
                      <a:gd name="T50" fmla="*/ 74 w 199"/>
                      <a:gd name="T51" fmla="*/ 37 h 172"/>
                      <a:gd name="T52" fmla="*/ 59 w 199"/>
                      <a:gd name="T53" fmla="*/ 35 h 172"/>
                      <a:gd name="T54" fmla="*/ 52 w 199"/>
                      <a:gd name="T55" fmla="*/ 30 h 172"/>
                      <a:gd name="T56" fmla="*/ 47 w 199"/>
                      <a:gd name="T57" fmla="*/ 37 h 172"/>
                      <a:gd name="T58" fmla="*/ 50 w 199"/>
                      <a:gd name="T59" fmla="*/ 49 h 172"/>
                      <a:gd name="T60" fmla="*/ 44 w 199"/>
                      <a:gd name="T61" fmla="*/ 51 h 172"/>
                      <a:gd name="T62" fmla="*/ 34 w 199"/>
                      <a:gd name="T63" fmla="*/ 52 h 172"/>
                      <a:gd name="T64" fmla="*/ 22 w 199"/>
                      <a:gd name="T65" fmla="*/ 47 h 172"/>
                      <a:gd name="T66" fmla="*/ 13 w 199"/>
                      <a:gd name="T67" fmla="*/ 51 h 172"/>
                      <a:gd name="T68" fmla="*/ 0 w 199"/>
                      <a:gd name="T69" fmla="*/ 56 h 172"/>
                      <a:gd name="T70" fmla="*/ 5 w 199"/>
                      <a:gd name="T71" fmla="*/ 57 h 172"/>
                      <a:gd name="T72" fmla="*/ 1 w 199"/>
                      <a:gd name="T73" fmla="*/ 62 h 172"/>
                      <a:gd name="T74" fmla="*/ 13 w 199"/>
                      <a:gd name="T75" fmla="*/ 66 h 172"/>
                      <a:gd name="T76" fmla="*/ 25 w 199"/>
                      <a:gd name="T77" fmla="*/ 71 h 172"/>
                      <a:gd name="T78" fmla="*/ 30 w 199"/>
                      <a:gd name="T79" fmla="*/ 73 h 172"/>
                      <a:gd name="T80" fmla="*/ 40 w 199"/>
                      <a:gd name="T81" fmla="*/ 78 h 172"/>
                      <a:gd name="T82" fmla="*/ 42 w 199"/>
                      <a:gd name="T83" fmla="*/ 81 h 172"/>
                      <a:gd name="T84" fmla="*/ 50 w 199"/>
                      <a:gd name="T85" fmla="*/ 94 h 172"/>
                      <a:gd name="T86" fmla="*/ 59 w 199"/>
                      <a:gd name="T87" fmla="*/ 105 h 172"/>
                      <a:gd name="T88" fmla="*/ 64 w 199"/>
                      <a:gd name="T89" fmla="*/ 118 h 172"/>
                      <a:gd name="T90" fmla="*/ 59 w 199"/>
                      <a:gd name="T91" fmla="*/ 118 h 172"/>
                      <a:gd name="T92" fmla="*/ 57 w 199"/>
                      <a:gd name="T93" fmla="*/ 135 h 172"/>
                      <a:gd name="T94" fmla="*/ 49 w 199"/>
                      <a:gd name="T95" fmla="*/ 153 h 172"/>
                      <a:gd name="T96" fmla="*/ 54 w 199"/>
                      <a:gd name="T97" fmla="*/ 159 h 172"/>
                      <a:gd name="T98" fmla="*/ 67 w 199"/>
                      <a:gd name="T99" fmla="*/ 165 h 172"/>
                      <a:gd name="T100" fmla="*/ 86 w 199"/>
                      <a:gd name="T101" fmla="*/ 165 h 172"/>
                      <a:gd name="T102" fmla="*/ 96 w 199"/>
                      <a:gd name="T103" fmla="*/ 169 h 172"/>
                      <a:gd name="T104" fmla="*/ 109 w 199"/>
                      <a:gd name="T105" fmla="*/ 172 h 172"/>
                      <a:gd name="T106" fmla="*/ 123 w 199"/>
                      <a:gd name="T107" fmla="*/ 165 h 172"/>
                      <a:gd name="T108" fmla="*/ 130 w 199"/>
                      <a:gd name="T109" fmla="*/ 155 h 172"/>
                      <a:gd name="T110" fmla="*/ 138 w 199"/>
                      <a:gd name="T111" fmla="*/ 150 h 172"/>
                      <a:gd name="T112" fmla="*/ 145 w 199"/>
                      <a:gd name="T113" fmla="*/ 153 h 172"/>
                      <a:gd name="T114" fmla="*/ 152 w 199"/>
                      <a:gd name="T115" fmla="*/ 152 h 172"/>
                      <a:gd name="T116" fmla="*/ 162 w 199"/>
                      <a:gd name="T117" fmla="*/ 157 h 172"/>
                      <a:gd name="T118" fmla="*/ 168 w 199"/>
                      <a:gd name="T119" fmla="*/ 159 h 172"/>
                      <a:gd name="T120" fmla="*/ 177 w 199"/>
                      <a:gd name="T121" fmla="*/ 155 h 172"/>
                      <a:gd name="T122" fmla="*/ 184 w 199"/>
                      <a:gd name="T123" fmla="*/ 150 h 172"/>
                      <a:gd name="T124" fmla="*/ 190 w 199"/>
                      <a:gd name="T125" fmla="*/ 145 h 1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199" h="172">
                        <a:moveTo>
                          <a:pt x="190" y="143"/>
                        </a:moveTo>
                        <a:lnTo>
                          <a:pt x="190" y="142"/>
                        </a:lnTo>
                        <a:lnTo>
                          <a:pt x="190" y="140"/>
                        </a:lnTo>
                        <a:lnTo>
                          <a:pt x="190" y="138"/>
                        </a:lnTo>
                        <a:lnTo>
                          <a:pt x="189" y="138"/>
                        </a:lnTo>
                        <a:lnTo>
                          <a:pt x="185" y="138"/>
                        </a:lnTo>
                        <a:lnTo>
                          <a:pt x="184" y="137"/>
                        </a:lnTo>
                        <a:lnTo>
                          <a:pt x="182" y="135"/>
                        </a:lnTo>
                        <a:lnTo>
                          <a:pt x="180" y="132"/>
                        </a:lnTo>
                        <a:lnTo>
                          <a:pt x="180" y="130"/>
                        </a:lnTo>
                        <a:lnTo>
                          <a:pt x="180" y="127"/>
                        </a:lnTo>
                        <a:lnTo>
                          <a:pt x="180" y="125"/>
                        </a:lnTo>
                        <a:lnTo>
                          <a:pt x="179" y="125"/>
                        </a:lnTo>
                        <a:lnTo>
                          <a:pt x="179" y="123"/>
                        </a:lnTo>
                        <a:lnTo>
                          <a:pt x="177" y="121"/>
                        </a:lnTo>
                        <a:lnTo>
                          <a:pt x="179" y="120"/>
                        </a:lnTo>
                        <a:lnTo>
                          <a:pt x="180" y="118"/>
                        </a:lnTo>
                        <a:lnTo>
                          <a:pt x="182" y="118"/>
                        </a:lnTo>
                        <a:lnTo>
                          <a:pt x="184" y="116"/>
                        </a:lnTo>
                        <a:lnTo>
                          <a:pt x="182" y="115"/>
                        </a:lnTo>
                        <a:lnTo>
                          <a:pt x="180" y="113"/>
                        </a:lnTo>
                        <a:lnTo>
                          <a:pt x="180" y="110"/>
                        </a:lnTo>
                        <a:lnTo>
                          <a:pt x="179" y="108"/>
                        </a:lnTo>
                        <a:lnTo>
                          <a:pt x="179" y="106"/>
                        </a:lnTo>
                        <a:lnTo>
                          <a:pt x="179" y="105"/>
                        </a:lnTo>
                        <a:lnTo>
                          <a:pt x="180" y="105"/>
                        </a:lnTo>
                        <a:lnTo>
                          <a:pt x="182" y="105"/>
                        </a:lnTo>
                        <a:lnTo>
                          <a:pt x="182" y="103"/>
                        </a:lnTo>
                        <a:lnTo>
                          <a:pt x="180" y="103"/>
                        </a:lnTo>
                        <a:lnTo>
                          <a:pt x="179" y="101"/>
                        </a:lnTo>
                        <a:lnTo>
                          <a:pt x="179" y="100"/>
                        </a:lnTo>
                        <a:lnTo>
                          <a:pt x="179" y="96"/>
                        </a:lnTo>
                        <a:lnTo>
                          <a:pt x="179" y="94"/>
                        </a:lnTo>
                        <a:lnTo>
                          <a:pt x="177" y="94"/>
                        </a:lnTo>
                        <a:lnTo>
                          <a:pt x="175" y="94"/>
                        </a:lnTo>
                        <a:lnTo>
                          <a:pt x="172" y="94"/>
                        </a:lnTo>
                        <a:lnTo>
                          <a:pt x="170" y="96"/>
                        </a:lnTo>
                        <a:lnTo>
                          <a:pt x="168" y="100"/>
                        </a:lnTo>
                        <a:lnTo>
                          <a:pt x="167" y="100"/>
                        </a:lnTo>
                        <a:lnTo>
                          <a:pt x="167" y="96"/>
                        </a:lnTo>
                        <a:lnTo>
                          <a:pt x="167" y="94"/>
                        </a:lnTo>
                        <a:lnTo>
                          <a:pt x="167" y="93"/>
                        </a:lnTo>
                        <a:lnTo>
                          <a:pt x="168" y="91"/>
                        </a:lnTo>
                        <a:lnTo>
                          <a:pt x="168" y="89"/>
                        </a:lnTo>
                        <a:lnTo>
                          <a:pt x="170" y="88"/>
                        </a:lnTo>
                        <a:lnTo>
                          <a:pt x="172" y="88"/>
                        </a:lnTo>
                        <a:lnTo>
                          <a:pt x="172" y="86"/>
                        </a:lnTo>
                        <a:lnTo>
                          <a:pt x="173" y="84"/>
                        </a:lnTo>
                        <a:lnTo>
                          <a:pt x="175" y="83"/>
                        </a:lnTo>
                        <a:lnTo>
                          <a:pt x="177" y="81"/>
                        </a:lnTo>
                        <a:lnTo>
                          <a:pt x="179" y="78"/>
                        </a:lnTo>
                        <a:lnTo>
                          <a:pt x="180" y="76"/>
                        </a:lnTo>
                        <a:lnTo>
                          <a:pt x="182" y="76"/>
                        </a:lnTo>
                        <a:lnTo>
                          <a:pt x="180" y="74"/>
                        </a:lnTo>
                        <a:lnTo>
                          <a:pt x="182" y="73"/>
                        </a:lnTo>
                        <a:lnTo>
                          <a:pt x="184" y="73"/>
                        </a:lnTo>
                        <a:lnTo>
                          <a:pt x="187" y="73"/>
                        </a:lnTo>
                        <a:lnTo>
                          <a:pt x="189" y="73"/>
                        </a:lnTo>
                        <a:lnTo>
                          <a:pt x="190" y="71"/>
                        </a:lnTo>
                        <a:lnTo>
                          <a:pt x="189" y="68"/>
                        </a:lnTo>
                        <a:lnTo>
                          <a:pt x="189" y="64"/>
                        </a:lnTo>
                        <a:lnTo>
                          <a:pt x="190" y="61"/>
                        </a:lnTo>
                        <a:lnTo>
                          <a:pt x="190" y="59"/>
                        </a:lnTo>
                        <a:lnTo>
                          <a:pt x="192" y="56"/>
                        </a:lnTo>
                        <a:lnTo>
                          <a:pt x="192" y="52"/>
                        </a:lnTo>
                        <a:lnTo>
                          <a:pt x="195" y="49"/>
                        </a:lnTo>
                        <a:lnTo>
                          <a:pt x="197" y="47"/>
                        </a:lnTo>
                        <a:lnTo>
                          <a:pt x="199" y="44"/>
                        </a:lnTo>
                        <a:lnTo>
                          <a:pt x="194" y="42"/>
                        </a:lnTo>
                        <a:lnTo>
                          <a:pt x="190" y="41"/>
                        </a:lnTo>
                        <a:lnTo>
                          <a:pt x="187" y="41"/>
                        </a:lnTo>
                        <a:lnTo>
                          <a:pt x="184" y="39"/>
                        </a:lnTo>
                        <a:lnTo>
                          <a:pt x="180" y="39"/>
                        </a:lnTo>
                        <a:lnTo>
                          <a:pt x="177" y="39"/>
                        </a:lnTo>
                        <a:lnTo>
                          <a:pt x="175" y="37"/>
                        </a:lnTo>
                        <a:lnTo>
                          <a:pt x="173" y="35"/>
                        </a:lnTo>
                        <a:lnTo>
                          <a:pt x="172" y="34"/>
                        </a:lnTo>
                        <a:lnTo>
                          <a:pt x="170" y="32"/>
                        </a:lnTo>
                        <a:lnTo>
                          <a:pt x="168" y="32"/>
                        </a:lnTo>
                        <a:lnTo>
                          <a:pt x="167" y="32"/>
                        </a:lnTo>
                        <a:lnTo>
                          <a:pt x="162" y="30"/>
                        </a:lnTo>
                        <a:lnTo>
                          <a:pt x="160" y="32"/>
                        </a:lnTo>
                        <a:lnTo>
                          <a:pt x="157" y="30"/>
                        </a:lnTo>
                        <a:lnTo>
                          <a:pt x="155" y="29"/>
                        </a:lnTo>
                        <a:lnTo>
                          <a:pt x="152" y="29"/>
                        </a:lnTo>
                        <a:lnTo>
                          <a:pt x="152" y="27"/>
                        </a:lnTo>
                        <a:lnTo>
                          <a:pt x="150" y="25"/>
                        </a:lnTo>
                        <a:lnTo>
                          <a:pt x="150" y="22"/>
                        </a:lnTo>
                        <a:lnTo>
                          <a:pt x="150" y="20"/>
                        </a:lnTo>
                        <a:lnTo>
                          <a:pt x="148" y="20"/>
                        </a:lnTo>
                        <a:lnTo>
                          <a:pt x="146" y="22"/>
                        </a:lnTo>
                        <a:lnTo>
                          <a:pt x="145" y="24"/>
                        </a:lnTo>
                        <a:lnTo>
                          <a:pt x="143" y="24"/>
                        </a:lnTo>
                        <a:lnTo>
                          <a:pt x="140" y="24"/>
                        </a:lnTo>
                        <a:lnTo>
                          <a:pt x="140" y="19"/>
                        </a:lnTo>
                        <a:lnTo>
                          <a:pt x="138" y="17"/>
                        </a:lnTo>
                        <a:lnTo>
                          <a:pt x="136" y="15"/>
                        </a:lnTo>
                        <a:lnTo>
                          <a:pt x="133" y="15"/>
                        </a:lnTo>
                        <a:lnTo>
                          <a:pt x="131" y="14"/>
                        </a:lnTo>
                        <a:lnTo>
                          <a:pt x="130" y="14"/>
                        </a:lnTo>
                        <a:lnTo>
                          <a:pt x="126" y="12"/>
                        </a:lnTo>
                        <a:lnTo>
                          <a:pt x="125" y="10"/>
                        </a:lnTo>
                        <a:lnTo>
                          <a:pt x="125" y="9"/>
                        </a:lnTo>
                        <a:lnTo>
                          <a:pt x="121" y="9"/>
                        </a:lnTo>
                        <a:lnTo>
                          <a:pt x="118" y="7"/>
                        </a:lnTo>
                        <a:lnTo>
                          <a:pt x="116" y="5"/>
                        </a:lnTo>
                        <a:lnTo>
                          <a:pt x="116" y="2"/>
                        </a:lnTo>
                        <a:lnTo>
                          <a:pt x="116" y="0"/>
                        </a:lnTo>
                        <a:lnTo>
                          <a:pt x="114" y="2"/>
                        </a:lnTo>
                        <a:lnTo>
                          <a:pt x="113" y="2"/>
                        </a:lnTo>
                        <a:lnTo>
                          <a:pt x="109" y="2"/>
                        </a:lnTo>
                        <a:lnTo>
                          <a:pt x="106" y="3"/>
                        </a:lnTo>
                        <a:lnTo>
                          <a:pt x="101" y="5"/>
                        </a:lnTo>
                        <a:lnTo>
                          <a:pt x="99" y="9"/>
                        </a:lnTo>
                        <a:lnTo>
                          <a:pt x="99" y="14"/>
                        </a:lnTo>
                        <a:lnTo>
                          <a:pt x="99" y="17"/>
                        </a:lnTo>
                        <a:lnTo>
                          <a:pt x="99" y="19"/>
                        </a:lnTo>
                        <a:lnTo>
                          <a:pt x="96" y="22"/>
                        </a:lnTo>
                        <a:lnTo>
                          <a:pt x="93" y="24"/>
                        </a:lnTo>
                        <a:lnTo>
                          <a:pt x="87" y="25"/>
                        </a:lnTo>
                        <a:lnTo>
                          <a:pt x="82" y="27"/>
                        </a:lnTo>
                        <a:lnTo>
                          <a:pt x="79" y="29"/>
                        </a:lnTo>
                        <a:lnTo>
                          <a:pt x="77" y="32"/>
                        </a:lnTo>
                        <a:lnTo>
                          <a:pt x="77" y="34"/>
                        </a:lnTo>
                        <a:lnTo>
                          <a:pt x="81" y="34"/>
                        </a:lnTo>
                        <a:lnTo>
                          <a:pt x="82" y="34"/>
                        </a:lnTo>
                        <a:lnTo>
                          <a:pt x="82" y="35"/>
                        </a:lnTo>
                        <a:lnTo>
                          <a:pt x="81" y="35"/>
                        </a:lnTo>
                        <a:lnTo>
                          <a:pt x="77" y="35"/>
                        </a:lnTo>
                        <a:lnTo>
                          <a:pt x="74" y="37"/>
                        </a:lnTo>
                        <a:lnTo>
                          <a:pt x="71" y="37"/>
                        </a:lnTo>
                        <a:lnTo>
                          <a:pt x="69" y="37"/>
                        </a:lnTo>
                        <a:lnTo>
                          <a:pt x="64" y="37"/>
                        </a:lnTo>
                        <a:lnTo>
                          <a:pt x="60" y="35"/>
                        </a:lnTo>
                        <a:lnTo>
                          <a:pt x="59" y="35"/>
                        </a:lnTo>
                        <a:lnTo>
                          <a:pt x="57" y="34"/>
                        </a:lnTo>
                        <a:lnTo>
                          <a:pt x="55" y="32"/>
                        </a:lnTo>
                        <a:lnTo>
                          <a:pt x="55" y="30"/>
                        </a:lnTo>
                        <a:lnTo>
                          <a:pt x="54" y="30"/>
                        </a:lnTo>
                        <a:lnTo>
                          <a:pt x="52" y="30"/>
                        </a:lnTo>
                        <a:lnTo>
                          <a:pt x="49" y="30"/>
                        </a:lnTo>
                        <a:lnTo>
                          <a:pt x="45" y="29"/>
                        </a:lnTo>
                        <a:lnTo>
                          <a:pt x="45" y="32"/>
                        </a:lnTo>
                        <a:lnTo>
                          <a:pt x="45" y="34"/>
                        </a:lnTo>
                        <a:lnTo>
                          <a:pt x="47" y="37"/>
                        </a:lnTo>
                        <a:lnTo>
                          <a:pt x="49" y="37"/>
                        </a:lnTo>
                        <a:lnTo>
                          <a:pt x="49" y="41"/>
                        </a:lnTo>
                        <a:lnTo>
                          <a:pt x="50" y="44"/>
                        </a:lnTo>
                        <a:lnTo>
                          <a:pt x="50" y="46"/>
                        </a:lnTo>
                        <a:lnTo>
                          <a:pt x="50" y="49"/>
                        </a:lnTo>
                        <a:lnTo>
                          <a:pt x="52" y="51"/>
                        </a:lnTo>
                        <a:lnTo>
                          <a:pt x="49" y="51"/>
                        </a:lnTo>
                        <a:lnTo>
                          <a:pt x="47" y="51"/>
                        </a:lnTo>
                        <a:lnTo>
                          <a:pt x="45" y="51"/>
                        </a:lnTo>
                        <a:lnTo>
                          <a:pt x="44" y="51"/>
                        </a:lnTo>
                        <a:lnTo>
                          <a:pt x="42" y="51"/>
                        </a:lnTo>
                        <a:lnTo>
                          <a:pt x="40" y="51"/>
                        </a:lnTo>
                        <a:lnTo>
                          <a:pt x="39" y="51"/>
                        </a:lnTo>
                        <a:lnTo>
                          <a:pt x="37" y="51"/>
                        </a:lnTo>
                        <a:lnTo>
                          <a:pt x="34" y="52"/>
                        </a:lnTo>
                        <a:lnTo>
                          <a:pt x="32" y="51"/>
                        </a:lnTo>
                        <a:lnTo>
                          <a:pt x="28" y="49"/>
                        </a:lnTo>
                        <a:lnTo>
                          <a:pt x="27" y="47"/>
                        </a:lnTo>
                        <a:lnTo>
                          <a:pt x="23" y="47"/>
                        </a:lnTo>
                        <a:lnTo>
                          <a:pt x="22" y="47"/>
                        </a:lnTo>
                        <a:lnTo>
                          <a:pt x="20" y="47"/>
                        </a:lnTo>
                        <a:lnTo>
                          <a:pt x="18" y="49"/>
                        </a:lnTo>
                        <a:lnTo>
                          <a:pt x="17" y="49"/>
                        </a:lnTo>
                        <a:lnTo>
                          <a:pt x="15" y="51"/>
                        </a:lnTo>
                        <a:lnTo>
                          <a:pt x="13" y="51"/>
                        </a:lnTo>
                        <a:lnTo>
                          <a:pt x="10" y="51"/>
                        </a:lnTo>
                        <a:lnTo>
                          <a:pt x="8" y="51"/>
                        </a:lnTo>
                        <a:lnTo>
                          <a:pt x="5" y="52"/>
                        </a:lnTo>
                        <a:lnTo>
                          <a:pt x="1" y="54"/>
                        </a:lnTo>
                        <a:lnTo>
                          <a:pt x="0" y="56"/>
                        </a:lnTo>
                        <a:lnTo>
                          <a:pt x="0" y="57"/>
                        </a:lnTo>
                        <a:lnTo>
                          <a:pt x="3" y="57"/>
                        </a:lnTo>
                        <a:lnTo>
                          <a:pt x="7" y="56"/>
                        </a:lnTo>
                        <a:lnTo>
                          <a:pt x="7" y="57"/>
                        </a:lnTo>
                        <a:lnTo>
                          <a:pt x="5" y="57"/>
                        </a:lnTo>
                        <a:lnTo>
                          <a:pt x="3" y="59"/>
                        </a:lnTo>
                        <a:lnTo>
                          <a:pt x="3" y="61"/>
                        </a:lnTo>
                        <a:lnTo>
                          <a:pt x="7" y="61"/>
                        </a:lnTo>
                        <a:lnTo>
                          <a:pt x="3" y="62"/>
                        </a:lnTo>
                        <a:lnTo>
                          <a:pt x="1" y="62"/>
                        </a:lnTo>
                        <a:lnTo>
                          <a:pt x="3" y="64"/>
                        </a:lnTo>
                        <a:lnTo>
                          <a:pt x="5" y="66"/>
                        </a:lnTo>
                        <a:lnTo>
                          <a:pt x="7" y="68"/>
                        </a:lnTo>
                        <a:lnTo>
                          <a:pt x="10" y="66"/>
                        </a:lnTo>
                        <a:lnTo>
                          <a:pt x="13" y="66"/>
                        </a:lnTo>
                        <a:lnTo>
                          <a:pt x="15" y="68"/>
                        </a:lnTo>
                        <a:lnTo>
                          <a:pt x="18" y="69"/>
                        </a:lnTo>
                        <a:lnTo>
                          <a:pt x="22" y="69"/>
                        </a:lnTo>
                        <a:lnTo>
                          <a:pt x="23" y="71"/>
                        </a:lnTo>
                        <a:lnTo>
                          <a:pt x="25" y="71"/>
                        </a:lnTo>
                        <a:lnTo>
                          <a:pt x="25" y="73"/>
                        </a:lnTo>
                        <a:lnTo>
                          <a:pt x="27" y="73"/>
                        </a:lnTo>
                        <a:lnTo>
                          <a:pt x="30" y="71"/>
                        </a:lnTo>
                        <a:lnTo>
                          <a:pt x="32" y="73"/>
                        </a:lnTo>
                        <a:lnTo>
                          <a:pt x="30" y="73"/>
                        </a:lnTo>
                        <a:lnTo>
                          <a:pt x="35" y="73"/>
                        </a:lnTo>
                        <a:lnTo>
                          <a:pt x="37" y="74"/>
                        </a:lnTo>
                        <a:lnTo>
                          <a:pt x="37" y="76"/>
                        </a:lnTo>
                        <a:lnTo>
                          <a:pt x="37" y="78"/>
                        </a:lnTo>
                        <a:lnTo>
                          <a:pt x="40" y="78"/>
                        </a:lnTo>
                        <a:lnTo>
                          <a:pt x="45" y="78"/>
                        </a:lnTo>
                        <a:lnTo>
                          <a:pt x="47" y="79"/>
                        </a:lnTo>
                        <a:lnTo>
                          <a:pt x="45" y="79"/>
                        </a:lnTo>
                        <a:lnTo>
                          <a:pt x="42" y="79"/>
                        </a:lnTo>
                        <a:lnTo>
                          <a:pt x="42" y="81"/>
                        </a:lnTo>
                        <a:lnTo>
                          <a:pt x="44" y="84"/>
                        </a:lnTo>
                        <a:lnTo>
                          <a:pt x="42" y="86"/>
                        </a:lnTo>
                        <a:lnTo>
                          <a:pt x="45" y="89"/>
                        </a:lnTo>
                        <a:lnTo>
                          <a:pt x="47" y="93"/>
                        </a:lnTo>
                        <a:lnTo>
                          <a:pt x="50" y="94"/>
                        </a:lnTo>
                        <a:lnTo>
                          <a:pt x="54" y="96"/>
                        </a:lnTo>
                        <a:lnTo>
                          <a:pt x="57" y="98"/>
                        </a:lnTo>
                        <a:lnTo>
                          <a:pt x="57" y="100"/>
                        </a:lnTo>
                        <a:lnTo>
                          <a:pt x="59" y="101"/>
                        </a:lnTo>
                        <a:lnTo>
                          <a:pt x="59" y="105"/>
                        </a:lnTo>
                        <a:lnTo>
                          <a:pt x="57" y="108"/>
                        </a:lnTo>
                        <a:lnTo>
                          <a:pt x="59" y="110"/>
                        </a:lnTo>
                        <a:lnTo>
                          <a:pt x="60" y="111"/>
                        </a:lnTo>
                        <a:lnTo>
                          <a:pt x="64" y="115"/>
                        </a:lnTo>
                        <a:lnTo>
                          <a:pt x="64" y="118"/>
                        </a:lnTo>
                        <a:lnTo>
                          <a:pt x="64" y="116"/>
                        </a:lnTo>
                        <a:lnTo>
                          <a:pt x="62" y="115"/>
                        </a:lnTo>
                        <a:lnTo>
                          <a:pt x="59" y="113"/>
                        </a:lnTo>
                        <a:lnTo>
                          <a:pt x="59" y="115"/>
                        </a:lnTo>
                        <a:lnTo>
                          <a:pt x="59" y="118"/>
                        </a:lnTo>
                        <a:lnTo>
                          <a:pt x="57" y="123"/>
                        </a:lnTo>
                        <a:lnTo>
                          <a:pt x="57" y="127"/>
                        </a:lnTo>
                        <a:lnTo>
                          <a:pt x="59" y="128"/>
                        </a:lnTo>
                        <a:lnTo>
                          <a:pt x="59" y="130"/>
                        </a:lnTo>
                        <a:lnTo>
                          <a:pt x="57" y="135"/>
                        </a:lnTo>
                        <a:lnTo>
                          <a:pt x="55" y="140"/>
                        </a:lnTo>
                        <a:lnTo>
                          <a:pt x="54" y="145"/>
                        </a:lnTo>
                        <a:lnTo>
                          <a:pt x="54" y="148"/>
                        </a:lnTo>
                        <a:lnTo>
                          <a:pt x="52" y="152"/>
                        </a:lnTo>
                        <a:lnTo>
                          <a:pt x="49" y="153"/>
                        </a:lnTo>
                        <a:lnTo>
                          <a:pt x="47" y="153"/>
                        </a:lnTo>
                        <a:lnTo>
                          <a:pt x="47" y="155"/>
                        </a:lnTo>
                        <a:lnTo>
                          <a:pt x="49" y="155"/>
                        </a:lnTo>
                        <a:lnTo>
                          <a:pt x="50" y="157"/>
                        </a:lnTo>
                        <a:lnTo>
                          <a:pt x="54" y="159"/>
                        </a:lnTo>
                        <a:lnTo>
                          <a:pt x="55" y="160"/>
                        </a:lnTo>
                        <a:lnTo>
                          <a:pt x="59" y="160"/>
                        </a:lnTo>
                        <a:lnTo>
                          <a:pt x="62" y="162"/>
                        </a:lnTo>
                        <a:lnTo>
                          <a:pt x="64" y="164"/>
                        </a:lnTo>
                        <a:lnTo>
                          <a:pt x="67" y="165"/>
                        </a:lnTo>
                        <a:lnTo>
                          <a:pt x="72" y="165"/>
                        </a:lnTo>
                        <a:lnTo>
                          <a:pt x="77" y="167"/>
                        </a:lnTo>
                        <a:lnTo>
                          <a:pt x="81" y="167"/>
                        </a:lnTo>
                        <a:lnTo>
                          <a:pt x="82" y="167"/>
                        </a:lnTo>
                        <a:lnTo>
                          <a:pt x="86" y="165"/>
                        </a:lnTo>
                        <a:lnTo>
                          <a:pt x="89" y="165"/>
                        </a:lnTo>
                        <a:lnTo>
                          <a:pt x="91" y="165"/>
                        </a:lnTo>
                        <a:lnTo>
                          <a:pt x="93" y="167"/>
                        </a:lnTo>
                        <a:lnTo>
                          <a:pt x="94" y="169"/>
                        </a:lnTo>
                        <a:lnTo>
                          <a:pt x="96" y="169"/>
                        </a:lnTo>
                        <a:lnTo>
                          <a:pt x="99" y="169"/>
                        </a:lnTo>
                        <a:lnTo>
                          <a:pt x="101" y="170"/>
                        </a:lnTo>
                        <a:lnTo>
                          <a:pt x="103" y="172"/>
                        </a:lnTo>
                        <a:lnTo>
                          <a:pt x="106" y="172"/>
                        </a:lnTo>
                        <a:lnTo>
                          <a:pt x="109" y="172"/>
                        </a:lnTo>
                        <a:lnTo>
                          <a:pt x="114" y="172"/>
                        </a:lnTo>
                        <a:lnTo>
                          <a:pt x="118" y="172"/>
                        </a:lnTo>
                        <a:lnTo>
                          <a:pt x="121" y="172"/>
                        </a:lnTo>
                        <a:lnTo>
                          <a:pt x="123" y="172"/>
                        </a:lnTo>
                        <a:lnTo>
                          <a:pt x="123" y="165"/>
                        </a:lnTo>
                        <a:lnTo>
                          <a:pt x="121" y="164"/>
                        </a:lnTo>
                        <a:lnTo>
                          <a:pt x="123" y="160"/>
                        </a:lnTo>
                        <a:lnTo>
                          <a:pt x="125" y="157"/>
                        </a:lnTo>
                        <a:lnTo>
                          <a:pt x="128" y="155"/>
                        </a:lnTo>
                        <a:lnTo>
                          <a:pt x="130" y="155"/>
                        </a:lnTo>
                        <a:lnTo>
                          <a:pt x="131" y="153"/>
                        </a:lnTo>
                        <a:lnTo>
                          <a:pt x="133" y="153"/>
                        </a:lnTo>
                        <a:lnTo>
                          <a:pt x="135" y="152"/>
                        </a:lnTo>
                        <a:lnTo>
                          <a:pt x="136" y="150"/>
                        </a:lnTo>
                        <a:lnTo>
                          <a:pt x="138" y="150"/>
                        </a:lnTo>
                        <a:lnTo>
                          <a:pt x="140" y="152"/>
                        </a:lnTo>
                        <a:lnTo>
                          <a:pt x="141" y="152"/>
                        </a:lnTo>
                        <a:lnTo>
                          <a:pt x="143" y="152"/>
                        </a:lnTo>
                        <a:lnTo>
                          <a:pt x="145" y="152"/>
                        </a:lnTo>
                        <a:lnTo>
                          <a:pt x="145" y="153"/>
                        </a:lnTo>
                        <a:lnTo>
                          <a:pt x="148" y="153"/>
                        </a:lnTo>
                        <a:lnTo>
                          <a:pt x="150" y="153"/>
                        </a:lnTo>
                        <a:lnTo>
                          <a:pt x="152" y="153"/>
                        </a:lnTo>
                        <a:lnTo>
                          <a:pt x="153" y="153"/>
                        </a:lnTo>
                        <a:lnTo>
                          <a:pt x="152" y="152"/>
                        </a:lnTo>
                        <a:lnTo>
                          <a:pt x="153" y="153"/>
                        </a:lnTo>
                        <a:lnTo>
                          <a:pt x="157" y="153"/>
                        </a:lnTo>
                        <a:lnTo>
                          <a:pt x="158" y="155"/>
                        </a:lnTo>
                        <a:lnTo>
                          <a:pt x="160" y="157"/>
                        </a:lnTo>
                        <a:lnTo>
                          <a:pt x="162" y="157"/>
                        </a:lnTo>
                        <a:lnTo>
                          <a:pt x="163" y="157"/>
                        </a:lnTo>
                        <a:lnTo>
                          <a:pt x="163" y="159"/>
                        </a:lnTo>
                        <a:lnTo>
                          <a:pt x="165" y="159"/>
                        </a:lnTo>
                        <a:lnTo>
                          <a:pt x="167" y="159"/>
                        </a:lnTo>
                        <a:lnTo>
                          <a:pt x="168" y="159"/>
                        </a:lnTo>
                        <a:lnTo>
                          <a:pt x="170" y="159"/>
                        </a:lnTo>
                        <a:lnTo>
                          <a:pt x="172" y="159"/>
                        </a:lnTo>
                        <a:lnTo>
                          <a:pt x="173" y="157"/>
                        </a:lnTo>
                        <a:lnTo>
                          <a:pt x="177" y="157"/>
                        </a:lnTo>
                        <a:lnTo>
                          <a:pt x="177" y="155"/>
                        </a:lnTo>
                        <a:lnTo>
                          <a:pt x="177" y="153"/>
                        </a:lnTo>
                        <a:lnTo>
                          <a:pt x="179" y="153"/>
                        </a:lnTo>
                        <a:lnTo>
                          <a:pt x="180" y="152"/>
                        </a:lnTo>
                        <a:lnTo>
                          <a:pt x="182" y="150"/>
                        </a:lnTo>
                        <a:lnTo>
                          <a:pt x="184" y="150"/>
                        </a:lnTo>
                        <a:lnTo>
                          <a:pt x="185" y="148"/>
                        </a:lnTo>
                        <a:lnTo>
                          <a:pt x="185" y="147"/>
                        </a:lnTo>
                        <a:lnTo>
                          <a:pt x="187" y="147"/>
                        </a:lnTo>
                        <a:lnTo>
                          <a:pt x="189" y="145"/>
                        </a:lnTo>
                        <a:lnTo>
                          <a:pt x="190" y="145"/>
                        </a:lnTo>
                        <a:lnTo>
                          <a:pt x="190" y="14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47" name="Freeform 321">
                    <a:extLst>
                      <a:ext uri="{FF2B5EF4-FFF2-40B4-BE49-F238E27FC236}">
                        <a16:creationId xmlns:a16="http://schemas.microsoft.com/office/drawing/2014/main" id="{9DD1674E-62A1-D344-9092-9CE85F7E294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8" y="480"/>
                    <a:ext cx="199" cy="172"/>
                  </a:xfrm>
                  <a:custGeom>
                    <a:avLst/>
                    <a:gdLst>
                      <a:gd name="T0" fmla="*/ 189 w 199"/>
                      <a:gd name="T1" fmla="*/ 138 h 172"/>
                      <a:gd name="T2" fmla="*/ 180 w 199"/>
                      <a:gd name="T3" fmla="*/ 130 h 172"/>
                      <a:gd name="T4" fmla="*/ 177 w 199"/>
                      <a:gd name="T5" fmla="*/ 121 h 172"/>
                      <a:gd name="T6" fmla="*/ 182 w 199"/>
                      <a:gd name="T7" fmla="*/ 115 h 172"/>
                      <a:gd name="T8" fmla="*/ 179 w 199"/>
                      <a:gd name="T9" fmla="*/ 105 h 172"/>
                      <a:gd name="T10" fmla="*/ 179 w 199"/>
                      <a:gd name="T11" fmla="*/ 101 h 172"/>
                      <a:gd name="T12" fmla="*/ 175 w 199"/>
                      <a:gd name="T13" fmla="*/ 94 h 172"/>
                      <a:gd name="T14" fmla="*/ 167 w 199"/>
                      <a:gd name="T15" fmla="*/ 96 h 172"/>
                      <a:gd name="T16" fmla="*/ 170 w 199"/>
                      <a:gd name="T17" fmla="*/ 88 h 172"/>
                      <a:gd name="T18" fmla="*/ 177 w 199"/>
                      <a:gd name="T19" fmla="*/ 81 h 172"/>
                      <a:gd name="T20" fmla="*/ 182 w 199"/>
                      <a:gd name="T21" fmla="*/ 73 h 172"/>
                      <a:gd name="T22" fmla="*/ 189 w 199"/>
                      <a:gd name="T23" fmla="*/ 68 h 172"/>
                      <a:gd name="T24" fmla="*/ 192 w 199"/>
                      <a:gd name="T25" fmla="*/ 52 h 172"/>
                      <a:gd name="T26" fmla="*/ 190 w 199"/>
                      <a:gd name="T27" fmla="*/ 41 h 172"/>
                      <a:gd name="T28" fmla="*/ 175 w 199"/>
                      <a:gd name="T29" fmla="*/ 37 h 172"/>
                      <a:gd name="T30" fmla="*/ 167 w 199"/>
                      <a:gd name="T31" fmla="*/ 32 h 172"/>
                      <a:gd name="T32" fmla="*/ 152 w 199"/>
                      <a:gd name="T33" fmla="*/ 29 h 172"/>
                      <a:gd name="T34" fmla="*/ 148 w 199"/>
                      <a:gd name="T35" fmla="*/ 20 h 172"/>
                      <a:gd name="T36" fmla="*/ 140 w 199"/>
                      <a:gd name="T37" fmla="*/ 19 h 172"/>
                      <a:gd name="T38" fmla="*/ 130 w 199"/>
                      <a:gd name="T39" fmla="*/ 14 h 172"/>
                      <a:gd name="T40" fmla="*/ 118 w 199"/>
                      <a:gd name="T41" fmla="*/ 7 h 172"/>
                      <a:gd name="T42" fmla="*/ 113 w 199"/>
                      <a:gd name="T43" fmla="*/ 2 h 172"/>
                      <a:gd name="T44" fmla="*/ 99 w 199"/>
                      <a:gd name="T45" fmla="*/ 14 h 172"/>
                      <a:gd name="T46" fmla="*/ 87 w 199"/>
                      <a:gd name="T47" fmla="*/ 25 h 172"/>
                      <a:gd name="T48" fmla="*/ 81 w 199"/>
                      <a:gd name="T49" fmla="*/ 34 h 172"/>
                      <a:gd name="T50" fmla="*/ 74 w 199"/>
                      <a:gd name="T51" fmla="*/ 37 h 172"/>
                      <a:gd name="T52" fmla="*/ 59 w 199"/>
                      <a:gd name="T53" fmla="*/ 35 h 172"/>
                      <a:gd name="T54" fmla="*/ 52 w 199"/>
                      <a:gd name="T55" fmla="*/ 30 h 172"/>
                      <a:gd name="T56" fmla="*/ 47 w 199"/>
                      <a:gd name="T57" fmla="*/ 37 h 172"/>
                      <a:gd name="T58" fmla="*/ 50 w 199"/>
                      <a:gd name="T59" fmla="*/ 49 h 172"/>
                      <a:gd name="T60" fmla="*/ 44 w 199"/>
                      <a:gd name="T61" fmla="*/ 51 h 172"/>
                      <a:gd name="T62" fmla="*/ 34 w 199"/>
                      <a:gd name="T63" fmla="*/ 52 h 172"/>
                      <a:gd name="T64" fmla="*/ 22 w 199"/>
                      <a:gd name="T65" fmla="*/ 47 h 172"/>
                      <a:gd name="T66" fmla="*/ 13 w 199"/>
                      <a:gd name="T67" fmla="*/ 51 h 172"/>
                      <a:gd name="T68" fmla="*/ 0 w 199"/>
                      <a:gd name="T69" fmla="*/ 56 h 172"/>
                      <a:gd name="T70" fmla="*/ 5 w 199"/>
                      <a:gd name="T71" fmla="*/ 57 h 172"/>
                      <a:gd name="T72" fmla="*/ 1 w 199"/>
                      <a:gd name="T73" fmla="*/ 62 h 172"/>
                      <a:gd name="T74" fmla="*/ 13 w 199"/>
                      <a:gd name="T75" fmla="*/ 66 h 172"/>
                      <a:gd name="T76" fmla="*/ 25 w 199"/>
                      <a:gd name="T77" fmla="*/ 71 h 172"/>
                      <a:gd name="T78" fmla="*/ 30 w 199"/>
                      <a:gd name="T79" fmla="*/ 73 h 172"/>
                      <a:gd name="T80" fmla="*/ 40 w 199"/>
                      <a:gd name="T81" fmla="*/ 78 h 172"/>
                      <a:gd name="T82" fmla="*/ 42 w 199"/>
                      <a:gd name="T83" fmla="*/ 81 h 172"/>
                      <a:gd name="T84" fmla="*/ 50 w 199"/>
                      <a:gd name="T85" fmla="*/ 94 h 172"/>
                      <a:gd name="T86" fmla="*/ 59 w 199"/>
                      <a:gd name="T87" fmla="*/ 105 h 172"/>
                      <a:gd name="T88" fmla="*/ 64 w 199"/>
                      <a:gd name="T89" fmla="*/ 118 h 172"/>
                      <a:gd name="T90" fmla="*/ 59 w 199"/>
                      <a:gd name="T91" fmla="*/ 118 h 172"/>
                      <a:gd name="T92" fmla="*/ 57 w 199"/>
                      <a:gd name="T93" fmla="*/ 135 h 172"/>
                      <a:gd name="T94" fmla="*/ 49 w 199"/>
                      <a:gd name="T95" fmla="*/ 153 h 172"/>
                      <a:gd name="T96" fmla="*/ 54 w 199"/>
                      <a:gd name="T97" fmla="*/ 159 h 172"/>
                      <a:gd name="T98" fmla="*/ 67 w 199"/>
                      <a:gd name="T99" fmla="*/ 165 h 172"/>
                      <a:gd name="T100" fmla="*/ 86 w 199"/>
                      <a:gd name="T101" fmla="*/ 165 h 172"/>
                      <a:gd name="T102" fmla="*/ 96 w 199"/>
                      <a:gd name="T103" fmla="*/ 169 h 172"/>
                      <a:gd name="T104" fmla="*/ 109 w 199"/>
                      <a:gd name="T105" fmla="*/ 172 h 172"/>
                      <a:gd name="T106" fmla="*/ 123 w 199"/>
                      <a:gd name="T107" fmla="*/ 165 h 172"/>
                      <a:gd name="T108" fmla="*/ 130 w 199"/>
                      <a:gd name="T109" fmla="*/ 155 h 172"/>
                      <a:gd name="T110" fmla="*/ 138 w 199"/>
                      <a:gd name="T111" fmla="*/ 150 h 172"/>
                      <a:gd name="T112" fmla="*/ 145 w 199"/>
                      <a:gd name="T113" fmla="*/ 153 h 172"/>
                      <a:gd name="T114" fmla="*/ 152 w 199"/>
                      <a:gd name="T115" fmla="*/ 152 h 172"/>
                      <a:gd name="T116" fmla="*/ 162 w 199"/>
                      <a:gd name="T117" fmla="*/ 157 h 172"/>
                      <a:gd name="T118" fmla="*/ 168 w 199"/>
                      <a:gd name="T119" fmla="*/ 159 h 172"/>
                      <a:gd name="T120" fmla="*/ 177 w 199"/>
                      <a:gd name="T121" fmla="*/ 155 h 172"/>
                      <a:gd name="T122" fmla="*/ 184 w 199"/>
                      <a:gd name="T123" fmla="*/ 150 h 172"/>
                      <a:gd name="T124" fmla="*/ 190 w 199"/>
                      <a:gd name="T125" fmla="*/ 145 h 1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199" h="172">
                        <a:moveTo>
                          <a:pt x="190" y="143"/>
                        </a:moveTo>
                        <a:lnTo>
                          <a:pt x="190" y="142"/>
                        </a:lnTo>
                        <a:lnTo>
                          <a:pt x="190" y="140"/>
                        </a:lnTo>
                        <a:lnTo>
                          <a:pt x="190" y="138"/>
                        </a:lnTo>
                        <a:lnTo>
                          <a:pt x="189" y="138"/>
                        </a:lnTo>
                        <a:lnTo>
                          <a:pt x="185" y="138"/>
                        </a:lnTo>
                        <a:lnTo>
                          <a:pt x="184" y="137"/>
                        </a:lnTo>
                        <a:lnTo>
                          <a:pt x="182" y="135"/>
                        </a:lnTo>
                        <a:lnTo>
                          <a:pt x="180" y="132"/>
                        </a:lnTo>
                        <a:lnTo>
                          <a:pt x="180" y="130"/>
                        </a:lnTo>
                        <a:lnTo>
                          <a:pt x="180" y="127"/>
                        </a:lnTo>
                        <a:lnTo>
                          <a:pt x="180" y="125"/>
                        </a:lnTo>
                        <a:lnTo>
                          <a:pt x="179" y="125"/>
                        </a:lnTo>
                        <a:lnTo>
                          <a:pt x="179" y="123"/>
                        </a:lnTo>
                        <a:lnTo>
                          <a:pt x="177" y="121"/>
                        </a:lnTo>
                        <a:lnTo>
                          <a:pt x="179" y="120"/>
                        </a:lnTo>
                        <a:lnTo>
                          <a:pt x="180" y="118"/>
                        </a:lnTo>
                        <a:lnTo>
                          <a:pt x="182" y="118"/>
                        </a:lnTo>
                        <a:lnTo>
                          <a:pt x="184" y="116"/>
                        </a:lnTo>
                        <a:lnTo>
                          <a:pt x="182" y="115"/>
                        </a:lnTo>
                        <a:lnTo>
                          <a:pt x="180" y="113"/>
                        </a:lnTo>
                        <a:lnTo>
                          <a:pt x="180" y="110"/>
                        </a:lnTo>
                        <a:lnTo>
                          <a:pt x="179" y="108"/>
                        </a:lnTo>
                        <a:lnTo>
                          <a:pt x="179" y="106"/>
                        </a:lnTo>
                        <a:lnTo>
                          <a:pt x="179" y="105"/>
                        </a:lnTo>
                        <a:lnTo>
                          <a:pt x="180" y="105"/>
                        </a:lnTo>
                        <a:lnTo>
                          <a:pt x="182" y="105"/>
                        </a:lnTo>
                        <a:lnTo>
                          <a:pt x="182" y="103"/>
                        </a:lnTo>
                        <a:lnTo>
                          <a:pt x="180" y="103"/>
                        </a:lnTo>
                        <a:lnTo>
                          <a:pt x="179" y="101"/>
                        </a:lnTo>
                        <a:lnTo>
                          <a:pt x="179" y="100"/>
                        </a:lnTo>
                        <a:lnTo>
                          <a:pt x="179" y="96"/>
                        </a:lnTo>
                        <a:lnTo>
                          <a:pt x="179" y="94"/>
                        </a:lnTo>
                        <a:lnTo>
                          <a:pt x="177" y="94"/>
                        </a:lnTo>
                        <a:lnTo>
                          <a:pt x="175" y="94"/>
                        </a:lnTo>
                        <a:lnTo>
                          <a:pt x="172" y="94"/>
                        </a:lnTo>
                        <a:lnTo>
                          <a:pt x="170" y="96"/>
                        </a:lnTo>
                        <a:lnTo>
                          <a:pt x="168" y="100"/>
                        </a:lnTo>
                        <a:lnTo>
                          <a:pt x="167" y="100"/>
                        </a:lnTo>
                        <a:lnTo>
                          <a:pt x="167" y="96"/>
                        </a:lnTo>
                        <a:lnTo>
                          <a:pt x="167" y="94"/>
                        </a:lnTo>
                        <a:lnTo>
                          <a:pt x="167" y="93"/>
                        </a:lnTo>
                        <a:lnTo>
                          <a:pt x="168" y="91"/>
                        </a:lnTo>
                        <a:lnTo>
                          <a:pt x="168" y="89"/>
                        </a:lnTo>
                        <a:lnTo>
                          <a:pt x="170" y="88"/>
                        </a:lnTo>
                        <a:lnTo>
                          <a:pt x="172" y="88"/>
                        </a:lnTo>
                        <a:lnTo>
                          <a:pt x="172" y="86"/>
                        </a:lnTo>
                        <a:lnTo>
                          <a:pt x="173" y="84"/>
                        </a:lnTo>
                        <a:lnTo>
                          <a:pt x="175" y="83"/>
                        </a:lnTo>
                        <a:lnTo>
                          <a:pt x="177" y="81"/>
                        </a:lnTo>
                        <a:lnTo>
                          <a:pt x="179" y="78"/>
                        </a:lnTo>
                        <a:lnTo>
                          <a:pt x="180" y="76"/>
                        </a:lnTo>
                        <a:lnTo>
                          <a:pt x="182" y="76"/>
                        </a:lnTo>
                        <a:lnTo>
                          <a:pt x="180" y="74"/>
                        </a:lnTo>
                        <a:lnTo>
                          <a:pt x="182" y="73"/>
                        </a:lnTo>
                        <a:lnTo>
                          <a:pt x="184" y="73"/>
                        </a:lnTo>
                        <a:lnTo>
                          <a:pt x="187" y="73"/>
                        </a:lnTo>
                        <a:lnTo>
                          <a:pt x="189" y="73"/>
                        </a:lnTo>
                        <a:lnTo>
                          <a:pt x="190" y="71"/>
                        </a:lnTo>
                        <a:lnTo>
                          <a:pt x="189" y="68"/>
                        </a:lnTo>
                        <a:lnTo>
                          <a:pt x="189" y="64"/>
                        </a:lnTo>
                        <a:lnTo>
                          <a:pt x="190" y="61"/>
                        </a:lnTo>
                        <a:lnTo>
                          <a:pt x="190" y="59"/>
                        </a:lnTo>
                        <a:lnTo>
                          <a:pt x="192" y="56"/>
                        </a:lnTo>
                        <a:lnTo>
                          <a:pt x="192" y="52"/>
                        </a:lnTo>
                        <a:lnTo>
                          <a:pt x="195" y="49"/>
                        </a:lnTo>
                        <a:lnTo>
                          <a:pt x="197" y="47"/>
                        </a:lnTo>
                        <a:lnTo>
                          <a:pt x="199" y="44"/>
                        </a:lnTo>
                        <a:lnTo>
                          <a:pt x="194" y="42"/>
                        </a:lnTo>
                        <a:lnTo>
                          <a:pt x="190" y="41"/>
                        </a:lnTo>
                        <a:lnTo>
                          <a:pt x="187" y="41"/>
                        </a:lnTo>
                        <a:lnTo>
                          <a:pt x="184" y="39"/>
                        </a:lnTo>
                        <a:lnTo>
                          <a:pt x="180" y="39"/>
                        </a:lnTo>
                        <a:lnTo>
                          <a:pt x="177" y="39"/>
                        </a:lnTo>
                        <a:lnTo>
                          <a:pt x="175" y="37"/>
                        </a:lnTo>
                        <a:lnTo>
                          <a:pt x="173" y="35"/>
                        </a:lnTo>
                        <a:lnTo>
                          <a:pt x="172" y="34"/>
                        </a:lnTo>
                        <a:lnTo>
                          <a:pt x="170" y="32"/>
                        </a:lnTo>
                        <a:lnTo>
                          <a:pt x="168" y="32"/>
                        </a:lnTo>
                        <a:lnTo>
                          <a:pt x="167" y="32"/>
                        </a:lnTo>
                        <a:lnTo>
                          <a:pt x="162" y="30"/>
                        </a:lnTo>
                        <a:lnTo>
                          <a:pt x="160" y="32"/>
                        </a:lnTo>
                        <a:lnTo>
                          <a:pt x="157" y="30"/>
                        </a:lnTo>
                        <a:lnTo>
                          <a:pt x="155" y="29"/>
                        </a:lnTo>
                        <a:lnTo>
                          <a:pt x="152" y="29"/>
                        </a:lnTo>
                        <a:lnTo>
                          <a:pt x="152" y="27"/>
                        </a:lnTo>
                        <a:lnTo>
                          <a:pt x="150" y="25"/>
                        </a:lnTo>
                        <a:lnTo>
                          <a:pt x="150" y="22"/>
                        </a:lnTo>
                        <a:lnTo>
                          <a:pt x="150" y="20"/>
                        </a:lnTo>
                        <a:lnTo>
                          <a:pt x="148" y="20"/>
                        </a:lnTo>
                        <a:lnTo>
                          <a:pt x="146" y="22"/>
                        </a:lnTo>
                        <a:lnTo>
                          <a:pt x="145" y="24"/>
                        </a:lnTo>
                        <a:lnTo>
                          <a:pt x="143" y="24"/>
                        </a:lnTo>
                        <a:lnTo>
                          <a:pt x="140" y="24"/>
                        </a:lnTo>
                        <a:lnTo>
                          <a:pt x="140" y="19"/>
                        </a:lnTo>
                        <a:lnTo>
                          <a:pt x="138" y="17"/>
                        </a:lnTo>
                        <a:lnTo>
                          <a:pt x="136" y="15"/>
                        </a:lnTo>
                        <a:lnTo>
                          <a:pt x="133" y="15"/>
                        </a:lnTo>
                        <a:lnTo>
                          <a:pt x="131" y="14"/>
                        </a:lnTo>
                        <a:lnTo>
                          <a:pt x="130" y="14"/>
                        </a:lnTo>
                        <a:lnTo>
                          <a:pt x="126" y="12"/>
                        </a:lnTo>
                        <a:lnTo>
                          <a:pt x="125" y="10"/>
                        </a:lnTo>
                        <a:lnTo>
                          <a:pt x="125" y="9"/>
                        </a:lnTo>
                        <a:lnTo>
                          <a:pt x="121" y="9"/>
                        </a:lnTo>
                        <a:lnTo>
                          <a:pt x="118" y="7"/>
                        </a:lnTo>
                        <a:lnTo>
                          <a:pt x="116" y="5"/>
                        </a:lnTo>
                        <a:lnTo>
                          <a:pt x="116" y="2"/>
                        </a:lnTo>
                        <a:lnTo>
                          <a:pt x="116" y="0"/>
                        </a:lnTo>
                        <a:lnTo>
                          <a:pt x="114" y="2"/>
                        </a:lnTo>
                        <a:lnTo>
                          <a:pt x="113" y="2"/>
                        </a:lnTo>
                        <a:lnTo>
                          <a:pt x="109" y="2"/>
                        </a:lnTo>
                        <a:lnTo>
                          <a:pt x="106" y="3"/>
                        </a:lnTo>
                        <a:lnTo>
                          <a:pt x="101" y="5"/>
                        </a:lnTo>
                        <a:lnTo>
                          <a:pt x="99" y="9"/>
                        </a:lnTo>
                        <a:lnTo>
                          <a:pt x="99" y="14"/>
                        </a:lnTo>
                        <a:lnTo>
                          <a:pt x="99" y="17"/>
                        </a:lnTo>
                        <a:lnTo>
                          <a:pt x="99" y="19"/>
                        </a:lnTo>
                        <a:lnTo>
                          <a:pt x="96" y="22"/>
                        </a:lnTo>
                        <a:lnTo>
                          <a:pt x="93" y="24"/>
                        </a:lnTo>
                        <a:lnTo>
                          <a:pt x="87" y="25"/>
                        </a:lnTo>
                        <a:lnTo>
                          <a:pt x="82" y="27"/>
                        </a:lnTo>
                        <a:lnTo>
                          <a:pt x="79" y="29"/>
                        </a:lnTo>
                        <a:lnTo>
                          <a:pt x="77" y="32"/>
                        </a:lnTo>
                        <a:lnTo>
                          <a:pt x="77" y="34"/>
                        </a:lnTo>
                        <a:lnTo>
                          <a:pt x="81" y="34"/>
                        </a:lnTo>
                        <a:lnTo>
                          <a:pt x="82" y="34"/>
                        </a:lnTo>
                        <a:lnTo>
                          <a:pt x="82" y="35"/>
                        </a:lnTo>
                        <a:lnTo>
                          <a:pt x="81" y="35"/>
                        </a:lnTo>
                        <a:lnTo>
                          <a:pt x="77" y="35"/>
                        </a:lnTo>
                        <a:lnTo>
                          <a:pt x="74" y="37"/>
                        </a:lnTo>
                        <a:lnTo>
                          <a:pt x="71" y="37"/>
                        </a:lnTo>
                        <a:lnTo>
                          <a:pt x="69" y="37"/>
                        </a:lnTo>
                        <a:lnTo>
                          <a:pt x="64" y="37"/>
                        </a:lnTo>
                        <a:lnTo>
                          <a:pt x="60" y="35"/>
                        </a:lnTo>
                        <a:lnTo>
                          <a:pt x="59" y="35"/>
                        </a:lnTo>
                        <a:lnTo>
                          <a:pt x="57" y="34"/>
                        </a:lnTo>
                        <a:lnTo>
                          <a:pt x="55" y="32"/>
                        </a:lnTo>
                        <a:lnTo>
                          <a:pt x="55" y="30"/>
                        </a:lnTo>
                        <a:lnTo>
                          <a:pt x="54" y="30"/>
                        </a:lnTo>
                        <a:lnTo>
                          <a:pt x="52" y="30"/>
                        </a:lnTo>
                        <a:lnTo>
                          <a:pt x="49" y="30"/>
                        </a:lnTo>
                        <a:lnTo>
                          <a:pt x="45" y="29"/>
                        </a:lnTo>
                        <a:lnTo>
                          <a:pt x="45" y="32"/>
                        </a:lnTo>
                        <a:lnTo>
                          <a:pt x="45" y="34"/>
                        </a:lnTo>
                        <a:lnTo>
                          <a:pt x="47" y="37"/>
                        </a:lnTo>
                        <a:lnTo>
                          <a:pt x="49" y="37"/>
                        </a:lnTo>
                        <a:lnTo>
                          <a:pt x="49" y="41"/>
                        </a:lnTo>
                        <a:lnTo>
                          <a:pt x="50" y="44"/>
                        </a:lnTo>
                        <a:lnTo>
                          <a:pt x="50" y="46"/>
                        </a:lnTo>
                        <a:lnTo>
                          <a:pt x="50" y="49"/>
                        </a:lnTo>
                        <a:lnTo>
                          <a:pt x="52" y="51"/>
                        </a:lnTo>
                        <a:lnTo>
                          <a:pt x="49" y="51"/>
                        </a:lnTo>
                        <a:lnTo>
                          <a:pt x="47" y="51"/>
                        </a:lnTo>
                        <a:lnTo>
                          <a:pt x="45" y="51"/>
                        </a:lnTo>
                        <a:lnTo>
                          <a:pt x="44" y="51"/>
                        </a:lnTo>
                        <a:lnTo>
                          <a:pt x="42" y="51"/>
                        </a:lnTo>
                        <a:lnTo>
                          <a:pt x="40" y="51"/>
                        </a:lnTo>
                        <a:lnTo>
                          <a:pt x="39" y="51"/>
                        </a:lnTo>
                        <a:lnTo>
                          <a:pt x="37" y="51"/>
                        </a:lnTo>
                        <a:lnTo>
                          <a:pt x="34" y="52"/>
                        </a:lnTo>
                        <a:lnTo>
                          <a:pt x="32" y="51"/>
                        </a:lnTo>
                        <a:lnTo>
                          <a:pt x="28" y="49"/>
                        </a:lnTo>
                        <a:lnTo>
                          <a:pt x="27" y="47"/>
                        </a:lnTo>
                        <a:lnTo>
                          <a:pt x="23" y="47"/>
                        </a:lnTo>
                        <a:lnTo>
                          <a:pt x="22" y="47"/>
                        </a:lnTo>
                        <a:lnTo>
                          <a:pt x="20" y="47"/>
                        </a:lnTo>
                        <a:lnTo>
                          <a:pt x="18" y="49"/>
                        </a:lnTo>
                        <a:lnTo>
                          <a:pt x="17" y="49"/>
                        </a:lnTo>
                        <a:lnTo>
                          <a:pt x="15" y="51"/>
                        </a:lnTo>
                        <a:lnTo>
                          <a:pt x="13" y="51"/>
                        </a:lnTo>
                        <a:lnTo>
                          <a:pt x="10" y="51"/>
                        </a:lnTo>
                        <a:lnTo>
                          <a:pt x="8" y="51"/>
                        </a:lnTo>
                        <a:lnTo>
                          <a:pt x="5" y="52"/>
                        </a:lnTo>
                        <a:lnTo>
                          <a:pt x="1" y="54"/>
                        </a:lnTo>
                        <a:lnTo>
                          <a:pt x="0" y="56"/>
                        </a:lnTo>
                        <a:lnTo>
                          <a:pt x="0" y="57"/>
                        </a:lnTo>
                        <a:lnTo>
                          <a:pt x="3" y="57"/>
                        </a:lnTo>
                        <a:lnTo>
                          <a:pt x="7" y="56"/>
                        </a:lnTo>
                        <a:lnTo>
                          <a:pt x="7" y="57"/>
                        </a:lnTo>
                        <a:lnTo>
                          <a:pt x="5" y="57"/>
                        </a:lnTo>
                        <a:lnTo>
                          <a:pt x="3" y="59"/>
                        </a:lnTo>
                        <a:lnTo>
                          <a:pt x="3" y="61"/>
                        </a:lnTo>
                        <a:lnTo>
                          <a:pt x="7" y="61"/>
                        </a:lnTo>
                        <a:lnTo>
                          <a:pt x="3" y="62"/>
                        </a:lnTo>
                        <a:lnTo>
                          <a:pt x="1" y="62"/>
                        </a:lnTo>
                        <a:lnTo>
                          <a:pt x="3" y="64"/>
                        </a:lnTo>
                        <a:lnTo>
                          <a:pt x="5" y="66"/>
                        </a:lnTo>
                        <a:lnTo>
                          <a:pt x="7" y="68"/>
                        </a:lnTo>
                        <a:lnTo>
                          <a:pt x="10" y="66"/>
                        </a:lnTo>
                        <a:lnTo>
                          <a:pt x="13" y="66"/>
                        </a:lnTo>
                        <a:lnTo>
                          <a:pt x="15" y="68"/>
                        </a:lnTo>
                        <a:lnTo>
                          <a:pt x="18" y="69"/>
                        </a:lnTo>
                        <a:lnTo>
                          <a:pt x="22" y="69"/>
                        </a:lnTo>
                        <a:lnTo>
                          <a:pt x="23" y="71"/>
                        </a:lnTo>
                        <a:lnTo>
                          <a:pt x="25" y="71"/>
                        </a:lnTo>
                        <a:lnTo>
                          <a:pt x="25" y="73"/>
                        </a:lnTo>
                        <a:lnTo>
                          <a:pt x="27" y="73"/>
                        </a:lnTo>
                        <a:lnTo>
                          <a:pt x="30" y="71"/>
                        </a:lnTo>
                        <a:lnTo>
                          <a:pt x="32" y="73"/>
                        </a:lnTo>
                        <a:lnTo>
                          <a:pt x="30" y="73"/>
                        </a:lnTo>
                        <a:lnTo>
                          <a:pt x="35" y="73"/>
                        </a:lnTo>
                        <a:lnTo>
                          <a:pt x="37" y="74"/>
                        </a:lnTo>
                        <a:lnTo>
                          <a:pt x="37" y="76"/>
                        </a:lnTo>
                        <a:lnTo>
                          <a:pt x="37" y="78"/>
                        </a:lnTo>
                        <a:lnTo>
                          <a:pt x="40" y="78"/>
                        </a:lnTo>
                        <a:lnTo>
                          <a:pt x="45" y="78"/>
                        </a:lnTo>
                        <a:lnTo>
                          <a:pt x="47" y="79"/>
                        </a:lnTo>
                        <a:lnTo>
                          <a:pt x="45" y="79"/>
                        </a:lnTo>
                        <a:lnTo>
                          <a:pt x="42" y="79"/>
                        </a:lnTo>
                        <a:lnTo>
                          <a:pt x="42" y="81"/>
                        </a:lnTo>
                        <a:lnTo>
                          <a:pt x="44" y="84"/>
                        </a:lnTo>
                        <a:lnTo>
                          <a:pt x="42" y="86"/>
                        </a:lnTo>
                        <a:lnTo>
                          <a:pt x="45" y="89"/>
                        </a:lnTo>
                        <a:lnTo>
                          <a:pt x="47" y="93"/>
                        </a:lnTo>
                        <a:lnTo>
                          <a:pt x="50" y="94"/>
                        </a:lnTo>
                        <a:lnTo>
                          <a:pt x="54" y="96"/>
                        </a:lnTo>
                        <a:lnTo>
                          <a:pt x="57" y="98"/>
                        </a:lnTo>
                        <a:lnTo>
                          <a:pt x="57" y="100"/>
                        </a:lnTo>
                        <a:lnTo>
                          <a:pt x="59" y="101"/>
                        </a:lnTo>
                        <a:lnTo>
                          <a:pt x="59" y="105"/>
                        </a:lnTo>
                        <a:lnTo>
                          <a:pt x="57" y="108"/>
                        </a:lnTo>
                        <a:lnTo>
                          <a:pt x="59" y="110"/>
                        </a:lnTo>
                        <a:lnTo>
                          <a:pt x="60" y="111"/>
                        </a:lnTo>
                        <a:lnTo>
                          <a:pt x="64" y="115"/>
                        </a:lnTo>
                        <a:lnTo>
                          <a:pt x="64" y="118"/>
                        </a:lnTo>
                        <a:lnTo>
                          <a:pt x="64" y="116"/>
                        </a:lnTo>
                        <a:lnTo>
                          <a:pt x="62" y="115"/>
                        </a:lnTo>
                        <a:lnTo>
                          <a:pt x="59" y="113"/>
                        </a:lnTo>
                        <a:lnTo>
                          <a:pt x="59" y="115"/>
                        </a:lnTo>
                        <a:lnTo>
                          <a:pt x="59" y="118"/>
                        </a:lnTo>
                        <a:lnTo>
                          <a:pt x="57" y="123"/>
                        </a:lnTo>
                        <a:lnTo>
                          <a:pt x="57" y="127"/>
                        </a:lnTo>
                        <a:lnTo>
                          <a:pt x="59" y="128"/>
                        </a:lnTo>
                        <a:lnTo>
                          <a:pt x="59" y="130"/>
                        </a:lnTo>
                        <a:lnTo>
                          <a:pt x="57" y="135"/>
                        </a:lnTo>
                        <a:lnTo>
                          <a:pt x="55" y="140"/>
                        </a:lnTo>
                        <a:lnTo>
                          <a:pt x="54" y="145"/>
                        </a:lnTo>
                        <a:lnTo>
                          <a:pt x="54" y="148"/>
                        </a:lnTo>
                        <a:lnTo>
                          <a:pt x="52" y="152"/>
                        </a:lnTo>
                        <a:lnTo>
                          <a:pt x="49" y="153"/>
                        </a:lnTo>
                        <a:lnTo>
                          <a:pt x="47" y="153"/>
                        </a:lnTo>
                        <a:lnTo>
                          <a:pt x="47" y="155"/>
                        </a:lnTo>
                        <a:lnTo>
                          <a:pt x="49" y="155"/>
                        </a:lnTo>
                        <a:lnTo>
                          <a:pt x="50" y="157"/>
                        </a:lnTo>
                        <a:lnTo>
                          <a:pt x="54" y="159"/>
                        </a:lnTo>
                        <a:lnTo>
                          <a:pt x="55" y="160"/>
                        </a:lnTo>
                        <a:lnTo>
                          <a:pt x="59" y="160"/>
                        </a:lnTo>
                        <a:lnTo>
                          <a:pt x="62" y="162"/>
                        </a:lnTo>
                        <a:lnTo>
                          <a:pt x="64" y="164"/>
                        </a:lnTo>
                        <a:lnTo>
                          <a:pt x="67" y="165"/>
                        </a:lnTo>
                        <a:lnTo>
                          <a:pt x="72" y="165"/>
                        </a:lnTo>
                        <a:lnTo>
                          <a:pt x="77" y="167"/>
                        </a:lnTo>
                        <a:lnTo>
                          <a:pt x="81" y="167"/>
                        </a:lnTo>
                        <a:lnTo>
                          <a:pt x="82" y="167"/>
                        </a:lnTo>
                        <a:lnTo>
                          <a:pt x="86" y="165"/>
                        </a:lnTo>
                        <a:lnTo>
                          <a:pt x="89" y="165"/>
                        </a:lnTo>
                        <a:lnTo>
                          <a:pt x="91" y="165"/>
                        </a:lnTo>
                        <a:lnTo>
                          <a:pt x="93" y="167"/>
                        </a:lnTo>
                        <a:lnTo>
                          <a:pt x="94" y="169"/>
                        </a:lnTo>
                        <a:lnTo>
                          <a:pt x="96" y="169"/>
                        </a:lnTo>
                        <a:lnTo>
                          <a:pt x="99" y="169"/>
                        </a:lnTo>
                        <a:lnTo>
                          <a:pt x="101" y="170"/>
                        </a:lnTo>
                        <a:lnTo>
                          <a:pt x="103" y="172"/>
                        </a:lnTo>
                        <a:lnTo>
                          <a:pt x="106" y="172"/>
                        </a:lnTo>
                        <a:lnTo>
                          <a:pt x="109" y="172"/>
                        </a:lnTo>
                        <a:lnTo>
                          <a:pt x="114" y="172"/>
                        </a:lnTo>
                        <a:lnTo>
                          <a:pt x="118" y="172"/>
                        </a:lnTo>
                        <a:lnTo>
                          <a:pt x="121" y="172"/>
                        </a:lnTo>
                        <a:lnTo>
                          <a:pt x="123" y="172"/>
                        </a:lnTo>
                        <a:lnTo>
                          <a:pt x="123" y="165"/>
                        </a:lnTo>
                        <a:lnTo>
                          <a:pt x="121" y="164"/>
                        </a:lnTo>
                        <a:lnTo>
                          <a:pt x="123" y="160"/>
                        </a:lnTo>
                        <a:lnTo>
                          <a:pt x="125" y="157"/>
                        </a:lnTo>
                        <a:lnTo>
                          <a:pt x="128" y="155"/>
                        </a:lnTo>
                        <a:lnTo>
                          <a:pt x="130" y="155"/>
                        </a:lnTo>
                        <a:lnTo>
                          <a:pt x="131" y="153"/>
                        </a:lnTo>
                        <a:lnTo>
                          <a:pt x="133" y="153"/>
                        </a:lnTo>
                        <a:lnTo>
                          <a:pt x="135" y="152"/>
                        </a:lnTo>
                        <a:lnTo>
                          <a:pt x="136" y="150"/>
                        </a:lnTo>
                        <a:lnTo>
                          <a:pt x="138" y="150"/>
                        </a:lnTo>
                        <a:lnTo>
                          <a:pt x="140" y="152"/>
                        </a:lnTo>
                        <a:lnTo>
                          <a:pt x="141" y="152"/>
                        </a:lnTo>
                        <a:lnTo>
                          <a:pt x="143" y="152"/>
                        </a:lnTo>
                        <a:lnTo>
                          <a:pt x="145" y="152"/>
                        </a:lnTo>
                        <a:lnTo>
                          <a:pt x="145" y="153"/>
                        </a:lnTo>
                        <a:lnTo>
                          <a:pt x="148" y="153"/>
                        </a:lnTo>
                        <a:lnTo>
                          <a:pt x="150" y="153"/>
                        </a:lnTo>
                        <a:lnTo>
                          <a:pt x="152" y="153"/>
                        </a:lnTo>
                        <a:lnTo>
                          <a:pt x="153" y="153"/>
                        </a:lnTo>
                        <a:lnTo>
                          <a:pt x="152" y="152"/>
                        </a:lnTo>
                        <a:lnTo>
                          <a:pt x="153" y="153"/>
                        </a:lnTo>
                        <a:lnTo>
                          <a:pt x="157" y="153"/>
                        </a:lnTo>
                        <a:lnTo>
                          <a:pt x="158" y="155"/>
                        </a:lnTo>
                        <a:lnTo>
                          <a:pt x="160" y="157"/>
                        </a:lnTo>
                        <a:lnTo>
                          <a:pt x="162" y="157"/>
                        </a:lnTo>
                        <a:lnTo>
                          <a:pt x="163" y="157"/>
                        </a:lnTo>
                        <a:lnTo>
                          <a:pt x="163" y="159"/>
                        </a:lnTo>
                        <a:lnTo>
                          <a:pt x="165" y="159"/>
                        </a:lnTo>
                        <a:lnTo>
                          <a:pt x="167" y="159"/>
                        </a:lnTo>
                        <a:lnTo>
                          <a:pt x="168" y="159"/>
                        </a:lnTo>
                        <a:lnTo>
                          <a:pt x="170" y="159"/>
                        </a:lnTo>
                        <a:lnTo>
                          <a:pt x="172" y="159"/>
                        </a:lnTo>
                        <a:lnTo>
                          <a:pt x="173" y="157"/>
                        </a:lnTo>
                        <a:lnTo>
                          <a:pt x="177" y="157"/>
                        </a:lnTo>
                        <a:lnTo>
                          <a:pt x="177" y="155"/>
                        </a:lnTo>
                        <a:lnTo>
                          <a:pt x="177" y="153"/>
                        </a:lnTo>
                        <a:lnTo>
                          <a:pt x="179" y="153"/>
                        </a:lnTo>
                        <a:lnTo>
                          <a:pt x="180" y="152"/>
                        </a:lnTo>
                        <a:lnTo>
                          <a:pt x="182" y="150"/>
                        </a:lnTo>
                        <a:lnTo>
                          <a:pt x="184" y="150"/>
                        </a:lnTo>
                        <a:lnTo>
                          <a:pt x="185" y="148"/>
                        </a:lnTo>
                        <a:lnTo>
                          <a:pt x="185" y="147"/>
                        </a:lnTo>
                        <a:lnTo>
                          <a:pt x="187" y="147"/>
                        </a:lnTo>
                        <a:lnTo>
                          <a:pt x="189" y="145"/>
                        </a:lnTo>
                        <a:lnTo>
                          <a:pt x="190" y="145"/>
                        </a:lnTo>
                        <a:lnTo>
                          <a:pt x="190" y="14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43" name="Group 1942">
                  <a:extLst>
                    <a:ext uri="{FF2B5EF4-FFF2-40B4-BE49-F238E27FC236}">
                      <a16:creationId xmlns:a16="http://schemas.microsoft.com/office/drawing/2014/main" id="{31982B53-11D9-2B41-9409-65A5E74DC24C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95" y="640"/>
                  <a:ext cx="15" cy="31"/>
                  <a:chOff x="295" y="640"/>
                  <a:chExt cx="15" cy="31"/>
                </a:xfrm>
              </p:grpSpPr>
              <p:sp>
                <p:nvSpPr>
                  <p:cNvPr id="1944" name="Freeform 318">
                    <a:extLst>
                      <a:ext uri="{FF2B5EF4-FFF2-40B4-BE49-F238E27FC236}">
                        <a16:creationId xmlns:a16="http://schemas.microsoft.com/office/drawing/2014/main" id="{FBADB57C-9E42-DE4C-91DB-55EE6125049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5" y="640"/>
                    <a:ext cx="15" cy="31"/>
                  </a:xfrm>
                  <a:custGeom>
                    <a:avLst/>
                    <a:gdLst>
                      <a:gd name="T0" fmla="*/ 12 w 15"/>
                      <a:gd name="T1" fmla="*/ 0 h 31"/>
                      <a:gd name="T2" fmla="*/ 12 w 15"/>
                      <a:gd name="T3" fmla="*/ 2 h 31"/>
                      <a:gd name="T4" fmla="*/ 12 w 15"/>
                      <a:gd name="T5" fmla="*/ 4 h 31"/>
                      <a:gd name="T6" fmla="*/ 10 w 15"/>
                      <a:gd name="T7" fmla="*/ 5 h 31"/>
                      <a:gd name="T8" fmla="*/ 9 w 15"/>
                      <a:gd name="T9" fmla="*/ 5 h 31"/>
                      <a:gd name="T10" fmla="*/ 7 w 15"/>
                      <a:gd name="T11" fmla="*/ 7 h 31"/>
                      <a:gd name="T12" fmla="*/ 5 w 15"/>
                      <a:gd name="T13" fmla="*/ 7 h 31"/>
                      <a:gd name="T14" fmla="*/ 4 w 15"/>
                      <a:gd name="T15" fmla="*/ 9 h 31"/>
                      <a:gd name="T16" fmla="*/ 2 w 15"/>
                      <a:gd name="T17" fmla="*/ 7 h 31"/>
                      <a:gd name="T18" fmla="*/ 2 w 15"/>
                      <a:gd name="T19" fmla="*/ 9 h 31"/>
                      <a:gd name="T20" fmla="*/ 0 w 15"/>
                      <a:gd name="T21" fmla="*/ 10 h 31"/>
                      <a:gd name="T22" fmla="*/ 0 w 15"/>
                      <a:gd name="T23" fmla="*/ 12 h 31"/>
                      <a:gd name="T24" fmla="*/ 0 w 15"/>
                      <a:gd name="T25" fmla="*/ 14 h 31"/>
                      <a:gd name="T26" fmla="*/ 0 w 15"/>
                      <a:gd name="T27" fmla="*/ 15 h 31"/>
                      <a:gd name="T28" fmla="*/ 2 w 15"/>
                      <a:gd name="T29" fmla="*/ 17 h 31"/>
                      <a:gd name="T30" fmla="*/ 2 w 15"/>
                      <a:gd name="T31" fmla="*/ 20 h 31"/>
                      <a:gd name="T32" fmla="*/ 2 w 15"/>
                      <a:gd name="T33" fmla="*/ 22 h 31"/>
                      <a:gd name="T34" fmla="*/ 2 w 15"/>
                      <a:gd name="T35" fmla="*/ 24 h 31"/>
                      <a:gd name="T36" fmla="*/ 4 w 15"/>
                      <a:gd name="T37" fmla="*/ 24 h 31"/>
                      <a:gd name="T38" fmla="*/ 4 w 15"/>
                      <a:gd name="T39" fmla="*/ 26 h 31"/>
                      <a:gd name="T40" fmla="*/ 5 w 15"/>
                      <a:gd name="T41" fmla="*/ 27 h 31"/>
                      <a:gd name="T42" fmla="*/ 7 w 15"/>
                      <a:gd name="T43" fmla="*/ 29 h 31"/>
                      <a:gd name="T44" fmla="*/ 9 w 15"/>
                      <a:gd name="T45" fmla="*/ 29 h 31"/>
                      <a:gd name="T46" fmla="*/ 10 w 15"/>
                      <a:gd name="T47" fmla="*/ 31 h 31"/>
                      <a:gd name="T48" fmla="*/ 10 w 15"/>
                      <a:gd name="T49" fmla="*/ 29 h 31"/>
                      <a:gd name="T50" fmla="*/ 10 w 15"/>
                      <a:gd name="T51" fmla="*/ 27 h 31"/>
                      <a:gd name="T52" fmla="*/ 12 w 15"/>
                      <a:gd name="T53" fmla="*/ 27 h 31"/>
                      <a:gd name="T54" fmla="*/ 12 w 15"/>
                      <a:gd name="T55" fmla="*/ 26 h 31"/>
                      <a:gd name="T56" fmla="*/ 12 w 15"/>
                      <a:gd name="T57" fmla="*/ 24 h 31"/>
                      <a:gd name="T58" fmla="*/ 14 w 15"/>
                      <a:gd name="T59" fmla="*/ 22 h 31"/>
                      <a:gd name="T60" fmla="*/ 14 w 15"/>
                      <a:gd name="T61" fmla="*/ 20 h 31"/>
                      <a:gd name="T62" fmla="*/ 14 w 15"/>
                      <a:gd name="T63" fmla="*/ 17 h 31"/>
                      <a:gd name="T64" fmla="*/ 15 w 15"/>
                      <a:gd name="T65" fmla="*/ 15 h 31"/>
                      <a:gd name="T66" fmla="*/ 14 w 15"/>
                      <a:gd name="T67" fmla="*/ 10 h 31"/>
                      <a:gd name="T68" fmla="*/ 14 w 15"/>
                      <a:gd name="T69" fmla="*/ 9 h 31"/>
                      <a:gd name="T70" fmla="*/ 14 w 15"/>
                      <a:gd name="T71" fmla="*/ 5 h 31"/>
                      <a:gd name="T72" fmla="*/ 14 w 15"/>
                      <a:gd name="T73" fmla="*/ 4 h 31"/>
                      <a:gd name="T74" fmla="*/ 14 w 15"/>
                      <a:gd name="T75" fmla="*/ 0 h 31"/>
                      <a:gd name="T76" fmla="*/ 12 w 15"/>
                      <a:gd name="T77" fmla="*/ 0 h 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</a:cxnLst>
                    <a:rect l="0" t="0" r="r" b="b"/>
                    <a:pathLst>
                      <a:path w="15" h="31">
                        <a:moveTo>
                          <a:pt x="12" y="0"/>
                        </a:moveTo>
                        <a:lnTo>
                          <a:pt x="12" y="2"/>
                        </a:lnTo>
                        <a:lnTo>
                          <a:pt x="12" y="4"/>
                        </a:lnTo>
                        <a:lnTo>
                          <a:pt x="10" y="5"/>
                        </a:lnTo>
                        <a:lnTo>
                          <a:pt x="9" y="5"/>
                        </a:lnTo>
                        <a:lnTo>
                          <a:pt x="7" y="7"/>
                        </a:lnTo>
                        <a:lnTo>
                          <a:pt x="5" y="7"/>
                        </a:lnTo>
                        <a:lnTo>
                          <a:pt x="4" y="9"/>
                        </a:lnTo>
                        <a:lnTo>
                          <a:pt x="2" y="7"/>
                        </a:lnTo>
                        <a:lnTo>
                          <a:pt x="2" y="9"/>
                        </a:lnTo>
                        <a:lnTo>
                          <a:pt x="0" y="10"/>
                        </a:lnTo>
                        <a:lnTo>
                          <a:pt x="0" y="12"/>
                        </a:lnTo>
                        <a:lnTo>
                          <a:pt x="0" y="14"/>
                        </a:lnTo>
                        <a:lnTo>
                          <a:pt x="0" y="15"/>
                        </a:lnTo>
                        <a:lnTo>
                          <a:pt x="2" y="17"/>
                        </a:lnTo>
                        <a:lnTo>
                          <a:pt x="2" y="20"/>
                        </a:lnTo>
                        <a:lnTo>
                          <a:pt x="2" y="22"/>
                        </a:lnTo>
                        <a:lnTo>
                          <a:pt x="2" y="24"/>
                        </a:lnTo>
                        <a:lnTo>
                          <a:pt x="4" y="24"/>
                        </a:lnTo>
                        <a:lnTo>
                          <a:pt x="4" y="26"/>
                        </a:lnTo>
                        <a:lnTo>
                          <a:pt x="5" y="27"/>
                        </a:lnTo>
                        <a:lnTo>
                          <a:pt x="7" y="29"/>
                        </a:lnTo>
                        <a:lnTo>
                          <a:pt x="9" y="29"/>
                        </a:lnTo>
                        <a:lnTo>
                          <a:pt x="10" y="31"/>
                        </a:lnTo>
                        <a:lnTo>
                          <a:pt x="10" y="29"/>
                        </a:lnTo>
                        <a:lnTo>
                          <a:pt x="10" y="27"/>
                        </a:lnTo>
                        <a:lnTo>
                          <a:pt x="12" y="27"/>
                        </a:lnTo>
                        <a:lnTo>
                          <a:pt x="12" y="26"/>
                        </a:lnTo>
                        <a:lnTo>
                          <a:pt x="12" y="24"/>
                        </a:lnTo>
                        <a:lnTo>
                          <a:pt x="14" y="22"/>
                        </a:lnTo>
                        <a:lnTo>
                          <a:pt x="14" y="20"/>
                        </a:lnTo>
                        <a:lnTo>
                          <a:pt x="14" y="17"/>
                        </a:lnTo>
                        <a:lnTo>
                          <a:pt x="15" y="15"/>
                        </a:lnTo>
                        <a:lnTo>
                          <a:pt x="14" y="10"/>
                        </a:lnTo>
                        <a:lnTo>
                          <a:pt x="14" y="9"/>
                        </a:lnTo>
                        <a:lnTo>
                          <a:pt x="14" y="5"/>
                        </a:lnTo>
                        <a:lnTo>
                          <a:pt x="14" y="4"/>
                        </a:lnTo>
                        <a:lnTo>
                          <a:pt x="14" y="0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45" name="Freeform 319">
                    <a:extLst>
                      <a:ext uri="{FF2B5EF4-FFF2-40B4-BE49-F238E27FC236}">
                        <a16:creationId xmlns:a16="http://schemas.microsoft.com/office/drawing/2014/main" id="{BD561158-1BED-EC47-A65B-1928F2E54BB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5" y="640"/>
                    <a:ext cx="15" cy="31"/>
                  </a:xfrm>
                  <a:custGeom>
                    <a:avLst/>
                    <a:gdLst>
                      <a:gd name="T0" fmla="*/ 12 w 15"/>
                      <a:gd name="T1" fmla="*/ 0 h 31"/>
                      <a:gd name="T2" fmla="*/ 12 w 15"/>
                      <a:gd name="T3" fmla="*/ 2 h 31"/>
                      <a:gd name="T4" fmla="*/ 12 w 15"/>
                      <a:gd name="T5" fmla="*/ 4 h 31"/>
                      <a:gd name="T6" fmla="*/ 10 w 15"/>
                      <a:gd name="T7" fmla="*/ 5 h 31"/>
                      <a:gd name="T8" fmla="*/ 9 w 15"/>
                      <a:gd name="T9" fmla="*/ 5 h 31"/>
                      <a:gd name="T10" fmla="*/ 7 w 15"/>
                      <a:gd name="T11" fmla="*/ 7 h 31"/>
                      <a:gd name="T12" fmla="*/ 5 w 15"/>
                      <a:gd name="T13" fmla="*/ 7 h 31"/>
                      <a:gd name="T14" fmla="*/ 4 w 15"/>
                      <a:gd name="T15" fmla="*/ 9 h 31"/>
                      <a:gd name="T16" fmla="*/ 2 w 15"/>
                      <a:gd name="T17" fmla="*/ 7 h 31"/>
                      <a:gd name="T18" fmla="*/ 2 w 15"/>
                      <a:gd name="T19" fmla="*/ 9 h 31"/>
                      <a:gd name="T20" fmla="*/ 0 w 15"/>
                      <a:gd name="T21" fmla="*/ 10 h 31"/>
                      <a:gd name="T22" fmla="*/ 0 w 15"/>
                      <a:gd name="T23" fmla="*/ 12 h 31"/>
                      <a:gd name="T24" fmla="*/ 0 w 15"/>
                      <a:gd name="T25" fmla="*/ 14 h 31"/>
                      <a:gd name="T26" fmla="*/ 0 w 15"/>
                      <a:gd name="T27" fmla="*/ 15 h 31"/>
                      <a:gd name="T28" fmla="*/ 2 w 15"/>
                      <a:gd name="T29" fmla="*/ 17 h 31"/>
                      <a:gd name="T30" fmla="*/ 2 w 15"/>
                      <a:gd name="T31" fmla="*/ 20 h 31"/>
                      <a:gd name="T32" fmla="*/ 2 w 15"/>
                      <a:gd name="T33" fmla="*/ 22 h 31"/>
                      <a:gd name="T34" fmla="*/ 2 w 15"/>
                      <a:gd name="T35" fmla="*/ 24 h 31"/>
                      <a:gd name="T36" fmla="*/ 4 w 15"/>
                      <a:gd name="T37" fmla="*/ 24 h 31"/>
                      <a:gd name="T38" fmla="*/ 4 w 15"/>
                      <a:gd name="T39" fmla="*/ 26 h 31"/>
                      <a:gd name="T40" fmla="*/ 5 w 15"/>
                      <a:gd name="T41" fmla="*/ 27 h 31"/>
                      <a:gd name="T42" fmla="*/ 7 w 15"/>
                      <a:gd name="T43" fmla="*/ 29 h 31"/>
                      <a:gd name="T44" fmla="*/ 9 w 15"/>
                      <a:gd name="T45" fmla="*/ 29 h 31"/>
                      <a:gd name="T46" fmla="*/ 10 w 15"/>
                      <a:gd name="T47" fmla="*/ 31 h 31"/>
                      <a:gd name="T48" fmla="*/ 10 w 15"/>
                      <a:gd name="T49" fmla="*/ 29 h 31"/>
                      <a:gd name="T50" fmla="*/ 10 w 15"/>
                      <a:gd name="T51" fmla="*/ 27 h 31"/>
                      <a:gd name="T52" fmla="*/ 12 w 15"/>
                      <a:gd name="T53" fmla="*/ 27 h 31"/>
                      <a:gd name="T54" fmla="*/ 12 w 15"/>
                      <a:gd name="T55" fmla="*/ 26 h 31"/>
                      <a:gd name="T56" fmla="*/ 12 w 15"/>
                      <a:gd name="T57" fmla="*/ 24 h 31"/>
                      <a:gd name="T58" fmla="*/ 14 w 15"/>
                      <a:gd name="T59" fmla="*/ 22 h 31"/>
                      <a:gd name="T60" fmla="*/ 14 w 15"/>
                      <a:gd name="T61" fmla="*/ 20 h 31"/>
                      <a:gd name="T62" fmla="*/ 14 w 15"/>
                      <a:gd name="T63" fmla="*/ 17 h 31"/>
                      <a:gd name="T64" fmla="*/ 15 w 15"/>
                      <a:gd name="T65" fmla="*/ 15 h 31"/>
                      <a:gd name="T66" fmla="*/ 14 w 15"/>
                      <a:gd name="T67" fmla="*/ 10 h 31"/>
                      <a:gd name="T68" fmla="*/ 14 w 15"/>
                      <a:gd name="T69" fmla="*/ 9 h 31"/>
                      <a:gd name="T70" fmla="*/ 14 w 15"/>
                      <a:gd name="T71" fmla="*/ 5 h 31"/>
                      <a:gd name="T72" fmla="*/ 14 w 15"/>
                      <a:gd name="T73" fmla="*/ 4 h 31"/>
                      <a:gd name="T74" fmla="*/ 14 w 15"/>
                      <a:gd name="T75" fmla="*/ 0 h 31"/>
                      <a:gd name="T76" fmla="*/ 12 w 15"/>
                      <a:gd name="T77" fmla="*/ 0 h 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</a:cxnLst>
                    <a:rect l="0" t="0" r="r" b="b"/>
                    <a:pathLst>
                      <a:path w="15" h="31">
                        <a:moveTo>
                          <a:pt x="12" y="0"/>
                        </a:moveTo>
                        <a:lnTo>
                          <a:pt x="12" y="2"/>
                        </a:lnTo>
                        <a:lnTo>
                          <a:pt x="12" y="4"/>
                        </a:lnTo>
                        <a:lnTo>
                          <a:pt x="10" y="5"/>
                        </a:lnTo>
                        <a:lnTo>
                          <a:pt x="9" y="5"/>
                        </a:lnTo>
                        <a:lnTo>
                          <a:pt x="7" y="7"/>
                        </a:lnTo>
                        <a:lnTo>
                          <a:pt x="5" y="7"/>
                        </a:lnTo>
                        <a:lnTo>
                          <a:pt x="4" y="9"/>
                        </a:lnTo>
                        <a:lnTo>
                          <a:pt x="2" y="7"/>
                        </a:lnTo>
                        <a:lnTo>
                          <a:pt x="2" y="9"/>
                        </a:lnTo>
                        <a:lnTo>
                          <a:pt x="0" y="10"/>
                        </a:lnTo>
                        <a:lnTo>
                          <a:pt x="0" y="12"/>
                        </a:lnTo>
                        <a:lnTo>
                          <a:pt x="0" y="14"/>
                        </a:lnTo>
                        <a:lnTo>
                          <a:pt x="0" y="15"/>
                        </a:lnTo>
                        <a:lnTo>
                          <a:pt x="2" y="17"/>
                        </a:lnTo>
                        <a:lnTo>
                          <a:pt x="2" y="20"/>
                        </a:lnTo>
                        <a:lnTo>
                          <a:pt x="2" y="22"/>
                        </a:lnTo>
                        <a:lnTo>
                          <a:pt x="2" y="24"/>
                        </a:lnTo>
                        <a:lnTo>
                          <a:pt x="4" y="24"/>
                        </a:lnTo>
                        <a:lnTo>
                          <a:pt x="4" y="26"/>
                        </a:lnTo>
                        <a:lnTo>
                          <a:pt x="5" y="27"/>
                        </a:lnTo>
                        <a:lnTo>
                          <a:pt x="7" y="29"/>
                        </a:lnTo>
                        <a:lnTo>
                          <a:pt x="9" y="29"/>
                        </a:lnTo>
                        <a:lnTo>
                          <a:pt x="10" y="31"/>
                        </a:lnTo>
                        <a:lnTo>
                          <a:pt x="10" y="29"/>
                        </a:lnTo>
                        <a:lnTo>
                          <a:pt x="10" y="27"/>
                        </a:lnTo>
                        <a:lnTo>
                          <a:pt x="12" y="27"/>
                        </a:lnTo>
                        <a:lnTo>
                          <a:pt x="12" y="26"/>
                        </a:lnTo>
                        <a:lnTo>
                          <a:pt x="12" y="24"/>
                        </a:lnTo>
                        <a:lnTo>
                          <a:pt x="14" y="22"/>
                        </a:lnTo>
                        <a:lnTo>
                          <a:pt x="14" y="20"/>
                        </a:lnTo>
                        <a:lnTo>
                          <a:pt x="14" y="17"/>
                        </a:lnTo>
                        <a:lnTo>
                          <a:pt x="15" y="15"/>
                        </a:lnTo>
                        <a:lnTo>
                          <a:pt x="14" y="10"/>
                        </a:lnTo>
                        <a:lnTo>
                          <a:pt x="14" y="9"/>
                        </a:lnTo>
                        <a:lnTo>
                          <a:pt x="14" y="5"/>
                        </a:lnTo>
                        <a:lnTo>
                          <a:pt x="14" y="4"/>
                        </a:lnTo>
                        <a:lnTo>
                          <a:pt x="14" y="0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649" name="Group 1648">
                <a:extLst>
                  <a:ext uri="{FF2B5EF4-FFF2-40B4-BE49-F238E27FC236}">
                    <a16:creationId xmlns:a16="http://schemas.microsoft.com/office/drawing/2014/main" id="{FCAD7BEA-A528-1847-B98A-EEE061DB64F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53" y="399"/>
                <a:ext cx="140" cy="157"/>
                <a:chOff x="253" y="399"/>
                <a:chExt cx="140" cy="157"/>
              </a:xfrm>
            </p:grpSpPr>
            <p:grpSp>
              <p:nvGrpSpPr>
                <p:cNvPr id="1936" name="Group 1935">
                  <a:extLst>
                    <a:ext uri="{FF2B5EF4-FFF2-40B4-BE49-F238E27FC236}">
                      <a16:creationId xmlns:a16="http://schemas.microsoft.com/office/drawing/2014/main" id="{CB3EA2AA-78B5-5741-B0C0-5645786C86A6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53" y="399"/>
                  <a:ext cx="140" cy="157"/>
                  <a:chOff x="253" y="399"/>
                  <a:chExt cx="140" cy="157"/>
                </a:xfrm>
              </p:grpSpPr>
              <p:sp>
                <p:nvSpPr>
                  <p:cNvPr id="1940" name="Freeform 314">
                    <a:extLst>
                      <a:ext uri="{FF2B5EF4-FFF2-40B4-BE49-F238E27FC236}">
                        <a16:creationId xmlns:a16="http://schemas.microsoft.com/office/drawing/2014/main" id="{82F324FB-3E10-BF41-A0B7-B4C10099A29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53" y="399"/>
                    <a:ext cx="140" cy="157"/>
                  </a:xfrm>
                  <a:custGeom>
                    <a:avLst/>
                    <a:gdLst>
                      <a:gd name="T0" fmla="*/ 2 w 140"/>
                      <a:gd name="T1" fmla="*/ 79 h 157"/>
                      <a:gd name="T2" fmla="*/ 2 w 140"/>
                      <a:gd name="T3" fmla="*/ 66 h 157"/>
                      <a:gd name="T4" fmla="*/ 12 w 140"/>
                      <a:gd name="T5" fmla="*/ 63 h 157"/>
                      <a:gd name="T6" fmla="*/ 15 w 140"/>
                      <a:gd name="T7" fmla="*/ 52 h 157"/>
                      <a:gd name="T8" fmla="*/ 17 w 140"/>
                      <a:gd name="T9" fmla="*/ 42 h 157"/>
                      <a:gd name="T10" fmla="*/ 25 w 140"/>
                      <a:gd name="T11" fmla="*/ 37 h 157"/>
                      <a:gd name="T12" fmla="*/ 19 w 140"/>
                      <a:gd name="T13" fmla="*/ 32 h 157"/>
                      <a:gd name="T14" fmla="*/ 29 w 140"/>
                      <a:gd name="T15" fmla="*/ 27 h 157"/>
                      <a:gd name="T16" fmla="*/ 37 w 140"/>
                      <a:gd name="T17" fmla="*/ 31 h 157"/>
                      <a:gd name="T18" fmla="*/ 41 w 140"/>
                      <a:gd name="T19" fmla="*/ 31 h 157"/>
                      <a:gd name="T20" fmla="*/ 44 w 140"/>
                      <a:gd name="T21" fmla="*/ 24 h 157"/>
                      <a:gd name="T22" fmla="*/ 46 w 140"/>
                      <a:gd name="T23" fmla="*/ 19 h 157"/>
                      <a:gd name="T24" fmla="*/ 44 w 140"/>
                      <a:gd name="T25" fmla="*/ 14 h 157"/>
                      <a:gd name="T26" fmla="*/ 47 w 140"/>
                      <a:gd name="T27" fmla="*/ 9 h 157"/>
                      <a:gd name="T28" fmla="*/ 44 w 140"/>
                      <a:gd name="T29" fmla="*/ 0 h 157"/>
                      <a:gd name="T30" fmla="*/ 54 w 140"/>
                      <a:gd name="T31" fmla="*/ 2 h 157"/>
                      <a:gd name="T32" fmla="*/ 61 w 140"/>
                      <a:gd name="T33" fmla="*/ 4 h 157"/>
                      <a:gd name="T34" fmla="*/ 64 w 140"/>
                      <a:gd name="T35" fmla="*/ 10 h 157"/>
                      <a:gd name="T36" fmla="*/ 71 w 140"/>
                      <a:gd name="T37" fmla="*/ 14 h 157"/>
                      <a:gd name="T38" fmla="*/ 79 w 140"/>
                      <a:gd name="T39" fmla="*/ 15 h 157"/>
                      <a:gd name="T40" fmla="*/ 78 w 140"/>
                      <a:gd name="T41" fmla="*/ 22 h 157"/>
                      <a:gd name="T42" fmla="*/ 84 w 140"/>
                      <a:gd name="T43" fmla="*/ 20 h 157"/>
                      <a:gd name="T44" fmla="*/ 94 w 140"/>
                      <a:gd name="T45" fmla="*/ 15 h 157"/>
                      <a:gd name="T46" fmla="*/ 101 w 140"/>
                      <a:gd name="T47" fmla="*/ 10 h 157"/>
                      <a:gd name="T48" fmla="*/ 100 w 140"/>
                      <a:gd name="T49" fmla="*/ 15 h 157"/>
                      <a:gd name="T50" fmla="*/ 110 w 140"/>
                      <a:gd name="T51" fmla="*/ 14 h 157"/>
                      <a:gd name="T52" fmla="*/ 118 w 140"/>
                      <a:gd name="T53" fmla="*/ 17 h 157"/>
                      <a:gd name="T54" fmla="*/ 123 w 140"/>
                      <a:gd name="T55" fmla="*/ 24 h 157"/>
                      <a:gd name="T56" fmla="*/ 132 w 140"/>
                      <a:gd name="T57" fmla="*/ 32 h 157"/>
                      <a:gd name="T58" fmla="*/ 128 w 140"/>
                      <a:gd name="T59" fmla="*/ 44 h 157"/>
                      <a:gd name="T60" fmla="*/ 133 w 140"/>
                      <a:gd name="T61" fmla="*/ 52 h 157"/>
                      <a:gd name="T62" fmla="*/ 135 w 140"/>
                      <a:gd name="T63" fmla="*/ 66 h 157"/>
                      <a:gd name="T64" fmla="*/ 140 w 140"/>
                      <a:gd name="T65" fmla="*/ 76 h 157"/>
                      <a:gd name="T66" fmla="*/ 137 w 140"/>
                      <a:gd name="T67" fmla="*/ 86 h 157"/>
                      <a:gd name="T68" fmla="*/ 128 w 140"/>
                      <a:gd name="T69" fmla="*/ 83 h 157"/>
                      <a:gd name="T70" fmla="*/ 115 w 140"/>
                      <a:gd name="T71" fmla="*/ 93 h 157"/>
                      <a:gd name="T72" fmla="*/ 103 w 140"/>
                      <a:gd name="T73" fmla="*/ 96 h 157"/>
                      <a:gd name="T74" fmla="*/ 98 w 140"/>
                      <a:gd name="T75" fmla="*/ 101 h 157"/>
                      <a:gd name="T76" fmla="*/ 100 w 140"/>
                      <a:gd name="T77" fmla="*/ 105 h 157"/>
                      <a:gd name="T78" fmla="*/ 111 w 140"/>
                      <a:gd name="T79" fmla="*/ 120 h 157"/>
                      <a:gd name="T80" fmla="*/ 121 w 140"/>
                      <a:gd name="T81" fmla="*/ 132 h 157"/>
                      <a:gd name="T82" fmla="*/ 113 w 140"/>
                      <a:gd name="T83" fmla="*/ 138 h 157"/>
                      <a:gd name="T84" fmla="*/ 110 w 140"/>
                      <a:gd name="T85" fmla="*/ 152 h 157"/>
                      <a:gd name="T86" fmla="*/ 100 w 140"/>
                      <a:gd name="T87" fmla="*/ 150 h 157"/>
                      <a:gd name="T88" fmla="*/ 86 w 140"/>
                      <a:gd name="T89" fmla="*/ 154 h 157"/>
                      <a:gd name="T90" fmla="*/ 71 w 140"/>
                      <a:gd name="T91" fmla="*/ 155 h 157"/>
                      <a:gd name="T92" fmla="*/ 61 w 140"/>
                      <a:gd name="T93" fmla="*/ 154 h 157"/>
                      <a:gd name="T94" fmla="*/ 47 w 140"/>
                      <a:gd name="T95" fmla="*/ 152 h 157"/>
                      <a:gd name="T96" fmla="*/ 30 w 140"/>
                      <a:gd name="T97" fmla="*/ 154 h 157"/>
                      <a:gd name="T98" fmla="*/ 25 w 140"/>
                      <a:gd name="T99" fmla="*/ 142 h 157"/>
                      <a:gd name="T100" fmla="*/ 32 w 140"/>
                      <a:gd name="T101" fmla="*/ 128 h 157"/>
                      <a:gd name="T102" fmla="*/ 19 w 140"/>
                      <a:gd name="T103" fmla="*/ 120 h 157"/>
                      <a:gd name="T104" fmla="*/ 7 w 140"/>
                      <a:gd name="T105" fmla="*/ 115 h 157"/>
                      <a:gd name="T106" fmla="*/ 3 w 140"/>
                      <a:gd name="T107" fmla="*/ 105 h 157"/>
                      <a:gd name="T108" fmla="*/ 5 w 140"/>
                      <a:gd name="T109" fmla="*/ 96 h 157"/>
                      <a:gd name="T110" fmla="*/ 2 w 140"/>
                      <a:gd name="T111" fmla="*/ 90 h 1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140" h="157">
                        <a:moveTo>
                          <a:pt x="2" y="88"/>
                        </a:moveTo>
                        <a:lnTo>
                          <a:pt x="2" y="86"/>
                        </a:lnTo>
                        <a:lnTo>
                          <a:pt x="0" y="83"/>
                        </a:lnTo>
                        <a:lnTo>
                          <a:pt x="0" y="81"/>
                        </a:lnTo>
                        <a:lnTo>
                          <a:pt x="2" y="79"/>
                        </a:lnTo>
                        <a:lnTo>
                          <a:pt x="2" y="78"/>
                        </a:lnTo>
                        <a:lnTo>
                          <a:pt x="2" y="76"/>
                        </a:lnTo>
                        <a:lnTo>
                          <a:pt x="2" y="73"/>
                        </a:lnTo>
                        <a:lnTo>
                          <a:pt x="2" y="71"/>
                        </a:lnTo>
                        <a:lnTo>
                          <a:pt x="2" y="66"/>
                        </a:lnTo>
                        <a:lnTo>
                          <a:pt x="2" y="64"/>
                        </a:lnTo>
                        <a:lnTo>
                          <a:pt x="3" y="64"/>
                        </a:lnTo>
                        <a:lnTo>
                          <a:pt x="8" y="66"/>
                        </a:lnTo>
                        <a:lnTo>
                          <a:pt x="10" y="66"/>
                        </a:lnTo>
                        <a:lnTo>
                          <a:pt x="12" y="63"/>
                        </a:lnTo>
                        <a:lnTo>
                          <a:pt x="12" y="61"/>
                        </a:lnTo>
                        <a:lnTo>
                          <a:pt x="15" y="59"/>
                        </a:lnTo>
                        <a:lnTo>
                          <a:pt x="17" y="56"/>
                        </a:lnTo>
                        <a:lnTo>
                          <a:pt x="17" y="54"/>
                        </a:lnTo>
                        <a:lnTo>
                          <a:pt x="15" y="52"/>
                        </a:lnTo>
                        <a:lnTo>
                          <a:pt x="12" y="52"/>
                        </a:lnTo>
                        <a:lnTo>
                          <a:pt x="12" y="49"/>
                        </a:lnTo>
                        <a:lnTo>
                          <a:pt x="15" y="47"/>
                        </a:lnTo>
                        <a:lnTo>
                          <a:pt x="17" y="44"/>
                        </a:lnTo>
                        <a:lnTo>
                          <a:pt x="17" y="42"/>
                        </a:lnTo>
                        <a:lnTo>
                          <a:pt x="17" y="39"/>
                        </a:lnTo>
                        <a:lnTo>
                          <a:pt x="19" y="37"/>
                        </a:lnTo>
                        <a:lnTo>
                          <a:pt x="22" y="36"/>
                        </a:lnTo>
                        <a:lnTo>
                          <a:pt x="24" y="37"/>
                        </a:lnTo>
                        <a:lnTo>
                          <a:pt x="25" y="37"/>
                        </a:lnTo>
                        <a:lnTo>
                          <a:pt x="24" y="36"/>
                        </a:lnTo>
                        <a:lnTo>
                          <a:pt x="22" y="36"/>
                        </a:lnTo>
                        <a:lnTo>
                          <a:pt x="22" y="34"/>
                        </a:lnTo>
                        <a:lnTo>
                          <a:pt x="19" y="34"/>
                        </a:lnTo>
                        <a:lnTo>
                          <a:pt x="19" y="32"/>
                        </a:lnTo>
                        <a:lnTo>
                          <a:pt x="19" y="31"/>
                        </a:lnTo>
                        <a:lnTo>
                          <a:pt x="20" y="31"/>
                        </a:lnTo>
                        <a:lnTo>
                          <a:pt x="20" y="29"/>
                        </a:lnTo>
                        <a:lnTo>
                          <a:pt x="24" y="27"/>
                        </a:lnTo>
                        <a:lnTo>
                          <a:pt x="29" y="27"/>
                        </a:lnTo>
                        <a:lnTo>
                          <a:pt x="34" y="27"/>
                        </a:lnTo>
                        <a:lnTo>
                          <a:pt x="35" y="31"/>
                        </a:lnTo>
                        <a:lnTo>
                          <a:pt x="35" y="32"/>
                        </a:lnTo>
                        <a:lnTo>
                          <a:pt x="37" y="32"/>
                        </a:lnTo>
                        <a:lnTo>
                          <a:pt x="37" y="31"/>
                        </a:lnTo>
                        <a:lnTo>
                          <a:pt x="39" y="31"/>
                        </a:lnTo>
                        <a:lnTo>
                          <a:pt x="41" y="34"/>
                        </a:lnTo>
                        <a:lnTo>
                          <a:pt x="42" y="36"/>
                        </a:lnTo>
                        <a:lnTo>
                          <a:pt x="42" y="34"/>
                        </a:lnTo>
                        <a:lnTo>
                          <a:pt x="41" y="31"/>
                        </a:lnTo>
                        <a:lnTo>
                          <a:pt x="41" y="29"/>
                        </a:lnTo>
                        <a:lnTo>
                          <a:pt x="41" y="27"/>
                        </a:lnTo>
                        <a:lnTo>
                          <a:pt x="42" y="25"/>
                        </a:lnTo>
                        <a:lnTo>
                          <a:pt x="42" y="24"/>
                        </a:lnTo>
                        <a:lnTo>
                          <a:pt x="44" y="24"/>
                        </a:lnTo>
                        <a:lnTo>
                          <a:pt x="47" y="24"/>
                        </a:lnTo>
                        <a:lnTo>
                          <a:pt x="49" y="24"/>
                        </a:lnTo>
                        <a:lnTo>
                          <a:pt x="47" y="22"/>
                        </a:lnTo>
                        <a:lnTo>
                          <a:pt x="46" y="20"/>
                        </a:lnTo>
                        <a:lnTo>
                          <a:pt x="46" y="19"/>
                        </a:lnTo>
                        <a:lnTo>
                          <a:pt x="47" y="19"/>
                        </a:lnTo>
                        <a:lnTo>
                          <a:pt x="46" y="17"/>
                        </a:lnTo>
                        <a:lnTo>
                          <a:pt x="46" y="15"/>
                        </a:lnTo>
                        <a:lnTo>
                          <a:pt x="46" y="14"/>
                        </a:lnTo>
                        <a:lnTo>
                          <a:pt x="44" y="14"/>
                        </a:lnTo>
                        <a:lnTo>
                          <a:pt x="42" y="14"/>
                        </a:lnTo>
                        <a:lnTo>
                          <a:pt x="44" y="12"/>
                        </a:lnTo>
                        <a:lnTo>
                          <a:pt x="46" y="10"/>
                        </a:lnTo>
                        <a:lnTo>
                          <a:pt x="47" y="10"/>
                        </a:lnTo>
                        <a:lnTo>
                          <a:pt x="47" y="9"/>
                        </a:lnTo>
                        <a:lnTo>
                          <a:pt x="46" y="7"/>
                        </a:lnTo>
                        <a:lnTo>
                          <a:pt x="44" y="5"/>
                        </a:lnTo>
                        <a:lnTo>
                          <a:pt x="42" y="4"/>
                        </a:lnTo>
                        <a:lnTo>
                          <a:pt x="44" y="2"/>
                        </a:lnTo>
                        <a:lnTo>
                          <a:pt x="44" y="0"/>
                        </a:lnTo>
                        <a:lnTo>
                          <a:pt x="44" y="2"/>
                        </a:lnTo>
                        <a:lnTo>
                          <a:pt x="46" y="2"/>
                        </a:lnTo>
                        <a:lnTo>
                          <a:pt x="49" y="2"/>
                        </a:lnTo>
                        <a:lnTo>
                          <a:pt x="52" y="2"/>
                        </a:lnTo>
                        <a:lnTo>
                          <a:pt x="54" y="2"/>
                        </a:lnTo>
                        <a:lnTo>
                          <a:pt x="56" y="2"/>
                        </a:lnTo>
                        <a:lnTo>
                          <a:pt x="54" y="2"/>
                        </a:lnTo>
                        <a:lnTo>
                          <a:pt x="56" y="2"/>
                        </a:lnTo>
                        <a:lnTo>
                          <a:pt x="59" y="4"/>
                        </a:lnTo>
                        <a:lnTo>
                          <a:pt x="61" y="4"/>
                        </a:lnTo>
                        <a:lnTo>
                          <a:pt x="62" y="5"/>
                        </a:lnTo>
                        <a:lnTo>
                          <a:pt x="62" y="7"/>
                        </a:lnTo>
                        <a:lnTo>
                          <a:pt x="62" y="9"/>
                        </a:lnTo>
                        <a:lnTo>
                          <a:pt x="61" y="10"/>
                        </a:lnTo>
                        <a:lnTo>
                          <a:pt x="64" y="10"/>
                        </a:lnTo>
                        <a:lnTo>
                          <a:pt x="64" y="12"/>
                        </a:lnTo>
                        <a:lnTo>
                          <a:pt x="66" y="12"/>
                        </a:lnTo>
                        <a:lnTo>
                          <a:pt x="67" y="10"/>
                        </a:lnTo>
                        <a:lnTo>
                          <a:pt x="71" y="12"/>
                        </a:lnTo>
                        <a:lnTo>
                          <a:pt x="71" y="14"/>
                        </a:lnTo>
                        <a:lnTo>
                          <a:pt x="73" y="14"/>
                        </a:lnTo>
                        <a:lnTo>
                          <a:pt x="76" y="14"/>
                        </a:lnTo>
                        <a:lnTo>
                          <a:pt x="78" y="12"/>
                        </a:lnTo>
                        <a:lnTo>
                          <a:pt x="79" y="14"/>
                        </a:lnTo>
                        <a:lnTo>
                          <a:pt x="79" y="15"/>
                        </a:lnTo>
                        <a:lnTo>
                          <a:pt x="78" y="17"/>
                        </a:lnTo>
                        <a:lnTo>
                          <a:pt x="76" y="19"/>
                        </a:lnTo>
                        <a:lnTo>
                          <a:pt x="74" y="20"/>
                        </a:lnTo>
                        <a:lnTo>
                          <a:pt x="76" y="22"/>
                        </a:lnTo>
                        <a:lnTo>
                          <a:pt x="78" y="22"/>
                        </a:lnTo>
                        <a:lnTo>
                          <a:pt x="79" y="20"/>
                        </a:lnTo>
                        <a:lnTo>
                          <a:pt x="81" y="20"/>
                        </a:lnTo>
                        <a:lnTo>
                          <a:pt x="83" y="22"/>
                        </a:lnTo>
                        <a:lnTo>
                          <a:pt x="86" y="22"/>
                        </a:lnTo>
                        <a:lnTo>
                          <a:pt x="84" y="20"/>
                        </a:lnTo>
                        <a:lnTo>
                          <a:pt x="86" y="20"/>
                        </a:lnTo>
                        <a:lnTo>
                          <a:pt x="86" y="19"/>
                        </a:lnTo>
                        <a:lnTo>
                          <a:pt x="89" y="17"/>
                        </a:lnTo>
                        <a:lnTo>
                          <a:pt x="93" y="17"/>
                        </a:lnTo>
                        <a:lnTo>
                          <a:pt x="94" y="15"/>
                        </a:lnTo>
                        <a:lnTo>
                          <a:pt x="94" y="17"/>
                        </a:lnTo>
                        <a:lnTo>
                          <a:pt x="96" y="17"/>
                        </a:lnTo>
                        <a:lnTo>
                          <a:pt x="96" y="15"/>
                        </a:lnTo>
                        <a:lnTo>
                          <a:pt x="100" y="14"/>
                        </a:lnTo>
                        <a:lnTo>
                          <a:pt x="101" y="10"/>
                        </a:lnTo>
                        <a:lnTo>
                          <a:pt x="103" y="10"/>
                        </a:lnTo>
                        <a:lnTo>
                          <a:pt x="105" y="10"/>
                        </a:lnTo>
                        <a:lnTo>
                          <a:pt x="103" y="12"/>
                        </a:lnTo>
                        <a:lnTo>
                          <a:pt x="101" y="14"/>
                        </a:lnTo>
                        <a:lnTo>
                          <a:pt x="100" y="15"/>
                        </a:lnTo>
                        <a:lnTo>
                          <a:pt x="103" y="14"/>
                        </a:lnTo>
                        <a:lnTo>
                          <a:pt x="105" y="14"/>
                        </a:lnTo>
                        <a:lnTo>
                          <a:pt x="106" y="12"/>
                        </a:lnTo>
                        <a:lnTo>
                          <a:pt x="110" y="12"/>
                        </a:lnTo>
                        <a:lnTo>
                          <a:pt x="110" y="14"/>
                        </a:lnTo>
                        <a:lnTo>
                          <a:pt x="113" y="15"/>
                        </a:lnTo>
                        <a:lnTo>
                          <a:pt x="113" y="17"/>
                        </a:lnTo>
                        <a:lnTo>
                          <a:pt x="115" y="17"/>
                        </a:lnTo>
                        <a:lnTo>
                          <a:pt x="116" y="19"/>
                        </a:lnTo>
                        <a:lnTo>
                          <a:pt x="118" y="17"/>
                        </a:lnTo>
                        <a:lnTo>
                          <a:pt x="120" y="19"/>
                        </a:lnTo>
                        <a:lnTo>
                          <a:pt x="121" y="20"/>
                        </a:lnTo>
                        <a:lnTo>
                          <a:pt x="121" y="22"/>
                        </a:lnTo>
                        <a:lnTo>
                          <a:pt x="121" y="24"/>
                        </a:lnTo>
                        <a:lnTo>
                          <a:pt x="123" y="24"/>
                        </a:lnTo>
                        <a:lnTo>
                          <a:pt x="126" y="25"/>
                        </a:lnTo>
                        <a:lnTo>
                          <a:pt x="128" y="25"/>
                        </a:lnTo>
                        <a:lnTo>
                          <a:pt x="128" y="27"/>
                        </a:lnTo>
                        <a:lnTo>
                          <a:pt x="130" y="31"/>
                        </a:lnTo>
                        <a:lnTo>
                          <a:pt x="132" y="32"/>
                        </a:lnTo>
                        <a:lnTo>
                          <a:pt x="132" y="34"/>
                        </a:lnTo>
                        <a:lnTo>
                          <a:pt x="132" y="36"/>
                        </a:lnTo>
                        <a:lnTo>
                          <a:pt x="130" y="39"/>
                        </a:lnTo>
                        <a:lnTo>
                          <a:pt x="128" y="41"/>
                        </a:lnTo>
                        <a:lnTo>
                          <a:pt x="128" y="44"/>
                        </a:lnTo>
                        <a:lnTo>
                          <a:pt x="128" y="46"/>
                        </a:lnTo>
                        <a:lnTo>
                          <a:pt x="130" y="47"/>
                        </a:lnTo>
                        <a:lnTo>
                          <a:pt x="132" y="47"/>
                        </a:lnTo>
                        <a:lnTo>
                          <a:pt x="133" y="51"/>
                        </a:lnTo>
                        <a:lnTo>
                          <a:pt x="133" y="52"/>
                        </a:lnTo>
                        <a:lnTo>
                          <a:pt x="133" y="56"/>
                        </a:lnTo>
                        <a:lnTo>
                          <a:pt x="133" y="57"/>
                        </a:lnTo>
                        <a:lnTo>
                          <a:pt x="135" y="63"/>
                        </a:lnTo>
                        <a:lnTo>
                          <a:pt x="135" y="64"/>
                        </a:lnTo>
                        <a:lnTo>
                          <a:pt x="135" y="66"/>
                        </a:lnTo>
                        <a:lnTo>
                          <a:pt x="135" y="69"/>
                        </a:lnTo>
                        <a:lnTo>
                          <a:pt x="137" y="73"/>
                        </a:lnTo>
                        <a:lnTo>
                          <a:pt x="138" y="74"/>
                        </a:lnTo>
                        <a:lnTo>
                          <a:pt x="140" y="74"/>
                        </a:lnTo>
                        <a:lnTo>
                          <a:pt x="140" y="76"/>
                        </a:lnTo>
                        <a:lnTo>
                          <a:pt x="140" y="78"/>
                        </a:lnTo>
                        <a:lnTo>
                          <a:pt x="140" y="81"/>
                        </a:lnTo>
                        <a:lnTo>
                          <a:pt x="138" y="84"/>
                        </a:lnTo>
                        <a:lnTo>
                          <a:pt x="138" y="86"/>
                        </a:lnTo>
                        <a:lnTo>
                          <a:pt x="137" y="86"/>
                        </a:lnTo>
                        <a:lnTo>
                          <a:pt x="135" y="86"/>
                        </a:lnTo>
                        <a:lnTo>
                          <a:pt x="133" y="84"/>
                        </a:lnTo>
                        <a:lnTo>
                          <a:pt x="132" y="81"/>
                        </a:lnTo>
                        <a:lnTo>
                          <a:pt x="128" y="81"/>
                        </a:lnTo>
                        <a:lnTo>
                          <a:pt x="128" y="83"/>
                        </a:lnTo>
                        <a:lnTo>
                          <a:pt x="128" y="86"/>
                        </a:lnTo>
                        <a:lnTo>
                          <a:pt x="125" y="88"/>
                        </a:lnTo>
                        <a:lnTo>
                          <a:pt x="120" y="88"/>
                        </a:lnTo>
                        <a:lnTo>
                          <a:pt x="116" y="90"/>
                        </a:lnTo>
                        <a:lnTo>
                          <a:pt x="115" y="93"/>
                        </a:lnTo>
                        <a:lnTo>
                          <a:pt x="113" y="93"/>
                        </a:lnTo>
                        <a:lnTo>
                          <a:pt x="110" y="95"/>
                        </a:lnTo>
                        <a:lnTo>
                          <a:pt x="108" y="95"/>
                        </a:lnTo>
                        <a:lnTo>
                          <a:pt x="105" y="96"/>
                        </a:lnTo>
                        <a:lnTo>
                          <a:pt x="103" y="96"/>
                        </a:lnTo>
                        <a:lnTo>
                          <a:pt x="101" y="96"/>
                        </a:lnTo>
                        <a:lnTo>
                          <a:pt x="101" y="98"/>
                        </a:lnTo>
                        <a:lnTo>
                          <a:pt x="100" y="98"/>
                        </a:lnTo>
                        <a:lnTo>
                          <a:pt x="100" y="100"/>
                        </a:lnTo>
                        <a:lnTo>
                          <a:pt x="98" y="101"/>
                        </a:lnTo>
                        <a:lnTo>
                          <a:pt x="98" y="100"/>
                        </a:lnTo>
                        <a:lnTo>
                          <a:pt x="94" y="98"/>
                        </a:lnTo>
                        <a:lnTo>
                          <a:pt x="94" y="100"/>
                        </a:lnTo>
                        <a:lnTo>
                          <a:pt x="96" y="103"/>
                        </a:lnTo>
                        <a:lnTo>
                          <a:pt x="100" y="105"/>
                        </a:lnTo>
                        <a:lnTo>
                          <a:pt x="101" y="106"/>
                        </a:lnTo>
                        <a:lnTo>
                          <a:pt x="101" y="111"/>
                        </a:lnTo>
                        <a:lnTo>
                          <a:pt x="103" y="115"/>
                        </a:lnTo>
                        <a:lnTo>
                          <a:pt x="106" y="116"/>
                        </a:lnTo>
                        <a:lnTo>
                          <a:pt x="111" y="120"/>
                        </a:lnTo>
                        <a:lnTo>
                          <a:pt x="115" y="123"/>
                        </a:lnTo>
                        <a:lnTo>
                          <a:pt x="116" y="125"/>
                        </a:lnTo>
                        <a:lnTo>
                          <a:pt x="121" y="128"/>
                        </a:lnTo>
                        <a:lnTo>
                          <a:pt x="123" y="130"/>
                        </a:lnTo>
                        <a:lnTo>
                          <a:pt x="121" y="132"/>
                        </a:lnTo>
                        <a:lnTo>
                          <a:pt x="120" y="132"/>
                        </a:lnTo>
                        <a:lnTo>
                          <a:pt x="118" y="133"/>
                        </a:lnTo>
                        <a:lnTo>
                          <a:pt x="116" y="135"/>
                        </a:lnTo>
                        <a:lnTo>
                          <a:pt x="115" y="137"/>
                        </a:lnTo>
                        <a:lnTo>
                          <a:pt x="113" y="138"/>
                        </a:lnTo>
                        <a:lnTo>
                          <a:pt x="110" y="140"/>
                        </a:lnTo>
                        <a:lnTo>
                          <a:pt x="108" y="142"/>
                        </a:lnTo>
                        <a:lnTo>
                          <a:pt x="108" y="147"/>
                        </a:lnTo>
                        <a:lnTo>
                          <a:pt x="110" y="150"/>
                        </a:lnTo>
                        <a:lnTo>
                          <a:pt x="110" y="152"/>
                        </a:lnTo>
                        <a:lnTo>
                          <a:pt x="108" y="154"/>
                        </a:lnTo>
                        <a:lnTo>
                          <a:pt x="106" y="150"/>
                        </a:lnTo>
                        <a:lnTo>
                          <a:pt x="105" y="150"/>
                        </a:lnTo>
                        <a:lnTo>
                          <a:pt x="103" y="150"/>
                        </a:lnTo>
                        <a:lnTo>
                          <a:pt x="100" y="150"/>
                        </a:lnTo>
                        <a:lnTo>
                          <a:pt x="98" y="152"/>
                        </a:lnTo>
                        <a:lnTo>
                          <a:pt x="94" y="152"/>
                        </a:lnTo>
                        <a:lnTo>
                          <a:pt x="91" y="152"/>
                        </a:lnTo>
                        <a:lnTo>
                          <a:pt x="88" y="152"/>
                        </a:lnTo>
                        <a:lnTo>
                          <a:pt x="86" y="154"/>
                        </a:lnTo>
                        <a:lnTo>
                          <a:pt x="83" y="155"/>
                        </a:lnTo>
                        <a:lnTo>
                          <a:pt x="79" y="155"/>
                        </a:lnTo>
                        <a:lnTo>
                          <a:pt x="76" y="154"/>
                        </a:lnTo>
                        <a:lnTo>
                          <a:pt x="73" y="154"/>
                        </a:lnTo>
                        <a:lnTo>
                          <a:pt x="71" y="155"/>
                        </a:lnTo>
                        <a:lnTo>
                          <a:pt x="69" y="157"/>
                        </a:lnTo>
                        <a:lnTo>
                          <a:pt x="67" y="157"/>
                        </a:lnTo>
                        <a:lnTo>
                          <a:pt x="64" y="155"/>
                        </a:lnTo>
                        <a:lnTo>
                          <a:pt x="64" y="154"/>
                        </a:lnTo>
                        <a:lnTo>
                          <a:pt x="61" y="154"/>
                        </a:lnTo>
                        <a:lnTo>
                          <a:pt x="59" y="154"/>
                        </a:lnTo>
                        <a:lnTo>
                          <a:pt x="56" y="155"/>
                        </a:lnTo>
                        <a:lnTo>
                          <a:pt x="54" y="154"/>
                        </a:lnTo>
                        <a:lnTo>
                          <a:pt x="51" y="152"/>
                        </a:lnTo>
                        <a:lnTo>
                          <a:pt x="47" y="152"/>
                        </a:lnTo>
                        <a:lnTo>
                          <a:pt x="44" y="152"/>
                        </a:lnTo>
                        <a:lnTo>
                          <a:pt x="42" y="152"/>
                        </a:lnTo>
                        <a:lnTo>
                          <a:pt x="37" y="152"/>
                        </a:lnTo>
                        <a:lnTo>
                          <a:pt x="34" y="152"/>
                        </a:lnTo>
                        <a:lnTo>
                          <a:pt x="30" y="154"/>
                        </a:lnTo>
                        <a:lnTo>
                          <a:pt x="27" y="154"/>
                        </a:lnTo>
                        <a:lnTo>
                          <a:pt x="25" y="152"/>
                        </a:lnTo>
                        <a:lnTo>
                          <a:pt x="24" y="149"/>
                        </a:lnTo>
                        <a:lnTo>
                          <a:pt x="24" y="145"/>
                        </a:lnTo>
                        <a:lnTo>
                          <a:pt x="25" y="142"/>
                        </a:lnTo>
                        <a:lnTo>
                          <a:pt x="25" y="140"/>
                        </a:lnTo>
                        <a:lnTo>
                          <a:pt x="27" y="137"/>
                        </a:lnTo>
                        <a:lnTo>
                          <a:pt x="27" y="133"/>
                        </a:lnTo>
                        <a:lnTo>
                          <a:pt x="30" y="130"/>
                        </a:lnTo>
                        <a:lnTo>
                          <a:pt x="32" y="128"/>
                        </a:lnTo>
                        <a:lnTo>
                          <a:pt x="34" y="125"/>
                        </a:lnTo>
                        <a:lnTo>
                          <a:pt x="29" y="123"/>
                        </a:lnTo>
                        <a:lnTo>
                          <a:pt x="25" y="122"/>
                        </a:lnTo>
                        <a:lnTo>
                          <a:pt x="22" y="122"/>
                        </a:lnTo>
                        <a:lnTo>
                          <a:pt x="19" y="120"/>
                        </a:lnTo>
                        <a:lnTo>
                          <a:pt x="15" y="120"/>
                        </a:lnTo>
                        <a:lnTo>
                          <a:pt x="12" y="120"/>
                        </a:lnTo>
                        <a:lnTo>
                          <a:pt x="10" y="118"/>
                        </a:lnTo>
                        <a:lnTo>
                          <a:pt x="8" y="116"/>
                        </a:lnTo>
                        <a:lnTo>
                          <a:pt x="7" y="115"/>
                        </a:lnTo>
                        <a:lnTo>
                          <a:pt x="5" y="113"/>
                        </a:lnTo>
                        <a:lnTo>
                          <a:pt x="7" y="111"/>
                        </a:lnTo>
                        <a:lnTo>
                          <a:pt x="7" y="108"/>
                        </a:lnTo>
                        <a:lnTo>
                          <a:pt x="5" y="106"/>
                        </a:lnTo>
                        <a:lnTo>
                          <a:pt x="3" y="105"/>
                        </a:lnTo>
                        <a:lnTo>
                          <a:pt x="3" y="103"/>
                        </a:lnTo>
                        <a:lnTo>
                          <a:pt x="5" y="101"/>
                        </a:lnTo>
                        <a:lnTo>
                          <a:pt x="2" y="100"/>
                        </a:lnTo>
                        <a:lnTo>
                          <a:pt x="2" y="101"/>
                        </a:lnTo>
                        <a:lnTo>
                          <a:pt x="5" y="96"/>
                        </a:lnTo>
                        <a:lnTo>
                          <a:pt x="5" y="95"/>
                        </a:lnTo>
                        <a:lnTo>
                          <a:pt x="3" y="93"/>
                        </a:lnTo>
                        <a:lnTo>
                          <a:pt x="3" y="91"/>
                        </a:lnTo>
                        <a:lnTo>
                          <a:pt x="3" y="90"/>
                        </a:lnTo>
                        <a:lnTo>
                          <a:pt x="2" y="90"/>
                        </a:lnTo>
                        <a:lnTo>
                          <a:pt x="2" y="88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41" name="Freeform 315">
                    <a:extLst>
                      <a:ext uri="{FF2B5EF4-FFF2-40B4-BE49-F238E27FC236}">
                        <a16:creationId xmlns:a16="http://schemas.microsoft.com/office/drawing/2014/main" id="{0625C3B7-F4E1-8D42-9632-B0A4F604D54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53" y="399"/>
                    <a:ext cx="140" cy="157"/>
                  </a:xfrm>
                  <a:custGeom>
                    <a:avLst/>
                    <a:gdLst>
                      <a:gd name="T0" fmla="*/ 2 w 140"/>
                      <a:gd name="T1" fmla="*/ 79 h 157"/>
                      <a:gd name="T2" fmla="*/ 2 w 140"/>
                      <a:gd name="T3" fmla="*/ 66 h 157"/>
                      <a:gd name="T4" fmla="*/ 12 w 140"/>
                      <a:gd name="T5" fmla="*/ 63 h 157"/>
                      <a:gd name="T6" fmla="*/ 15 w 140"/>
                      <a:gd name="T7" fmla="*/ 52 h 157"/>
                      <a:gd name="T8" fmla="*/ 17 w 140"/>
                      <a:gd name="T9" fmla="*/ 42 h 157"/>
                      <a:gd name="T10" fmla="*/ 25 w 140"/>
                      <a:gd name="T11" fmla="*/ 37 h 157"/>
                      <a:gd name="T12" fmla="*/ 19 w 140"/>
                      <a:gd name="T13" fmla="*/ 32 h 157"/>
                      <a:gd name="T14" fmla="*/ 29 w 140"/>
                      <a:gd name="T15" fmla="*/ 27 h 157"/>
                      <a:gd name="T16" fmla="*/ 37 w 140"/>
                      <a:gd name="T17" fmla="*/ 31 h 157"/>
                      <a:gd name="T18" fmla="*/ 41 w 140"/>
                      <a:gd name="T19" fmla="*/ 31 h 157"/>
                      <a:gd name="T20" fmla="*/ 44 w 140"/>
                      <a:gd name="T21" fmla="*/ 24 h 157"/>
                      <a:gd name="T22" fmla="*/ 46 w 140"/>
                      <a:gd name="T23" fmla="*/ 19 h 157"/>
                      <a:gd name="T24" fmla="*/ 44 w 140"/>
                      <a:gd name="T25" fmla="*/ 14 h 157"/>
                      <a:gd name="T26" fmla="*/ 47 w 140"/>
                      <a:gd name="T27" fmla="*/ 9 h 157"/>
                      <a:gd name="T28" fmla="*/ 44 w 140"/>
                      <a:gd name="T29" fmla="*/ 0 h 157"/>
                      <a:gd name="T30" fmla="*/ 54 w 140"/>
                      <a:gd name="T31" fmla="*/ 2 h 157"/>
                      <a:gd name="T32" fmla="*/ 61 w 140"/>
                      <a:gd name="T33" fmla="*/ 4 h 157"/>
                      <a:gd name="T34" fmla="*/ 64 w 140"/>
                      <a:gd name="T35" fmla="*/ 10 h 157"/>
                      <a:gd name="T36" fmla="*/ 71 w 140"/>
                      <a:gd name="T37" fmla="*/ 14 h 157"/>
                      <a:gd name="T38" fmla="*/ 79 w 140"/>
                      <a:gd name="T39" fmla="*/ 15 h 157"/>
                      <a:gd name="T40" fmla="*/ 78 w 140"/>
                      <a:gd name="T41" fmla="*/ 22 h 157"/>
                      <a:gd name="T42" fmla="*/ 84 w 140"/>
                      <a:gd name="T43" fmla="*/ 20 h 157"/>
                      <a:gd name="T44" fmla="*/ 94 w 140"/>
                      <a:gd name="T45" fmla="*/ 15 h 157"/>
                      <a:gd name="T46" fmla="*/ 101 w 140"/>
                      <a:gd name="T47" fmla="*/ 10 h 157"/>
                      <a:gd name="T48" fmla="*/ 100 w 140"/>
                      <a:gd name="T49" fmla="*/ 15 h 157"/>
                      <a:gd name="T50" fmla="*/ 110 w 140"/>
                      <a:gd name="T51" fmla="*/ 14 h 157"/>
                      <a:gd name="T52" fmla="*/ 118 w 140"/>
                      <a:gd name="T53" fmla="*/ 17 h 157"/>
                      <a:gd name="T54" fmla="*/ 123 w 140"/>
                      <a:gd name="T55" fmla="*/ 24 h 157"/>
                      <a:gd name="T56" fmla="*/ 132 w 140"/>
                      <a:gd name="T57" fmla="*/ 32 h 157"/>
                      <a:gd name="T58" fmla="*/ 128 w 140"/>
                      <a:gd name="T59" fmla="*/ 44 h 157"/>
                      <a:gd name="T60" fmla="*/ 133 w 140"/>
                      <a:gd name="T61" fmla="*/ 52 h 157"/>
                      <a:gd name="T62" fmla="*/ 135 w 140"/>
                      <a:gd name="T63" fmla="*/ 66 h 157"/>
                      <a:gd name="T64" fmla="*/ 140 w 140"/>
                      <a:gd name="T65" fmla="*/ 76 h 157"/>
                      <a:gd name="T66" fmla="*/ 137 w 140"/>
                      <a:gd name="T67" fmla="*/ 86 h 157"/>
                      <a:gd name="T68" fmla="*/ 128 w 140"/>
                      <a:gd name="T69" fmla="*/ 83 h 157"/>
                      <a:gd name="T70" fmla="*/ 115 w 140"/>
                      <a:gd name="T71" fmla="*/ 93 h 157"/>
                      <a:gd name="T72" fmla="*/ 103 w 140"/>
                      <a:gd name="T73" fmla="*/ 96 h 157"/>
                      <a:gd name="T74" fmla="*/ 98 w 140"/>
                      <a:gd name="T75" fmla="*/ 101 h 157"/>
                      <a:gd name="T76" fmla="*/ 100 w 140"/>
                      <a:gd name="T77" fmla="*/ 105 h 157"/>
                      <a:gd name="T78" fmla="*/ 111 w 140"/>
                      <a:gd name="T79" fmla="*/ 120 h 157"/>
                      <a:gd name="T80" fmla="*/ 121 w 140"/>
                      <a:gd name="T81" fmla="*/ 132 h 157"/>
                      <a:gd name="T82" fmla="*/ 113 w 140"/>
                      <a:gd name="T83" fmla="*/ 138 h 157"/>
                      <a:gd name="T84" fmla="*/ 110 w 140"/>
                      <a:gd name="T85" fmla="*/ 152 h 157"/>
                      <a:gd name="T86" fmla="*/ 100 w 140"/>
                      <a:gd name="T87" fmla="*/ 150 h 157"/>
                      <a:gd name="T88" fmla="*/ 86 w 140"/>
                      <a:gd name="T89" fmla="*/ 154 h 157"/>
                      <a:gd name="T90" fmla="*/ 71 w 140"/>
                      <a:gd name="T91" fmla="*/ 155 h 157"/>
                      <a:gd name="T92" fmla="*/ 61 w 140"/>
                      <a:gd name="T93" fmla="*/ 154 h 157"/>
                      <a:gd name="T94" fmla="*/ 47 w 140"/>
                      <a:gd name="T95" fmla="*/ 152 h 157"/>
                      <a:gd name="T96" fmla="*/ 30 w 140"/>
                      <a:gd name="T97" fmla="*/ 154 h 157"/>
                      <a:gd name="T98" fmla="*/ 25 w 140"/>
                      <a:gd name="T99" fmla="*/ 142 h 157"/>
                      <a:gd name="T100" fmla="*/ 32 w 140"/>
                      <a:gd name="T101" fmla="*/ 128 h 157"/>
                      <a:gd name="T102" fmla="*/ 19 w 140"/>
                      <a:gd name="T103" fmla="*/ 120 h 157"/>
                      <a:gd name="T104" fmla="*/ 7 w 140"/>
                      <a:gd name="T105" fmla="*/ 115 h 157"/>
                      <a:gd name="T106" fmla="*/ 3 w 140"/>
                      <a:gd name="T107" fmla="*/ 105 h 157"/>
                      <a:gd name="T108" fmla="*/ 5 w 140"/>
                      <a:gd name="T109" fmla="*/ 96 h 157"/>
                      <a:gd name="T110" fmla="*/ 2 w 140"/>
                      <a:gd name="T111" fmla="*/ 90 h 1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140" h="157">
                        <a:moveTo>
                          <a:pt x="2" y="88"/>
                        </a:moveTo>
                        <a:lnTo>
                          <a:pt x="2" y="86"/>
                        </a:lnTo>
                        <a:lnTo>
                          <a:pt x="0" y="83"/>
                        </a:lnTo>
                        <a:lnTo>
                          <a:pt x="0" y="81"/>
                        </a:lnTo>
                        <a:lnTo>
                          <a:pt x="2" y="79"/>
                        </a:lnTo>
                        <a:lnTo>
                          <a:pt x="2" y="78"/>
                        </a:lnTo>
                        <a:lnTo>
                          <a:pt x="2" y="76"/>
                        </a:lnTo>
                        <a:lnTo>
                          <a:pt x="2" y="73"/>
                        </a:lnTo>
                        <a:lnTo>
                          <a:pt x="2" y="71"/>
                        </a:lnTo>
                        <a:lnTo>
                          <a:pt x="2" y="66"/>
                        </a:lnTo>
                        <a:lnTo>
                          <a:pt x="2" y="64"/>
                        </a:lnTo>
                        <a:lnTo>
                          <a:pt x="3" y="64"/>
                        </a:lnTo>
                        <a:lnTo>
                          <a:pt x="8" y="66"/>
                        </a:lnTo>
                        <a:lnTo>
                          <a:pt x="10" y="66"/>
                        </a:lnTo>
                        <a:lnTo>
                          <a:pt x="12" y="63"/>
                        </a:lnTo>
                        <a:lnTo>
                          <a:pt x="12" y="61"/>
                        </a:lnTo>
                        <a:lnTo>
                          <a:pt x="15" y="59"/>
                        </a:lnTo>
                        <a:lnTo>
                          <a:pt x="17" y="56"/>
                        </a:lnTo>
                        <a:lnTo>
                          <a:pt x="17" y="54"/>
                        </a:lnTo>
                        <a:lnTo>
                          <a:pt x="15" y="52"/>
                        </a:lnTo>
                        <a:lnTo>
                          <a:pt x="12" y="52"/>
                        </a:lnTo>
                        <a:lnTo>
                          <a:pt x="12" y="49"/>
                        </a:lnTo>
                        <a:lnTo>
                          <a:pt x="15" y="47"/>
                        </a:lnTo>
                        <a:lnTo>
                          <a:pt x="17" y="44"/>
                        </a:lnTo>
                        <a:lnTo>
                          <a:pt x="17" y="42"/>
                        </a:lnTo>
                        <a:lnTo>
                          <a:pt x="17" y="39"/>
                        </a:lnTo>
                        <a:lnTo>
                          <a:pt x="19" y="37"/>
                        </a:lnTo>
                        <a:lnTo>
                          <a:pt x="22" y="36"/>
                        </a:lnTo>
                        <a:lnTo>
                          <a:pt x="24" y="37"/>
                        </a:lnTo>
                        <a:lnTo>
                          <a:pt x="25" y="37"/>
                        </a:lnTo>
                        <a:lnTo>
                          <a:pt x="24" y="36"/>
                        </a:lnTo>
                        <a:lnTo>
                          <a:pt x="22" y="36"/>
                        </a:lnTo>
                        <a:lnTo>
                          <a:pt x="22" y="34"/>
                        </a:lnTo>
                        <a:lnTo>
                          <a:pt x="19" y="34"/>
                        </a:lnTo>
                        <a:lnTo>
                          <a:pt x="19" y="32"/>
                        </a:lnTo>
                        <a:lnTo>
                          <a:pt x="19" y="31"/>
                        </a:lnTo>
                        <a:lnTo>
                          <a:pt x="20" y="31"/>
                        </a:lnTo>
                        <a:lnTo>
                          <a:pt x="20" y="29"/>
                        </a:lnTo>
                        <a:lnTo>
                          <a:pt x="24" y="27"/>
                        </a:lnTo>
                        <a:lnTo>
                          <a:pt x="29" y="27"/>
                        </a:lnTo>
                        <a:lnTo>
                          <a:pt x="34" y="27"/>
                        </a:lnTo>
                        <a:lnTo>
                          <a:pt x="35" y="31"/>
                        </a:lnTo>
                        <a:lnTo>
                          <a:pt x="35" y="32"/>
                        </a:lnTo>
                        <a:lnTo>
                          <a:pt x="37" y="32"/>
                        </a:lnTo>
                        <a:lnTo>
                          <a:pt x="37" y="31"/>
                        </a:lnTo>
                        <a:lnTo>
                          <a:pt x="39" y="31"/>
                        </a:lnTo>
                        <a:lnTo>
                          <a:pt x="41" y="34"/>
                        </a:lnTo>
                        <a:lnTo>
                          <a:pt x="42" y="36"/>
                        </a:lnTo>
                        <a:lnTo>
                          <a:pt x="42" y="34"/>
                        </a:lnTo>
                        <a:lnTo>
                          <a:pt x="41" y="31"/>
                        </a:lnTo>
                        <a:lnTo>
                          <a:pt x="41" y="29"/>
                        </a:lnTo>
                        <a:lnTo>
                          <a:pt x="41" y="27"/>
                        </a:lnTo>
                        <a:lnTo>
                          <a:pt x="42" y="25"/>
                        </a:lnTo>
                        <a:lnTo>
                          <a:pt x="42" y="24"/>
                        </a:lnTo>
                        <a:lnTo>
                          <a:pt x="44" y="24"/>
                        </a:lnTo>
                        <a:lnTo>
                          <a:pt x="47" y="24"/>
                        </a:lnTo>
                        <a:lnTo>
                          <a:pt x="49" y="24"/>
                        </a:lnTo>
                        <a:lnTo>
                          <a:pt x="47" y="22"/>
                        </a:lnTo>
                        <a:lnTo>
                          <a:pt x="46" y="20"/>
                        </a:lnTo>
                        <a:lnTo>
                          <a:pt x="46" y="19"/>
                        </a:lnTo>
                        <a:lnTo>
                          <a:pt x="47" y="19"/>
                        </a:lnTo>
                        <a:lnTo>
                          <a:pt x="46" y="17"/>
                        </a:lnTo>
                        <a:lnTo>
                          <a:pt x="46" y="15"/>
                        </a:lnTo>
                        <a:lnTo>
                          <a:pt x="46" y="14"/>
                        </a:lnTo>
                        <a:lnTo>
                          <a:pt x="44" y="14"/>
                        </a:lnTo>
                        <a:lnTo>
                          <a:pt x="42" y="14"/>
                        </a:lnTo>
                        <a:lnTo>
                          <a:pt x="44" y="12"/>
                        </a:lnTo>
                        <a:lnTo>
                          <a:pt x="46" y="10"/>
                        </a:lnTo>
                        <a:lnTo>
                          <a:pt x="47" y="10"/>
                        </a:lnTo>
                        <a:lnTo>
                          <a:pt x="47" y="9"/>
                        </a:lnTo>
                        <a:lnTo>
                          <a:pt x="46" y="7"/>
                        </a:lnTo>
                        <a:lnTo>
                          <a:pt x="44" y="5"/>
                        </a:lnTo>
                        <a:lnTo>
                          <a:pt x="42" y="4"/>
                        </a:lnTo>
                        <a:lnTo>
                          <a:pt x="44" y="2"/>
                        </a:lnTo>
                        <a:lnTo>
                          <a:pt x="44" y="0"/>
                        </a:lnTo>
                        <a:lnTo>
                          <a:pt x="44" y="2"/>
                        </a:lnTo>
                        <a:lnTo>
                          <a:pt x="46" y="2"/>
                        </a:lnTo>
                        <a:lnTo>
                          <a:pt x="49" y="2"/>
                        </a:lnTo>
                        <a:lnTo>
                          <a:pt x="52" y="2"/>
                        </a:lnTo>
                        <a:lnTo>
                          <a:pt x="54" y="2"/>
                        </a:lnTo>
                        <a:lnTo>
                          <a:pt x="56" y="2"/>
                        </a:lnTo>
                        <a:lnTo>
                          <a:pt x="54" y="2"/>
                        </a:lnTo>
                        <a:lnTo>
                          <a:pt x="56" y="2"/>
                        </a:lnTo>
                        <a:lnTo>
                          <a:pt x="59" y="4"/>
                        </a:lnTo>
                        <a:lnTo>
                          <a:pt x="61" y="4"/>
                        </a:lnTo>
                        <a:lnTo>
                          <a:pt x="62" y="5"/>
                        </a:lnTo>
                        <a:lnTo>
                          <a:pt x="62" y="7"/>
                        </a:lnTo>
                        <a:lnTo>
                          <a:pt x="62" y="9"/>
                        </a:lnTo>
                        <a:lnTo>
                          <a:pt x="61" y="10"/>
                        </a:lnTo>
                        <a:lnTo>
                          <a:pt x="64" y="10"/>
                        </a:lnTo>
                        <a:lnTo>
                          <a:pt x="64" y="12"/>
                        </a:lnTo>
                        <a:lnTo>
                          <a:pt x="66" y="12"/>
                        </a:lnTo>
                        <a:lnTo>
                          <a:pt x="67" y="10"/>
                        </a:lnTo>
                        <a:lnTo>
                          <a:pt x="71" y="12"/>
                        </a:lnTo>
                        <a:lnTo>
                          <a:pt x="71" y="14"/>
                        </a:lnTo>
                        <a:lnTo>
                          <a:pt x="73" y="14"/>
                        </a:lnTo>
                        <a:lnTo>
                          <a:pt x="76" y="14"/>
                        </a:lnTo>
                        <a:lnTo>
                          <a:pt x="78" y="12"/>
                        </a:lnTo>
                        <a:lnTo>
                          <a:pt x="79" y="14"/>
                        </a:lnTo>
                        <a:lnTo>
                          <a:pt x="79" y="15"/>
                        </a:lnTo>
                        <a:lnTo>
                          <a:pt x="78" y="17"/>
                        </a:lnTo>
                        <a:lnTo>
                          <a:pt x="76" y="19"/>
                        </a:lnTo>
                        <a:lnTo>
                          <a:pt x="74" y="20"/>
                        </a:lnTo>
                        <a:lnTo>
                          <a:pt x="76" y="22"/>
                        </a:lnTo>
                        <a:lnTo>
                          <a:pt x="78" y="22"/>
                        </a:lnTo>
                        <a:lnTo>
                          <a:pt x="79" y="20"/>
                        </a:lnTo>
                        <a:lnTo>
                          <a:pt x="81" y="20"/>
                        </a:lnTo>
                        <a:lnTo>
                          <a:pt x="83" y="22"/>
                        </a:lnTo>
                        <a:lnTo>
                          <a:pt x="86" y="22"/>
                        </a:lnTo>
                        <a:lnTo>
                          <a:pt x="84" y="20"/>
                        </a:lnTo>
                        <a:lnTo>
                          <a:pt x="86" y="20"/>
                        </a:lnTo>
                        <a:lnTo>
                          <a:pt x="86" y="19"/>
                        </a:lnTo>
                        <a:lnTo>
                          <a:pt x="89" y="17"/>
                        </a:lnTo>
                        <a:lnTo>
                          <a:pt x="93" y="17"/>
                        </a:lnTo>
                        <a:lnTo>
                          <a:pt x="94" y="15"/>
                        </a:lnTo>
                        <a:lnTo>
                          <a:pt x="94" y="17"/>
                        </a:lnTo>
                        <a:lnTo>
                          <a:pt x="96" y="17"/>
                        </a:lnTo>
                        <a:lnTo>
                          <a:pt x="96" y="15"/>
                        </a:lnTo>
                        <a:lnTo>
                          <a:pt x="100" y="14"/>
                        </a:lnTo>
                        <a:lnTo>
                          <a:pt x="101" y="10"/>
                        </a:lnTo>
                        <a:lnTo>
                          <a:pt x="103" y="10"/>
                        </a:lnTo>
                        <a:lnTo>
                          <a:pt x="105" y="10"/>
                        </a:lnTo>
                        <a:lnTo>
                          <a:pt x="103" y="12"/>
                        </a:lnTo>
                        <a:lnTo>
                          <a:pt x="101" y="14"/>
                        </a:lnTo>
                        <a:lnTo>
                          <a:pt x="100" y="15"/>
                        </a:lnTo>
                        <a:lnTo>
                          <a:pt x="103" y="14"/>
                        </a:lnTo>
                        <a:lnTo>
                          <a:pt x="105" y="14"/>
                        </a:lnTo>
                        <a:lnTo>
                          <a:pt x="106" y="12"/>
                        </a:lnTo>
                        <a:lnTo>
                          <a:pt x="110" y="12"/>
                        </a:lnTo>
                        <a:lnTo>
                          <a:pt x="110" y="14"/>
                        </a:lnTo>
                        <a:lnTo>
                          <a:pt x="113" y="15"/>
                        </a:lnTo>
                        <a:lnTo>
                          <a:pt x="113" y="17"/>
                        </a:lnTo>
                        <a:lnTo>
                          <a:pt x="115" y="17"/>
                        </a:lnTo>
                        <a:lnTo>
                          <a:pt x="116" y="19"/>
                        </a:lnTo>
                        <a:lnTo>
                          <a:pt x="118" y="17"/>
                        </a:lnTo>
                        <a:lnTo>
                          <a:pt x="120" y="19"/>
                        </a:lnTo>
                        <a:lnTo>
                          <a:pt x="121" y="20"/>
                        </a:lnTo>
                        <a:lnTo>
                          <a:pt x="121" y="22"/>
                        </a:lnTo>
                        <a:lnTo>
                          <a:pt x="121" y="24"/>
                        </a:lnTo>
                        <a:lnTo>
                          <a:pt x="123" y="24"/>
                        </a:lnTo>
                        <a:lnTo>
                          <a:pt x="126" y="25"/>
                        </a:lnTo>
                        <a:lnTo>
                          <a:pt x="128" y="25"/>
                        </a:lnTo>
                        <a:lnTo>
                          <a:pt x="128" y="27"/>
                        </a:lnTo>
                        <a:lnTo>
                          <a:pt x="130" y="31"/>
                        </a:lnTo>
                        <a:lnTo>
                          <a:pt x="132" y="32"/>
                        </a:lnTo>
                        <a:lnTo>
                          <a:pt x="132" y="34"/>
                        </a:lnTo>
                        <a:lnTo>
                          <a:pt x="132" y="36"/>
                        </a:lnTo>
                        <a:lnTo>
                          <a:pt x="130" y="39"/>
                        </a:lnTo>
                        <a:lnTo>
                          <a:pt x="128" y="41"/>
                        </a:lnTo>
                        <a:lnTo>
                          <a:pt x="128" y="44"/>
                        </a:lnTo>
                        <a:lnTo>
                          <a:pt x="128" y="46"/>
                        </a:lnTo>
                        <a:lnTo>
                          <a:pt x="130" y="47"/>
                        </a:lnTo>
                        <a:lnTo>
                          <a:pt x="132" y="47"/>
                        </a:lnTo>
                        <a:lnTo>
                          <a:pt x="133" y="51"/>
                        </a:lnTo>
                        <a:lnTo>
                          <a:pt x="133" y="52"/>
                        </a:lnTo>
                        <a:lnTo>
                          <a:pt x="133" y="56"/>
                        </a:lnTo>
                        <a:lnTo>
                          <a:pt x="133" y="57"/>
                        </a:lnTo>
                        <a:lnTo>
                          <a:pt x="135" y="63"/>
                        </a:lnTo>
                        <a:lnTo>
                          <a:pt x="135" y="64"/>
                        </a:lnTo>
                        <a:lnTo>
                          <a:pt x="135" y="66"/>
                        </a:lnTo>
                        <a:lnTo>
                          <a:pt x="135" y="69"/>
                        </a:lnTo>
                        <a:lnTo>
                          <a:pt x="137" y="73"/>
                        </a:lnTo>
                        <a:lnTo>
                          <a:pt x="138" y="74"/>
                        </a:lnTo>
                        <a:lnTo>
                          <a:pt x="140" y="74"/>
                        </a:lnTo>
                        <a:lnTo>
                          <a:pt x="140" y="76"/>
                        </a:lnTo>
                        <a:lnTo>
                          <a:pt x="140" y="78"/>
                        </a:lnTo>
                        <a:lnTo>
                          <a:pt x="140" y="81"/>
                        </a:lnTo>
                        <a:lnTo>
                          <a:pt x="138" y="84"/>
                        </a:lnTo>
                        <a:lnTo>
                          <a:pt x="138" y="86"/>
                        </a:lnTo>
                        <a:lnTo>
                          <a:pt x="137" y="86"/>
                        </a:lnTo>
                        <a:lnTo>
                          <a:pt x="135" y="86"/>
                        </a:lnTo>
                        <a:lnTo>
                          <a:pt x="133" y="84"/>
                        </a:lnTo>
                        <a:lnTo>
                          <a:pt x="132" y="81"/>
                        </a:lnTo>
                        <a:lnTo>
                          <a:pt x="128" y="81"/>
                        </a:lnTo>
                        <a:lnTo>
                          <a:pt x="128" y="83"/>
                        </a:lnTo>
                        <a:lnTo>
                          <a:pt x="128" y="86"/>
                        </a:lnTo>
                        <a:lnTo>
                          <a:pt x="125" y="88"/>
                        </a:lnTo>
                        <a:lnTo>
                          <a:pt x="120" y="88"/>
                        </a:lnTo>
                        <a:lnTo>
                          <a:pt x="116" y="90"/>
                        </a:lnTo>
                        <a:lnTo>
                          <a:pt x="115" y="93"/>
                        </a:lnTo>
                        <a:lnTo>
                          <a:pt x="113" y="93"/>
                        </a:lnTo>
                        <a:lnTo>
                          <a:pt x="110" y="95"/>
                        </a:lnTo>
                        <a:lnTo>
                          <a:pt x="108" y="95"/>
                        </a:lnTo>
                        <a:lnTo>
                          <a:pt x="105" y="96"/>
                        </a:lnTo>
                        <a:lnTo>
                          <a:pt x="103" y="96"/>
                        </a:lnTo>
                        <a:lnTo>
                          <a:pt x="101" y="96"/>
                        </a:lnTo>
                        <a:lnTo>
                          <a:pt x="101" y="98"/>
                        </a:lnTo>
                        <a:lnTo>
                          <a:pt x="100" y="98"/>
                        </a:lnTo>
                        <a:lnTo>
                          <a:pt x="100" y="100"/>
                        </a:lnTo>
                        <a:lnTo>
                          <a:pt x="98" y="101"/>
                        </a:lnTo>
                        <a:lnTo>
                          <a:pt x="98" y="100"/>
                        </a:lnTo>
                        <a:lnTo>
                          <a:pt x="94" y="98"/>
                        </a:lnTo>
                        <a:lnTo>
                          <a:pt x="94" y="100"/>
                        </a:lnTo>
                        <a:lnTo>
                          <a:pt x="96" y="103"/>
                        </a:lnTo>
                        <a:lnTo>
                          <a:pt x="100" y="105"/>
                        </a:lnTo>
                        <a:lnTo>
                          <a:pt x="101" y="106"/>
                        </a:lnTo>
                        <a:lnTo>
                          <a:pt x="101" y="111"/>
                        </a:lnTo>
                        <a:lnTo>
                          <a:pt x="103" y="115"/>
                        </a:lnTo>
                        <a:lnTo>
                          <a:pt x="106" y="116"/>
                        </a:lnTo>
                        <a:lnTo>
                          <a:pt x="111" y="120"/>
                        </a:lnTo>
                        <a:lnTo>
                          <a:pt x="115" y="123"/>
                        </a:lnTo>
                        <a:lnTo>
                          <a:pt x="116" y="125"/>
                        </a:lnTo>
                        <a:lnTo>
                          <a:pt x="121" y="128"/>
                        </a:lnTo>
                        <a:lnTo>
                          <a:pt x="123" y="130"/>
                        </a:lnTo>
                        <a:lnTo>
                          <a:pt x="121" y="132"/>
                        </a:lnTo>
                        <a:lnTo>
                          <a:pt x="120" y="132"/>
                        </a:lnTo>
                        <a:lnTo>
                          <a:pt x="118" y="133"/>
                        </a:lnTo>
                        <a:lnTo>
                          <a:pt x="116" y="135"/>
                        </a:lnTo>
                        <a:lnTo>
                          <a:pt x="115" y="137"/>
                        </a:lnTo>
                        <a:lnTo>
                          <a:pt x="113" y="138"/>
                        </a:lnTo>
                        <a:lnTo>
                          <a:pt x="110" y="140"/>
                        </a:lnTo>
                        <a:lnTo>
                          <a:pt x="108" y="142"/>
                        </a:lnTo>
                        <a:lnTo>
                          <a:pt x="108" y="147"/>
                        </a:lnTo>
                        <a:lnTo>
                          <a:pt x="110" y="150"/>
                        </a:lnTo>
                        <a:lnTo>
                          <a:pt x="110" y="152"/>
                        </a:lnTo>
                        <a:lnTo>
                          <a:pt x="108" y="154"/>
                        </a:lnTo>
                        <a:lnTo>
                          <a:pt x="106" y="150"/>
                        </a:lnTo>
                        <a:lnTo>
                          <a:pt x="105" y="150"/>
                        </a:lnTo>
                        <a:lnTo>
                          <a:pt x="103" y="150"/>
                        </a:lnTo>
                        <a:lnTo>
                          <a:pt x="100" y="150"/>
                        </a:lnTo>
                        <a:lnTo>
                          <a:pt x="98" y="152"/>
                        </a:lnTo>
                        <a:lnTo>
                          <a:pt x="94" y="152"/>
                        </a:lnTo>
                        <a:lnTo>
                          <a:pt x="91" y="152"/>
                        </a:lnTo>
                        <a:lnTo>
                          <a:pt x="88" y="152"/>
                        </a:lnTo>
                        <a:lnTo>
                          <a:pt x="86" y="154"/>
                        </a:lnTo>
                        <a:lnTo>
                          <a:pt x="83" y="155"/>
                        </a:lnTo>
                        <a:lnTo>
                          <a:pt x="79" y="155"/>
                        </a:lnTo>
                        <a:lnTo>
                          <a:pt x="76" y="154"/>
                        </a:lnTo>
                        <a:lnTo>
                          <a:pt x="73" y="154"/>
                        </a:lnTo>
                        <a:lnTo>
                          <a:pt x="71" y="155"/>
                        </a:lnTo>
                        <a:lnTo>
                          <a:pt x="69" y="157"/>
                        </a:lnTo>
                        <a:lnTo>
                          <a:pt x="67" y="157"/>
                        </a:lnTo>
                        <a:lnTo>
                          <a:pt x="64" y="155"/>
                        </a:lnTo>
                        <a:lnTo>
                          <a:pt x="64" y="154"/>
                        </a:lnTo>
                        <a:lnTo>
                          <a:pt x="61" y="154"/>
                        </a:lnTo>
                        <a:lnTo>
                          <a:pt x="59" y="154"/>
                        </a:lnTo>
                        <a:lnTo>
                          <a:pt x="56" y="155"/>
                        </a:lnTo>
                        <a:lnTo>
                          <a:pt x="54" y="154"/>
                        </a:lnTo>
                        <a:lnTo>
                          <a:pt x="51" y="152"/>
                        </a:lnTo>
                        <a:lnTo>
                          <a:pt x="47" y="152"/>
                        </a:lnTo>
                        <a:lnTo>
                          <a:pt x="44" y="152"/>
                        </a:lnTo>
                        <a:lnTo>
                          <a:pt x="42" y="152"/>
                        </a:lnTo>
                        <a:lnTo>
                          <a:pt x="37" y="152"/>
                        </a:lnTo>
                        <a:lnTo>
                          <a:pt x="34" y="152"/>
                        </a:lnTo>
                        <a:lnTo>
                          <a:pt x="30" y="154"/>
                        </a:lnTo>
                        <a:lnTo>
                          <a:pt x="27" y="154"/>
                        </a:lnTo>
                        <a:lnTo>
                          <a:pt x="25" y="152"/>
                        </a:lnTo>
                        <a:lnTo>
                          <a:pt x="24" y="149"/>
                        </a:lnTo>
                        <a:lnTo>
                          <a:pt x="24" y="145"/>
                        </a:lnTo>
                        <a:lnTo>
                          <a:pt x="25" y="142"/>
                        </a:lnTo>
                        <a:lnTo>
                          <a:pt x="25" y="140"/>
                        </a:lnTo>
                        <a:lnTo>
                          <a:pt x="27" y="137"/>
                        </a:lnTo>
                        <a:lnTo>
                          <a:pt x="27" y="133"/>
                        </a:lnTo>
                        <a:lnTo>
                          <a:pt x="30" y="130"/>
                        </a:lnTo>
                        <a:lnTo>
                          <a:pt x="32" y="128"/>
                        </a:lnTo>
                        <a:lnTo>
                          <a:pt x="34" y="125"/>
                        </a:lnTo>
                        <a:lnTo>
                          <a:pt x="29" y="123"/>
                        </a:lnTo>
                        <a:lnTo>
                          <a:pt x="25" y="122"/>
                        </a:lnTo>
                        <a:lnTo>
                          <a:pt x="22" y="122"/>
                        </a:lnTo>
                        <a:lnTo>
                          <a:pt x="19" y="120"/>
                        </a:lnTo>
                        <a:lnTo>
                          <a:pt x="15" y="120"/>
                        </a:lnTo>
                        <a:lnTo>
                          <a:pt x="12" y="120"/>
                        </a:lnTo>
                        <a:lnTo>
                          <a:pt x="10" y="118"/>
                        </a:lnTo>
                        <a:lnTo>
                          <a:pt x="8" y="116"/>
                        </a:lnTo>
                        <a:lnTo>
                          <a:pt x="7" y="115"/>
                        </a:lnTo>
                        <a:lnTo>
                          <a:pt x="5" y="113"/>
                        </a:lnTo>
                        <a:lnTo>
                          <a:pt x="7" y="111"/>
                        </a:lnTo>
                        <a:lnTo>
                          <a:pt x="7" y="108"/>
                        </a:lnTo>
                        <a:lnTo>
                          <a:pt x="5" y="106"/>
                        </a:lnTo>
                        <a:lnTo>
                          <a:pt x="3" y="105"/>
                        </a:lnTo>
                        <a:lnTo>
                          <a:pt x="3" y="103"/>
                        </a:lnTo>
                        <a:lnTo>
                          <a:pt x="5" y="101"/>
                        </a:lnTo>
                        <a:lnTo>
                          <a:pt x="2" y="100"/>
                        </a:lnTo>
                        <a:lnTo>
                          <a:pt x="2" y="101"/>
                        </a:lnTo>
                        <a:lnTo>
                          <a:pt x="5" y="96"/>
                        </a:lnTo>
                        <a:lnTo>
                          <a:pt x="5" y="95"/>
                        </a:lnTo>
                        <a:lnTo>
                          <a:pt x="3" y="93"/>
                        </a:lnTo>
                        <a:lnTo>
                          <a:pt x="3" y="91"/>
                        </a:lnTo>
                        <a:lnTo>
                          <a:pt x="3" y="90"/>
                        </a:lnTo>
                        <a:lnTo>
                          <a:pt x="2" y="90"/>
                        </a:lnTo>
                        <a:lnTo>
                          <a:pt x="2" y="88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37" name="Group 1936">
                  <a:extLst>
                    <a:ext uri="{FF2B5EF4-FFF2-40B4-BE49-F238E27FC236}">
                      <a16:creationId xmlns:a16="http://schemas.microsoft.com/office/drawing/2014/main" id="{A79FA8B6-5786-8746-B1BF-5063F6AF29E1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64" y="406"/>
                  <a:ext cx="9" cy="8"/>
                  <a:chOff x="364" y="406"/>
                  <a:chExt cx="9" cy="8"/>
                </a:xfrm>
              </p:grpSpPr>
              <p:sp>
                <p:nvSpPr>
                  <p:cNvPr id="1938" name="Freeform 312">
                    <a:extLst>
                      <a:ext uri="{FF2B5EF4-FFF2-40B4-BE49-F238E27FC236}">
                        <a16:creationId xmlns:a16="http://schemas.microsoft.com/office/drawing/2014/main" id="{F0390B40-040C-B540-983A-FBC71303E59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4" y="406"/>
                    <a:ext cx="9" cy="8"/>
                  </a:xfrm>
                  <a:custGeom>
                    <a:avLst/>
                    <a:gdLst>
                      <a:gd name="T0" fmla="*/ 9 w 9"/>
                      <a:gd name="T1" fmla="*/ 3 h 8"/>
                      <a:gd name="T2" fmla="*/ 9 w 9"/>
                      <a:gd name="T3" fmla="*/ 2 h 8"/>
                      <a:gd name="T4" fmla="*/ 7 w 9"/>
                      <a:gd name="T5" fmla="*/ 0 h 8"/>
                      <a:gd name="T6" fmla="*/ 5 w 9"/>
                      <a:gd name="T7" fmla="*/ 0 h 8"/>
                      <a:gd name="T8" fmla="*/ 4 w 9"/>
                      <a:gd name="T9" fmla="*/ 0 h 8"/>
                      <a:gd name="T10" fmla="*/ 2 w 9"/>
                      <a:gd name="T11" fmla="*/ 0 h 8"/>
                      <a:gd name="T12" fmla="*/ 4 w 9"/>
                      <a:gd name="T13" fmla="*/ 2 h 8"/>
                      <a:gd name="T14" fmla="*/ 5 w 9"/>
                      <a:gd name="T15" fmla="*/ 2 h 8"/>
                      <a:gd name="T16" fmla="*/ 5 w 9"/>
                      <a:gd name="T17" fmla="*/ 3 h 8"/>
                      <a:gd name="T18" fmla="*/ 4 w 9"/>
                      <a:gd name="T19" fmla="*/ 3 h 8"/>
                      <a:gd name="T20" fmla="*/ 2 w 9"/>
                      <a:gd name="T21" fmla="*/ 2 h 8"/>
                      <a:gd name="T22" fmla="*/ 0 w 9"/>
                      <a:gd name="T23" fmla="*/ 2 h 8"/>
                      <a:gd name="T24" fmla="*/ 2 w 9"/>
                      <a:gd name="T25" fmla="*/ 3 h 8"/>
                      <a:gd name="T26" fmla="*/ 2 w 9"/>
                      <a:gd name="T27" fmla="*/ 5 h 8"/>
                      <a:gd name="T28" fmla="*/ 0 w 9"/>
                      <a:gd name="T29" fmla="*/ 7 h 8"/>
                      <a:gd name="T30" fmla="*/ 2 w 9"/>
                      <a:gd name="T31" fmla="*/ 7 h 8"/>
                      <a:gd name="T32" fmla="*/ 5 w 9"/>
                      <a:gd name="T33" fmla="*/ 8 h 8"/>
                      <a:gd name="T34" fmla="*/ 5 w 9"/>
                      <a:gd name="T35" fmla="*/ 7 h 8"/>
                      <a:gd name="T36" fmla="*/ 7 w 9"/>
                      <a:gd name="T37" fmla="*/ 7 h 8"/>
                      <a:gd name="T38" fmla="*/ 9 w 9"/>
                      <a:gd name="T39" fmla="*/ 7 h 8"/>
                      <a:gd name="T40" fmla="*/ 9 w 9"/>
                      <a:gd name="T41" fmla="*/ 5 h 8"/>
                      <a:gd name="T42" fmla="*/ 7 w 9"/>
                      <a:gd name="T43" fmla="*/ 3 h 8"/>
                      <a:gd name="T44" fmla="*/ 9 w 9"/>
                      <a:gd name="T45" fmla="*/ 3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9" h="8">
                        <a:moveTo>
                          <a:pt x="9" y="3"/>
                        </a:moveTo>
                        <a:lnTo>
                          <a:pt x="9" y="2"/>
                        </a:lnTo>
                        <a:lnTo>
                          <a:pt x="7" y="0"/>
                        </a:lnTo>
                        <a:lnTo>
                          <a:pt x="5" y="0"/>
                        </a:lnTo>
                        <a:lnTo>
                          <a:pt x="4" y="0"/>
                        </a:lnTo>
                        <a:lnTo>
                          <a:pt x="2" y="0"/>
                        </a:lnTo>
                        <a:lnTo>
                          <a:pt x="4" y="2"/>
                        </a:lnTo>
                        <a:lnTo>
                          <a:pt x="5" y="2"/>
                        </a:lnTo>
                        <a:lnTo>
                          <a:pt x="5" y="3"/>
                        </a:lnTo>
                        <a:lnTo>
                          <a:pt x="4" y="3"/>
                        </a:lnTo>
                        <a:lnTo>
                          <a:pt x="2" y="2"/>
                        </a:lnTo>
                        <a:lnTo>
                          <a:pt x="0" y="2"/>
                        </a:lnTo>
                        <a:lnTo>
                          <a:pt x="2" y="3"/>
                        </a:lnTo>
                        <a:lnTo>
                          <a:pt x="2" y="5"/>
                        </a:lnTo>
                        <a:lnTo>
                          <a:pt x="0" y="7"/>
                        </a:lnTo>
                        <a:lnTo>
                          <a:pt x="2" y="7"/>
                        </a:lnTo>
                        <a:lnTo>
                          <a:pt x="5" y="8"/>
                        </a:lnTo>
                        <a:lnTo>
                          <a:pt x="5" y="7"/>
                        </a:lnTo>
                        <a:lnTo>
                          <a:pt x="7" y="7"/>
                        </a:lnTo>
                        <a:lnTo>
                          <a:pt x="9" y="7"/>
                        </a:lnTo>
                        <a:lnTo>
                          <a:pt x="9" y="5"/>
                        </a:lnTo>
                        <a:lnTo>
                          <a:pt x="7" y="3"/>
                        </a:lnTo>
                        <a:lnTo>
                          <a:pt x="9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39" name="Freeform 313">
                    <a:extLst>
                      <a:ext uri="{FF2B5EF4-FFF2-40B4-BE49-F238E27FC236}">
                        <a16:creationId xmlns:a16="http://schemas.microsoft.com/office/drawing/2014/main" id="{B0B355F8-6A03-2C4B-A6D7-333D3E45E24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4" y="406"/>
                    <a:ext cx="9" cy="8"/>
                  </a:xfrm>
                  <a:custGeom>
                    <a:avLst/>
                    <a:gdLst>
                      <a:gd name="T0" fmla="*/ 9 w 9"/>
                      <a:gd name="T1" fmla="*/ 3 h 8"/>
                      <a:gd name="T2" fmla="*/ 9 w 9"/>
                      <a:gd name="T3" fmla="*/ 2 h 8"/>
                      <a:gd name="T4" fmla="*/ 7 w 9"/>
                      <a:gd name="T5" fmla="*/ 0 h 8"/>
                      <a:gd name="T6" fmla="*/ 5 w 9"/>
                      <a:gd name="T7" fmla="*/ 0 h 8"/>
                      <a:gd name="T8" fmla="*/ 4 w 9"/>
                      <a:gd name="T9" fmla="*/ 0 h 8"/>
                      <a:gd name="T10" fmla="*/ 2 w 9"/>
                      <a:gd name="T11" fmla="*/ 0 h 8"/>
                      <a:gd name="T12" fmla="*/ 4 w 9"/>
                      <a:gd name="T13" fmla="*/ 2 h 8"/>
                      <a:gd name="T14" fmla="*/ 5 w 9"/>
                      <a:gd name="T15" fmla="*/ 2 h 8"/>
                      <a:gd name="T16" fmla="*/ 5 w 9"/>
                      <a:gd name="T17" fmla="*/ 3 h 8"/>
                      <a:gd name="T18" fmla="*/ 4 w 9"/>
                      <a:gd name="T19" fmla="*/ 3 h 8"/>
                      <a:gd name="T20" fmla="*/ 2 w 9"/>
                      <a:gd name="T21" fmla="*/ 2 h 8"/>
                      <a:gd name="T22" fmla="*/ 0 w 9"/>
                      <a:gd name="T23" fmla="*/ 2 h 8"/>
                      <a:gd name="T24" fmla="*/ 2 w 9"/>
                      <a:gd name="T25" fmla="*/ 3 h 8"/>
                      <a:gd name="T26" fmla="*/ 2 w 9"/>
                      <a:gd name="T27" fmla="*/ 5 h 8"/>
                      <a:gd name="T28" fmla="*/ 0 w 9"/>
                      <a:gd name="T29" fmla="*/ 7 h 8"/>
                      <a:gd name="T30" fmla="*/ 2 w 9"/>
                      <a:gd name="T31" fmla="*/ 7 h 8"/>
                      <a:gd name="T32" fmla="*/ 5 w 9"/>
                      <a:gd name="T33" fmla="*/ 8 h 8"/>
                      <a:gd name="T34" fmla="*/ 5 w 9"/>
                      <a:gd name="T35" fmla="*/ 7 h 8"/>
                      <a:gd name="T36" fmla="*/ 7 w 9"/>
                      <a:gd name="T37" fmla="*/ 7 h 8"/>
                      <a:gd name="T38" fmla="*/ 9 w 9"/>
                      <a:gd name="T39" fmla="*/ 7 h 8"/>
                      <a:gd name="T40" fmla="*/ 9 w 9"/>
                      <a:gd name="T41" fmla="*/ 5 h 8"/>
                      <a:gd name="T42" fmla="*/ 7 w 9"/>
                      <a:gd name="T43" fmla="*/ 3 h 8"/>
                      <a:gd name="T44" fmla="*/ 9 w 9"/>
                      <a:gd name="T45" fmla="*/ 3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9" h="8">
                        <a:moveTo>
                          <a:pt x="9" y="3"/>
                        </a:moveTo>
                        <a:lnTo>
                          <a:pt x="9" y="2"/>
                        </a:lnTo>
                        <a:lnTo>
                          <a:pt x="7" y="0"/>
                        </a:lnTo>
                        <a:lnTo>
                          <a:pt x="5" y="0"/>
                        </a:lnTo>
                        <a:lnTo>
                          <a:pt x="4" y="0"/>
                        </a:lnTo>
                        <a:lnTo>
                          <a:pt x="2" y="0"/>
                        </a:lnTo>
                        <a:lnTo>
                          <a:pt x="4" y="2"/>
                        </a:lnTo>
                        <a:lnTo>
                          <a:pt x="5" y="2"/>
                        </a:lnTo>
                        <a:lnTo>
                          <a:pt x="5" y="3"/>
                        </a:lnTo>
                        <a:lnTo>
                          <a:pt x="4" y="3"/>
                        </a:lnTo>
                        <a:lnTo>
                          <a:pt x="2" y="2"/>
                        </a:lnTo>
                        <a:lnTo>
                          <a:pt x="0" y="2"/>
                        </a:lnTo>
                        <a:lnTo>
                          <a:pt x="2" y="3"/>
                        </a:lnTo>
                        <a:lnTo>
                          <a:pt x="2" y="5"/>
                        </a:lnTo>
                        <a:lnTo>
                          <a:pt x="0" y="7"/>
                        </a:lnTo>
                        <a:lnTo>
                          <a:pt x="2" y="7"/>
                        </a:lnTo>
                        <a:lnTo>
                          <a:pt x="5" y="8"/>
                        </a:lnTo>
                        <a:lnTo>
                          <a:pt x="5" y="7"/>
                        </a:lnTo>
                        <a:lnTo>
                          <a:pt x="7" y="7"/>
                        </a:lnTo>
                        <a:lnTo>
                          <a:pt x="9" y="7"/>
                        </a:lnTo>
                        <a:lnTo>
                          <a:pt x="9" y="5"/>
                        </a:lnTo>
                        <a:lnTo>
                          <a:pt x="7" y="3"/>
                        </a:lnTo>
                        <a:lnTo>
                          <a:pt x="9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650" name="Group 1649">
                <a:extLst>
                  <a:ext uri="{FF2B5EF4-FFF2-40B4-BE49-F238E27FC236}">
                    <a16:creationId xmlns:a16="http://schemas.microsoft.com/office/drawing/2014/main" id="{00E80DE0-CF95-DB46-B9CA-F6AE97697AD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67" y="662"/>
                <a:ext cx="137" cy="127"/>
                <a:chOff x="467" y="662"/>
                <a:chExt cx="137" cy="127"/>
              </a:xfrm>
            </p:grpSpPr>
            <p:grpSp>
              <p:nvGrpSpPr>
                <p:cNvPr id="1897" name="Group 1896">
                  <a:extLst>
                    <a:ext uri="{FF2B5EF4-FFF2-40B4-BE49-F238E27FC236}">
                      <a16:creationId xmlns:a16="http://schemas.microsoft.com/office/drawing/2014/main" id="{2CC06392-C998-EC4E-9107-389A2E438F2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76" y="662"/>
                  <a:ext cx="99" cy="76"/>
                  <a:chOff x="476" y="662"/>
                  <a:chExt cx="99" cy="76"/>
                </a:xfrm>
              </p:grpSpPr>
              <p:sp>
                <p:nvSpPr>
                  <p:cNvPr id="1934" name="Freeform 308">
                    <a:extLst>
                      <a:ext uri="{FF2B5EF4-FFF2-40B4-BE49-F238E27FC236}">
                        <a16:creationId xmlns:a16="http://schemas.microsoft.com/office/drawing/2014/main" id="{9F7BAB81-67B7-9047-9737-2DAF5C9708E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6" y="662"/>
                    <a:ext cx="99" cy="76"/>
                  </a:xfrm>
                  <a:custGeom>
                    <a:avLst/>
                    <a:gdLst>
                      <a:gd name="T0" fmla="*/ 3 w 99"/>
                      <a:gd name="T1" fmla="*/ 37 h 76"/>
                      <a:gd name="T2" fmla="*/ 10 w 99"/>
                      <a:gd name="T3" fmla="*/ 27 h 76"/>
                      <a:gd name="T4" fmla="*/ 13 w 99"/>
                      <a:gd name="T5" fmla="*/ 19 h 76"/>
                      <a:gd name="T6" fmla="*/ 23 w 99"/>
                      <a:gd name="T7" fmla="*/ 17 h 76"/>
                      <a:gd name="T8" fmla="*/ 37 w 99"/>
                      <a:gd name="T9" fmla="*/ 12 h 76"/>
                      <a:gd name="T10" fmla="*/ 47 w 99"/>
                      <a:gd name="T11" fmla="*/ 9 h 76"/>
                      <a:gd name="T12" fmla="*/ 64 w 99"/>
                      <a:gd name="T13" fmla="*/ 5 h 76"/>
                      <a:gd name="T14" fmla="*/ 72 w 99"/>
                      <a:gd name="T15" fmla="*/ 7 h 76"/>
                      <a:gd name="T16" fmla="*/ 89 w 99"/>
                      <a:gd name="T17" fmla="*/ 9 h 76"/>
                      <a:gd name="T18" fmla="*/ 96 w 99"/>
                      <a:gd name="T19" fmla="*/ 0 h 76"/>
                      <a:gd name="T20" fmla="*/ 99 w 99"/>
                      <a:gd name="T21" fmla="*/ 7 h 76"/>
                      <a:gd name="T22" fmla="*/ 94 w 99"/>
                      <a:gd name="T23" fmla="*/ 17 h 76"/>
                      <a:gd name="T24" fmla="*/ 84 w 99"/>
                      <a:gd name="T25" fmla="*/ 19 h 76"/>
                      <a:gd name="T26" fmla="*/ 75 w 99"/>
                      <a:gd name="T27" fmla="*/ 15 h 76"/>
                      <a:gd name="T28" fmla="*/ 69 w 99"/>
                      <a:gd name="T29" fmla="*/ 19 h 76"/>
                      <a:gd name="T30" fmla="*/ 59 w 99"/>
                      <a:gd name="T31" fmla="*/ 20 h 76"/>
                      <a:gd name="T32" fmla="*/ 59 w 99"/>
                      <a:gd name="T33" fmla="*/ 25 h 76"/>
                      <a:gd name="T34" fmla="*/ 64 w 99"/>
                      <a:gd name="T35" fmla="*/ 29 h 76"/>
                      <a:gd name="T36" fmla="*/ 59 w 99"/>
                      <a:gd name="T37" fmla="*/ 27 h 76"/>
                      <a:gd name="T38" fmla="*/ 59 w 99"/>
                      <a:gd name="T39" fmla="*/ 32 h 76"/>
                      <a:gd name="T40" fmla="*/ 55 w 99"/>
                      <a:gd name="T41" fmla="*/ 31 h 76"/>
                      <a:gd name="T42" fmla="*/ 52 w 99"/>
                      <a:gd name="T43" fmla="*/ 32 h 76"/>
                      <a:gd name="T44" fmla="*/ 50 w 99"/>
                      <a:gd name="T45" fmla="*/ 32 h 76"/>
                      <a:gd name="T46" fmla="*/ 42 w 99"/>
                      <a:gd name="T47" fmla="*/ 25 h 76"/>
                      <a:gd name="T48" fmla="*/ 38 w 99"/>
                      <a:gd name="T49" fmla="*/ 29 h 76"/>
                      <a:gd name="T50" fmla="*/ 40 w 99"/>
                      <a:gd name="T51" fmla="*/ 37 h 76"/>
                      <a:gd name="T52" fmla="*/ 47 w 99"/>
                      <a:gd name="T53" fmla="*/ 46 h 76"/>
                      <a:gd name="T54" fmla="*/ 47 w 99"/>
                      <a:gd name="T55" fmla="*/ 51 h 76"/>
                      <a:gd name="T56" fmla="*/ 45 w 99"/>
                      <a:gd name="T57" fmla="*/ 47 h 76"/>
                      <a:gd name="T58" fmla="*/ 43 w 99"/>
                      <a:gd name="T59" fmla="*/ 52 h 76"/>
                      <a:gd name="T60" fmla="*/ 40 w 99"/>
                      <a:gd name="T61" fmla="*/ 54 h 76"/>
                      <a:gd name="T62" fmla="*/ 42 w 99"/>
                      <a:gd name="T63" fmla="*/ 57 h 76"/>
                      <a:gd name="T64" fmla="*/ 48 w 99"/>
                      <a:gd name="T65" fmla="*/ 59 h 76"/>
                      <a:gd name="T66" fmla="*/ 54 w 99"/>
                      <a:gd name="T67" fmla="*/ 64 h 76"/>
                      <a:gd name="T68" fmla="*/ 60 w 99"/>
                      <a:gd name="T69" fmla="*/ 68 h 76"/>
                      <a:gd name="T70" fmla="*/ 60 w 99"/>
                      <a:gd name="T71" fmla="*/ 74 h 76"/>
                      <a:gd name="T72" fmla="*/ 54 w 99"/>
                      <a:gd name="T73" fmla="*/ 71 h 76"/>
                      <a:gd name="T74" fmla="*/ 43 w 99"/>
                      <a:gd name="T75" fmla="*/ 71 h 76"/>
                      <a:gd name="T76" fmla="*/ 43 w 99"/>
                      <a:gd name="T77" fmla="*/ 68 h 76"/>
                      <a:gd name="T78" fmla="*/ 37 w 99"/>
                      <a:gd name="T79" fmla="*/ 66 h 76"/>
                      <a:gd name="T80" fmla="*/ 28 w 99"/>
                      <a:gd name="T81" fmla="*/ 64 h 76"/>
                      <a:gd name="T82" fmla="*/ 16 w 99"/>
                      <a:gd name="T83" fmla="*/ 64 h 76"/>
                      <a:gd name="T84" fmla="*/ 13 w 99"/>
                      <a:gd name="T85" fmla="*/ 59 h 76"/>
                      <a:gd name="T86" fmla="*/ 11 w 99"/>
                      <a:gd name="T87" fmla="*/ 56 h 76"/>
                      <a:gd name="T88" fmla="*/ 10 w 99"/>
                      <a:gd name="T89" fmla="*/ 51 h 76"/>
                      <a:gd name="T90" fmla="*/ 5 w 99"/>
                      <a:gd name="T91" fmla="*/ 47 h 76"/>
                      <a:gd name="T92" fmla="*/ 1 w 99"/>
                      <a:gd name="T93" fmla="*/ 41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</a:cxnLst>
                    <a:rect l="0" t="0" r="r" b="b"/>
                    <a:pathLst>
                      <a:path w="99" h="76">
                        <a:moveTo>
                          <a:pt x="0" y="41"/>
                        </a:moveTo>
                        <a:lnTo>
                          <a:pt x="3" y="39"/>
                        </a:lnTo>
                        <a:lnTo>
                          <a:pt x="3" y="37"/>
                        </a:lnTo>
                        <a:lnTo>
                          <a:pt x="5" y="34"/>
                        </a:lnTo>
                        <a:lnTo>
                          <a:pt x="6" y="32"/>
                        </a:lnTo>
                        <a:lnTo>
                          <a:pt x="10" y="27"/>
                        </a:lnTo>
                        <a:lnTo>
                          <a:pt x="13" y="24"/>
                        </a:lnTo>
                        <a:lnTo>
                          <a:pt x="13" y="20"/>
                        </a:lnTo>
                        <a:lnTo>
                          <a:pt x="13" y="19"/>
                        </a:lnTo>
                        <a:lnTo>
                          <a:pt x="15" y="19"/>
                        </a:lnTo>
                        <a:lnTo>
                          <a:pt x="18" y="17"/>
                        </a:lnTo>
                        <a:lnTo>
                          <a:pt x="23" y="17"/>
                        </a:lnTo>
                        <a:lnTo>
                          <a:pt x="27" y="14"/>
                        </a:lnTo>
                        <a:lnTo>
                          <a:pt x="32" y="12"/>
                        </a:lnTo>
                        <a:lnTo>
                          <a:pt x="37" y="12"/>
                        </a:lnTo>
                        <a:lnTo>
                          <a:pt x="42" y="9"/>
                        </a:lnTo>
                        <a:lnTo>
                          <a:pt x="43" y="9"/>
                        </a:lnTo>
                        <a:lnTo>
                          <a:pt x="47" y="9"/>
                        </a:lnTo>
                        <a:lnTo>
                          <a:pt x="52" y="7"/>
                        </a:lnTo>
                        <a:lnTo>
                          <a:pt x="59" y="7"/>
                        </a:lnTo>
                        <a:lnTo>
                          <a:pt x="64" y="5"/>
                        </a:lnTo>
                        <a:lnTo>
                          <a:pt x="67" y="5"/>
                        </a:lnTo>
                        <a:lnTo>
                          <a:pt x="70" y="5"/>
                        </a:lnTo>
                        <a:lnTo>
                          <a:pt x="72" y="7"/>
                        </a:lnTo>
                        <a:lnTo>
                          <a:pt x="77" y="9"/>
                        </a:lnTo>
                        <a:lnTo>
                          <a:pt x="82" y="10"/>
                        </a:lnTo>
                        <a:lnTo>
                          <a:pt x="89" y="9"/>
                        </a:lnTo>
                        <a:lnTo>
                          <a:pt x="92" y="7"/>
                        </a:lnTo>
                        <a:lnTo>
                          <a:pt x="92" y="2"/>
                        </a:lnTo>
                        <a:lnTo>
                          <a:pt x="96" y="0"/>
                        </a:lnTo>
                        <a:lnTo>
                          <a:pt x="97" y="2"/>
                        </a:lnTo>
                        <a:lnTo>
                          <a:pt x="99" y="5"/>
                        </a:lnTo>
                        <a:lnTo>
                          <a:pt x="99" y="7"/>
                        </a:lnTo>
                        <a:lnTo>
                          <a:pt x="96" y="10"/>
                        </a:lnTo>
                        <a:lnTo>
                          <a:pt x="96" y="14"/>
                        </a:lnTo>
                        <a:lnTo>
                          <a:pt x="94" y="17"/>
                        </a:lnTo>
                        <a:lnTo>
                          <a:pt x="92" y="20"/>
                        </a:lnTo>
                        <a:lnTo>
                          <a:pt x="89" y="19"/>
                        </a:lnTo>
                        <a:lnTo>
                          <a:pt x="84" y="19"/>
                        </a:lnTo>
                        <a:lnTo>
                          <a:pt x="81" y="17"/>
                        </a:lnTo>
                        <a:lnTo>
                          <a:pt x="79" y="17"/>
                        </a:lnTo>
                        <a:lnTo>
                          <a:pt x="75" y="15"/>
                        </a:lnTo>
                        <a:lnTo>
                          <a:pt x="72" y="17"/>
                        </a:lnTo>
                        <a:lnTo>
                          <a:pt x="72" y="19"/>
                        </a:lnTo>
                        <a:lnTo>
                          <a:pt x="69" y="19"/>
                        </a:lnTo>
                        <a:lnTo>
                          <a:pt x="67" y="17"/>
                        </a:lnTo>
                        <a:lnTo>
                          <a:pt x="64" y="20"/>
                        </a:lnTo>
                        <a:lnTo>
                          <a:pt x="59" y="20"/>
                        </a:lnTo>
                        <a:lnTo>
                          <a:pt x="54" y="24"/>
                        </a:lnTo>
                        <a:lnTo>
                          <a:pt x="57" y="25"/>
                        </a:lnTo>
                        <a:lnTo>
                          <a:pt x="59" y="25"/>
                        </a:lnTo>
                        <a:lnTo>
                          <a:pt x="60" y="27"/>
                        </a:lnTo>
                        <a:lnTo>
                          <a:pt x="62" y="29"/>
                        </a:lnTo>
                        <a:lnTo>
                          <a:pt x="64" y="29"/>
                        </a:lnTo>
                        <a:lnTo>
                          <a:pt x="64" y="31"/>
                        </a:lnTo>
                        <a:lnTo>
                          <a:pt x="62" y="29"/>
                        </a:lnTo>
                        <a:lnTo>
                          <a:pt x="59" y="27"/>
                        </a:lnTo>
                        <a:lnTo>
                          <a:pt x="57" y="27"/>
                        </a:lnTo>
                        <a:lnTo>
                          <a:pt x="55" y="31"/>
                        </a:lnTo>
                        <a:lnTo>
                          <a:pt x="59" y="32"/>
                        </a:lnTo>
                        <a:lnTo>
                          <a:pt x="59" y="36"/>
                        </a:lnTo>
                        <a:lnTo>
                          <a:pt x="57" y="32"/>
                        </a:lnTo>
                        <a:lnTo>
                          <a:pt x="55" y="31"/>
                        </a:lnTo>
                        <a:lnTo>
                          <a:pt x="52" y="29"/>
                        </a:lnTo>
                        <a:lnTo>
                          <a:pt x="52" y="31"/>
                        </a:lnTo>
                        <a:lnTo>
                          <a:pt x="52" y="32"/>
                        </a:lnTo>
                        <a:lnTo>
                          <a:pt x="54" y="34"/>
                        </a:lnTo>
                        <a:lnTo>
                          <a:pt x="54" y="36"/>
                        </a:lnTo>
                        <a:lnTo>
                          <a:pt x="50" y="32"/>
                        </a:lnTo>
                        <a:lnTo>
                          <a:pt x="48" y="31"/>
                        </a:lnTo>
                        <a:lnTo>
                          <a:pt x="45" y="27"/>
                        </a:lnTo>
                        <a:lnTo>
                          <a:pt x="42" y="25"/>
                        </a:lnTo>
                        <a:lnTo>
                          <a:pt x="42" y="24"/>
                        </a:lnTo>
                        <a:lnTo>
                          <a:pt x="38" y="24"/>
                        </a:lnTo>
                        <a:lnTo>
                          <a:pt x="38" y="29"/>
                        </a:lnTo>
                        <a:lnTo>
                          <a:pt x="38" y="32"/>
                        </a:lnTo>
                        <a:lnTo>
                          <a:pt x="38" y="36"/>
                        </a:lnTo>
                        <a:lnTo>
                          <a:pt x="40" y="37"/>
                        </a:lnTo>
                        <a:lnTo>
                          <a:pt x="42" y="41"/>
                        </a:lnTo>
                        <a:lnTo>
                          <a:pt x="45" y="42"/>
                        </a:lnTo>
                        <a:lnTo>
                          <a:pt x="47" y="46"/>
                        </a:lnTo>
                        <a:lnTo>
                          <a:pt x="48" y="47"/>
                        </a:lnTo>
                        <a:lnTo>
                          <a:pt x="48" y="49"/>
                        </a:lnTo>
                        <a:lnTo>
                          <a:pt x="47" y="51"/>
                        </a:lnTo>
                        <a:lnTo>
                          <a:pt x="45" y="51"/>
                        </a:lnTo>
                        <a:lnTo>
                          <a:pt x="47" y="49"/>
                        </a:lnTo>
                        <a:lnTo>
                          <a:pt x="45" y="47"/>
                        </a:lnTo>
                        <a:lnTo>
                          <a:pt x="43" y="47"/>
                        </a:lnTo>
                        <a:lnTo>
                          <a:pt x="42" y="49"/>
                        </a:lnTo>
                        <a:lnTo>
                          <a:pt x="43" y="52"/>
                        </a:lnTo>
                        <a:lnTo>
                          <a:pt x="43" y="54"/>
                        </a:lnTo>
                        <a:lnTo>
                          <a:pt x="42" y="54"/>
                        </a:lnTo>
                        <a:lnTo>
                          <a:pt x="40" y="54"/>
                        </a:lnTo>
                        <a:lnTo>
                          <a:pt x="37" y="54"/>
                        </a:lnTo>
                        <a:lnTo>
                          <a:pt x="38" y="56"/>
                        </a:lnTo>
                        <a:lnTo>
                          <a:pt x="42" y="57"/>
                        </a:lnTo>
                        <a:lnTo>
                          <a:pt x="43" y="57"/>
                        </a:lnTo>
                        <a:lnTo>
                          <a:pt x="45" y="59"/>
                        </a:lnTo>
                        <a:lnTo>
                          <a:pt x="48" y="59"/>
                        </a:lnTo>
                        <a:lnTo>
                          <a:pt x="50" y="63"/>
                        </a:lnTo>
                        <a:lnTo>
                          <a:pt x="52" y="63"/>
                        </a:lnTo>
                        <a:lnTo>
                          <a:pt x="54" y="64"/>
                        </a:lnTo>
                        <a:lnTo>
                          <a:pt x="55" y="66"/>
                        </a:lnTo>
                        <a:lnTo>
                          <a:pt x="57" y="66"/>
                        </a:lnTo>
                        <a:lnTo>
                          <a:pt x="60" y="68"/>
                        </a:lnTo>
                        <a:lnTo>
                          <a:pt x="60" y="69"/>
                        </a:lnTo>
                        <a:lnTo>
                          <a:pt x="60" y="73"/>
                        </a:lnTo>
                        <a:lnTo>
                          <a:pt x="60" y="74"/>
                        </a:lnTo>
                        <a:lnTo>
                          <a:pt x="60" y="76"/>
                        </a:lnTo>
                        <a:lnTo>
                          <a:pt x="57" y="74"/>
                        </a:lnTo>
                        <a:lnTo>
                          <a:pt x="54" y="71"/>
                        </a:lnTo>
                        <a:lnTo>
                          <a:pt x="50" y="73"/>
                        </a:lnTo>
                        <a:lnTo>
                          <a:pt x="45" y="73"/>
                        </a:lnTo>
                        <a:lnTo>
                          <a:pt x="43" y="71"/>
                        </a:lnTo>
                        <a:lnTo>
                          <a:pt x="45" y="69"/>
                        </a:lnTo>
                        <a:lnTo>
                          <a:pt x="47" y="68"/>
                        </a:lnTo>
                        <a:lnTo>
                          <a:pt x="43" y="68"/>
                        </a:lnTo>
                        <a:lnTo>
                          <a:pt x="40" y="66"/>
                        </a:lnTo>
                        <a:lnTo>
                          <a:pt x="38" y="64"/>
                        </a:lnTo>
                        <a:lnTo>
                          <a:pt x="37" y="66"/>
                        </a:lnTo>
                        <a:lnTo>
                          <a:pt x="35" y="64"/>
                        </a:lnTo>
                        <a:lnTo>
                          <a:pt x="32" y="64"/>
                        </a:lnTo>
                        <a:lnTo>
                          <a:pt x="28" y="64"/>
                        </a:lnTo>
                        <a:lnTo>
                          <a:pt x="23" y="64"/>
                        </a:lnTo>
                        <a:lnTo>
                          <a:pt x="18" y="63"/>
                        </a:lnTo>
                        <a:lnTo>
                          <a:pt x="16" y="64"/>
                        </a:lnTo>
                        <a:lnTo>
                          <a:pt x="15" y="64"/>
                        </a:lnTo>
                        <a:lnTo>
                          <a:pt x="15" y="63"/>
                        </a:lnTo>
                        <a:lnTo>
                          <a:pt x="13" y="59"/>
                        </a:lnTo>
                        <a:lnTo>
                          <a:pt x="11" y="57"/>
                        </a:lnTo>
                        <a:lnTo>
                          <a:pt x="10" y="54"/>
                        </a:lnTo>
                        <a:lnTo>
                          <a:pt x="11" y="56"/>
                        </a:lnTo>
                        <a:lnTo>
                          <a:pt x="15" y="54"/>
                        </a:lnTo>
                        <a:lnTo>
                          <a:pt x="13" y="52"/>
                        </a:lnTo>
                        <a:lnTo>
                          <a:pt x="10" y="51"/>
                        </a:lnTo>
                        <a:lnTo>
                          <a:pt x="8" y="54"/>
                        </a:lnTo>
                        <a:lnTo>
                          <a:pt x="6" y="51"/>
                        </a:lnTo>
                        <a:lnTo>
                          <a:pt x="5" y="47"/>
                        </a:lnTo>
                        <a:lnTo>
                          <a:pt x="1" y="46"/>
                        </a:lnTo>
                        <a:lnTo>
                          <a:pt x="1" y="42"/>
                        </a:lnTo>
                        <a:lnTo>
                          <a:pt x="1" y="41"/>
                        </a:lnTo>
                        <a:lnTo>
                          <a:pt x="0" y="4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35" name="Freeform 309">
                    <a:extLst>
                      <a:ext uri="{FF2B5EF4-FFF2-40B4-BE49-F238E27FC236}">
                        <a16:creationId xmlns:a16="http://schemas.microsoft.com/office/drawing/2014/main" id="{CC79FA5C-9F81-AD4D-B0FF-BEE886AF346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6" y="662"/>
                    <a:ext cx="99" cy="76"/>
                  </a:xfrm>
                  <a:custGeom>
                    <a:avLst/>
                    <a:gdLst>
                      <a:gd name="T0" fmla="*/ 3 w 99"/>
                      <a:gd name="T1" fmla="*/ 37 h 76"/>
                      <a:gd name="T2" fmla="*/ 10 w 99"/>
                      <a:gd name="T3" fmla="*/ 27 h 76"/>
                      <a:gd name="T4" fmla="*/ 13 w 99"/>
                      <a:gd name="T5" fmla="*/ 19 h 76"/>
                      <a:gd name="T6" fmla="*/ 23 w 99"/>
                      <a:gd name="T7" fmla="*/ 17 h 76"/>
                      <a:gd name="T8" fmla="*/ 37 w 99"/>
                      <a:gd name="T9" fmla="*/ 12 h 76"/>
                      <a:gd name="T10" fmla="*/ 47 w 99"/>
                      <a:gd name="T11" fmla="*/ 9 h 76"/>
                      <a:gd name="T12" fmla="*/ 64 w 99"/>
                      <a:gd name="T13" fmla="*/ 5 h 76"/>
                      <a:gd name="T14" fmla="*/ 72 w 99"/>
                      <a:gd name="T15" fmla="*/ 7 h 76"/>
                      <a:gd name="T16" fmla="*/ 89 w 99"/>
                      <a:gd name="T17" fmla="*/ 9 h 76"/>
                      <a:gd name="T18" fmla="*/ 96 w 99"/>
                      <a:gd name="T19" fmla="*/ 0 h 76"/>
                      <a:gd name="T20" fmla="*/ 99 w 99"/>
                      <a:gd name="T21" fmla="*/ 7 h 76"/>
                      <a:gd name="T22" fmla="*/ 94 w 99"/>
                      <a:gd name="T23" fmla="*/ 17 h 76"/>
                      <a:gd name="T24" fmla="*/ 84 w 99"/>
                      <a:gd name="T25" fmla="*/ 19 h 76"/>
                      <a:gd name="T26" fmla="*/ 75 w 99"/>
                      <a:gd name="T27" fmla="*/ 15 h 76"/>
                      <a:gd name="T28" fmla="*/ 69 w 99"/>
                      <a:gd name="T29" fmla="*/ 19 h 76"/>
                      <a:gd name="T30" fmla="*/ 59 w 99"/>
                      <a:gd name="T31" fmla="*/ 20 h 76"/>
                      <a:gd name="T32" fmla="*/ 59 w 99"/>
                      <a:gd name="T33" fmla="*/ 25 h 76"/>
                      <a:gd name="T34" fmla="*/ 64 w 99"/>
                      <a:gd name="T35" fmla="*/ 29 h 76"/>
                      <a:gd name="T36" fmla="*/ 59 w 99"/>
                      <a:gd name="T37" fmla="*/ 27 h 76"/>
                      <a:gd name="T38" fmla="*/ 59 w 99"/>
                      <a:gd name="T39" fmla="*/ 32 h 76"/>
                      <a:gd name="T40" fmla="*/ 55 w 99"/>
                      <a:gd name="T41" fmla="*/ 31 h 76"/>
                      <a:gd name="T42" fmla="*/ 52 w 99"/>
                      <a:gd name="T43" fmla="*/ 32 h 76"/>
                      <a:gd name="T44" fmla="*/ 50 w 99"/>
                      <a:gd name="T45" fmla="*/ 32 h 76"/>
                      <a:gd name="T46" fmla="*/ 42 w 99"/>
                      <a:gd name="T47" fmla="*/ 25 h 76"/>
                      <a:gd name="T48" fmla="*/ 38 w 99"/>
                      <a:gd name="T49" fmla="*/ 29 h 76"/>
                      <a:gd name="T50" fmla="*/ 40 w 99"/>
                      <a:gd name="T51" fmla="*/ 37 h 76"/>
                      <a:gd name="T52" fmla="*/ 47 w 99"/>
                      <a:gd name="T53" fmla="*/ 46 h 76"/>
                      <a:gd name="T54" fmla="*/ 47 w 99"/>
                      <a:gd name="T55" fmla="*/ 51 h 76"/>
                      <a:gd name="T56" fmla="*/ 45 w 99"/>
                      <a:gd name="T57" fmla="*/ 47 h 76"/>
                      <a:gd name="T58" fmla="*/ 43 w 99"/>
                      <a:gd name="T59" fmla="*/ 52 h 76"/>
                      <a:gd name="T60" fmla="*/ 40 w 99"/>
                      <a:gd name="T61" fmla="*/ 54 h 76"/>
                      <a:gd name="T62" fmla="*/ 42 w 99"/>
                      <a:gd name="T63" fmla="*/ 57 h 76"/>
                      <a:gd name="T64" fmla="*/ 48 w 99"/>
                      <a:gd name="T65" fmla="*/ 59 h 76"/>
                      <a:gd name="T66" fmla="*/ 54 w 99"/>
                      <a:gd name="T67" fmla="*/ 64 h 76"/>
                      <a:gd name="T68" fmla="*/ 60 w 99"/>
                      <a:gd name="T69" fmla="*/ 68 h 76"/>
                      <a:gd name="T70" fmla="*/ 60 w 99"/>
                      <a:gd name="T71" fmla="*/ 74 h 76"/>
                      <a:gd name="T72" fmla="*/ 54 w 99"/>
                      <a:gd name="T73" fmla="*/ 71 h 76"/>
                      <a:gd name="T74" fmla="*/ 43 w 99"/>
                      <a:gd name="T75" fmla="*/ 71 h 76"/>
                      <a:gd name="T76" fmla="*/ 43 w 99"/>
                      <a:gd name="T77" fmla="*/ 68 h 76"/>
                      <a:gd name="T78" fmla="*/ 37 w 99"/>
                      <a:gd name="T79" fmla="*/ 66 h 76"/>
                      <a:gd name="T80" fmla="*/ 28 w 99"/>
                      <a:gd name="T81" fmla="*/ 64 h 76"/>
                      <a:gd name="T82" fmla="*/ 16 w 99"/>
                      <a:gd name="T83" fmla="*/ 64 h 76"/>
                      <a:gd name="T84" fmla="*/ 13 w 99"/>
                      <a:gd name="T85" fmla="*/ 59 h 76"/>
                      <a:gd name="T86" fmla="*/ 11 w 99"/>
                      <a:gd name="T87" fmla="*/ 56 h 76"/>
                      <a:gd name="T88" fmla="*/ 10 w 99"/>
                      <a:gd name="T89" fmla="*/ 51 h 76"/>
                      <a:gd name="T90" fmla="*/ 5 w 99"/>
                      <a:gd name="T91" fmla="*/ 47 h 76"/>
                      <a:gd name="T92" fmla="*/ 1 w 99"/>
                      <a:gd name="T93" fmla="*/ 41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</a:cxnLst>
                    <a:rect l="0" t="0" r="r" b="b"/>
                    <a:pathLst>
                      <a:path w="99" h="76">
                        <a:moveTo>
                          <a:pt x="0" y="41"/>
                        </a:moveTo>
                        <a:lnTo>
                          <a:pt x="3" y="39"/>
                        </a:lnTo>
                        <a:lnTo>
                          <a:pt x="3" y="37"/>
                        </a:lnTo>
                        <a:lnTo>
                          <a:pt x="5" y="34"/>
                        </a:lnTo>
                        <a:lnTo>
                          <a:pt x="6" y="32"/>
                        </a:lnTo>
                        <a:lnTo>
                          <a:pt x="10" y="27"/>
                        </a:lnTo>
                        <a:lnTo>
                          <a:pt x="13" y="24"/>
                        </a:lnTo>
                        <a:lnTo>
                          <a:pt x="13" y="20"/>
                        </a:lnTo>
                        <a:lnTo>
                          <a:pt x="13" y="19"/>
                        </a:lnTo>
                        <a:lnTo>
                          <a:pt x="15" y="19"/>
                        </a:lnTo>
                        <a:lnTo>
                          <a:pt x="18" y="17"/>
                        </a:lnTo>
                        <a:lnTo>
                          <a:pt x="23" y="17"/>
                        </a:lnTo>
                        <a:lnTo>
                          <a:pt x="27" y="14"/>
                        </a:lnTo>
                        <a:lnTo>
                          <a:pt x="32" y="12"/>
                        </a:lnTo>
                        <a:lnTo>
                          <a:pt x="37" y="12"/>
                        </a:lnTo>
                        <a:lnTo>
                          <a:pt x="42" y="9"/>
                        </a:lnTo>
                        <a:lnTo>
                          <a:pt x="43" y="9"/>
                        </a:lnTo>
                        <a:lnTo>
                          <a:pt x="47" y="9"/>
                        </a:lnTo>
                        <a:lnTo>
                          <a:pt x="52" y="7"/>
                        </a:lnTo>
                        <a:lnTo>
                          <a:pt x="59" y="7"/>
                        </a:lnTo>
                        <a:lnTo>
                          <a:pt x="64" y="5"/>
                        </a:lnTo>
                        <a:lnTo>
                          <a:pt x="67" y="5"/>
                        </a:lnTo>
                        <a:lnTo>
                          <a:pt x="70" y="5"/>
                        </a:lnTo>
                        <a:lnTo>
                          <a:pt x="72" y="7"/>
                        </a:lnTo>
                        <a:lnTo>
                          <a:pt x="77" y="9"/>
                        </a:lnTo>
                        <a:lnTo>
                          <a:pt x="82" y="10"/>
                        </a:lnTo>
                        <a:lnTo>
                          <a:pt x="89" y="9"/>
                        </a:lnTo>
                        <a:lnTo>
                          <a:pt x="92" y="7"/>
                        </a:lnTo>
                        <a:lnTo>
                          <a:pt x="92" y="2"/>
                        </a:lnTo>
                        <a:lnTo>
                          <a:pt x="96" y="0"/>
                        </a:lnTo>
                        <a:lnTo>
                          <a:pt x="97" y="2"/>
                        </a:lnTo>
                        <a:lnTo>
                          <a:pt x="99" y="5"/>
                        </a:lnTo>
                        <a:lnTo>
                          <a:pt x="99" y="7"/>
                        </a:lnTo>
                        <a:lnTo>
                          <a:pt x="96" y="10"/>
                        </a:lnTo>
                        <a:lnTo>
                          <a:pt x="96" y="14"/>
                        </a:lnTo>
                        <a:lnTo>
                          <a:pt x="94" y="17"/>
                        </a:lnTo>
                        <a:lnTo>
                          <a:pt x="92" y="20"/>
                        </a:lnTo>
                        <a:lnTo>
                          <a:pt x="89" y="19"/>
                        </a:lnTo>
                        <a:lnTo>
                          <a:pt x="84" y="19"/>
                        </a:lnTo>
                        <a:lnTo>
                          <a:pt x="81" y="17"/>
                        </a:lnTo>
                        <a:lnTo>
                          <a:pt x="79" y="17"/>
                        </a:lnTo>
                        <a:lnTo>
                          <a:pt x="75" y="15"/>
                        </a:lnTo>
                        <a:lnTo>
                          <a:pt x="72" y="17"/>
                        </a:lnTo>
                        <a:lnTo>
                          <a:pt x="72" y="19"/>
                        </a:lnTo>
                        <a:lnTo>
                          <a:pt x="69" y="19"/>
                        </a:lnTo>
                        <a:lnTo>
                          <a:pt x="67" y="17"/>
                        </a:lnTo>
                        <a:lnTo>
                          <a:pt x="64" y="20"/>
                        </a:lnTo>
                        <a:lnTo>
                          <a:pt x="59" y="20"/>
                        </a:lnTo>
                        <a:lnTo>
                          <a:pt x="54" y="24"/>
                        </a:lnTo>
                        <a:lnTo>
                          <a:pt x="57" y="25"/>
                        </a:lnTo>
                        <a:lnTo>
                          <a:pt x="59" y="25"/>
                        </a:lnTo>
                        <a:lnTo>
                          <a:pt x="60" y="27"/>
                        </a:lnTo>
                        <a:lnTo>
                          <a:pt x="62" y="29"/>
                        </a:lnTo>
                        <a:lnTo>
                          <a:pt x="64" y="29"/>
                        </a:lnTo>
                        <a:lnTo>
                          <a:pt x="64" y="31"/>
                        </a:lnTo>
                        <a:lnTo>
                          <a:pt x="62" y="29"/>
                        </a:lnTo>
                        <a:lnTo>
                          <a:pt x="59" y="27"/>
                        </a:lnTo>
                        <a:lnTo>
                          <a:pt x="57" y="27"/>
                        </a:lnTo>
                        <a:lnTo>
                          <a:pt x="55" y="31"/>
                        </a:lnTo>
                        <a:lnTo>
                          <a:pt x="59" y="32"/>
                        </a:lnTo>
                        <a:lnTo>
                          <a:pt x="59" y="36"/>
                        </a:lnTo>
                        <a:lnTo>
                          <a:pt x="57" y="32"/>
                        </a:lnTo>
                        <a:lnTo>
                          <a:pt x="55" y="31"/>
                        </a:lnTo>
                        <a:lnTo>
                          <a:pt x="52" y="29"/>
                        </a:lnTo>
                        <a:lnTo>
                          <a:pt x="52" y="31"/>
                        </a:lnTo>
                        <a:lnTo>
                          <a:pt x="52" y="32"/>
                        </a:lnTo>
                        <a:lnTo>
                          <a:pt x="54" y="34"/>
                        </a:lnTo>
                        <a:lnTo>
                          <a:pt x="54" y="36"/>
                        </a:lnTo>
                        <a:lnTo>
                          <a:pt x="50" y="32"/>
                        </a:lnTo>
                        <a:lnTo>
                          <a:pt x="48" y="31"/>
                        </a:lnTo>
                        <a:lnTo>
                          <a:pt x="45" y="27"/>
                        </a:lnTo>
                        <a:lnTo>
                          <a:pt x="42" y="25"/>
                        </a:lnTo>
                        <a:lnTo>
                          <a:pt x="42" y="24"/>
                        </a:lnTo>
                        <a:lnTo>
                          <a:pt x="38" y="24"/>
                        </a:lnTo>
                        <a:lnTo>
                          <a:pt x="38" y="29"/>
                        </a:lnTo>
                        <a:lnTo>
                          <a:pt x="38" y="32"/>
                        </a:lnTo>
                        <a:lnTo>
                          <a:pt x="38" y="36"/>
                        </a:lnTo>
                        <a:lnTo>
                          <a:pt x="40" y="37"/>
                        </a:lnTo>
                        <a:lnTo>
                          <a:pt x="42" y="41"/>
                        </a:lnTo>
                        <a:lnTo>
                          <a:pt x="45" y="42"/>
                        </a:lnTo>
                        <a:lnTo>
                          <a:pt x="47" y="46"/>
                        </a:lnTo>
                        <a:lnTo>
                          <a:pt x="48" y="47"/>
                        </a:lnTo>
                        <a:lnTo>
                          <a:pt x="48" y="49"/>
                        </a:lnTo>
                        <a:lnTo>
                          <a:pt x="47" y="51"/>
                        </a:lnTo>
                        <a:lnTo>
                          <a:pt x="45" y="51"/>
                        </a:lnTo>
                        <a:lnTo>
                          <a:pt x="47" y="49"/>
                        </a:lnTo>
                        <a:lnTo>
                          <a:pt x="45" y="47"/>
                        </a:lnTo>
                        <a:lnTo>
                          <a:pt x="43" y="47"/>
                        </a:lnTo>
                        <a:lnTo>
                          <a:pt x="42" y="49"/>
                        </a:lnTo>
                        <a:lnTo>
                          <a:pt x="43" y="52"/>
                        </a:lnTo>
                        <a:lnTo>
                          <a:pt x="43" y="54"/>
                        </a:lnTo>
                        <a:lnTo>
                          <a:pt x="42" y="54"/>
                        </a:lnTo>
                        <a:lnTo>
                          <a:pt x="40" y="54"/>
                        </a:lnTo>
                        <a:lnTo>
                          <a:pt x="37" y="54"/>
                        </a:lnTo>
                        <a:lnTo>
                          <a:pt x="38" y="56"/>
                        </a:lnTo>
                        <a:lnTo>
                          <a:pt x="42" y="57"/>
                        </a:lnTo>
                        <a:lnTo>
                          <a:pt x="43" y="57"/>
                        </a:lnTo>
                        <a:lnTo>
                          <a:pt x="45" y="59"/>
                        </a:lnTo>
                        <a:lnTo>
                          <a:pt x="48" y="59"/>
                        </a:lnTo>
                        <a:lnTo>
                          <a:pt x="50" y="63"/>
                        </a:lnTo>
                        <a:lnTo>
                          <a:pt x="52" y="63"/>
                        </a:lnTo>
                        <a:lnTo>
                          <a:pt x="54" y="64"/>
                        </a:lnTo>
                        <a:lnTo>
                          <a:pt x="55" y="66"/>
                        </a:lnTo>
                        <a:lnTo>
                          <a:pt x="57" y="66"/>
                        </a:lnTo>
                        <a:lnTo>
                          <a:pt x="60" y="68"/>
                        </a:lnTo>
                        <a:lnTo>
                          <a:pt x="60" y="69"/>
                        </a:lnTo>
                        <a:lnTo>
                          <a:pt x="60" y="73"/>
                        </a:lnTo>
                        <a:lnTo>
                          <a:pt x="60" y="74"/>
                        </a:lnTo>
                        <a:lnTo>
                          <a:pt x="60" y="76"/>
                        </a:lnTo>
                        <a:lnTo>
                          <a:pt x="57" y="74"/>
                        </a:lnTo>
                        <a:lnTo>
                          <a:pt x="54" y="71"/>
                        </a:lnTo>
                        <a:lnTo>
                          <a:pt x="50" y="73"/>
                        </a:lnTo>
                        <a:lnTo>
                          <a:pt x="45" y="73"/>
                        </a:lnTo>
                        <a:lnTo>
                          <a:pt x="43" y="71"/>
                        </a:lnTo>
                        <a:lnTo>
                          <a:pt x="45" y="69"/>
                        </a:lnTo>
                        <a:lnTo>
                          <a:pt x="47" y="68"/>
                        </a:lnTo>
                        <a:lnTo>
                          <a:pt x="43" y="68"/>
                        </a:lnTo>
                        <a:lnTo>
                          <a:pt x="40" y="66"/>
                        </a:lnTo>
                        <a:lnTo>
                          <a:pt x="38" y="64"/>
                        </a:lnTo>
                        <a:lnTo>
                          <a:pt x="37" y="66"/>
                        </a:lnTo>
                        <a:lnTo>
                          <a:pt x="35" y="64"/>
                        </a:lnTo>
                        <a:lnTo>
                          <a:pt x="32" y="64"/>
                        </a:lnTo>
                        <a:lnTo>
                          <a:pt x="28" y="64"/>
                        </a:lnTo>
                        <a:lnTo>
                          <a:pt x="23" y="64"/>
                        </a:lnTo>
                        <a:lnTo>
                          <a:pt x="18" y="63"/>
                        </a:lnTo>
                        <a:lnTo>
                          <a:pt x="16" y="64"/>
                        </a:lnTo>
                        <a:lnTo>
                          <a:pt x="15" y="64"/>
                        </a:lnTo>
                        <a:lnTo>
                          <a:pt x="15" y="63"/>
                        </a:lnTo>
                        <a:lnTo>
                          <a:pt x="13" y="59"/>
                        </a:lnTo>
                        <a:lnTo>
                          <a:pt x="11" y="57"/>
                        </a:lnTo>
                        <a:lnTo>
                          <a:pt x="10" y="54"/>
                        </a:lnTo>
                        <a:lnTo>
                          <a:pt x="11" y="56"/>
                        </a:lnTo>
                        <a:lnTo>
                          <a:pt x="15" y="54"/>
                        </a:lnTo>
                        <a:lnTo>
                          <a:pt x="13" y="52"/>
                        </a:lnTo>
                        <a:lnTo>
                          <a:pt x="10" y="51"/>
                        </a:lnTo>
                        <a:lnTo>
                          <a:pt x="8" y="54"/>
                        </a:lnTo>
                        <a:lnTo>
                          <a:pt x="6" y="51"/>
                        </a:lnTo>
                        <a:lnTo>
                          <a:pt x="5" y="47"/>
                        </a:lnTo>
                        <a:lnTo>
                          <a:pt x="1" y="46"/>
                        </a:lnTo>
                        <a:lnTo>
                          <a:pt x="1" y="42"/>
                        </a:lnTo>
                        <a:lnTo>
                          <a:pt x="1" y="41"/>
                        </a:lnTo>
                        <a:lnTo>
                          <a:pt x="0" y="4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98" name="Group 1897">
                  <a:extLst>
                    <a:ext uri="{FF2B5EF4-FFF2-40B4-BE49-F238E27FC236}">
                      <a16:creationId xmlns:a16="http://schemas.microsoft.com/office/drawing/2014/main" id="{044DB5DF-2BC6-4840-B6E6-403230E866D3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43" y="682"/>
                  <a:ext cx="5" cy="4"/>
                  <a:chOff x="543" y="682"/>
                  <a:chExt cx="5" cy="4"/>
                </a:xfrm>
              </p:grpSpPr>
              <p:sp>
                <p:nvSpPr>
                  <p:cNvPr id="1932" name="Freeform 306">
                    <a:extLst>
                      <a:ext uri="{FF2B5EF4-FFF2-40B4-BE49-F238E27FC236}">
                        <a16:creationId xmlns:a16="http://schemas.microsoft.com/office/drawing/2014/main" id="{6A1EBF49-F7ED-1249-BD01-FDF0E5D0F76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3" y="682"/>
                    <a:ext cx="5" cy="4"/>
                  </a:xfrm>
                  <a:custGeom>
                    <a:avLst/>
                    <a:gdLst>
                      <a:gd name="T0" fmla="*/ 2 w 5"/>
                      <a:gd name="T1" fmla="*/ 4 h 4"/>
                      <a:gd name="T2" fmla="*/ 0 w 5"/>
                      <a:gd name="T3" fmla="*/ 2 h 4"/>
                      <a:gd name="T4" fmla="*/ 3 w 5"/>
                      <a:gd name="T5" fmla="*/ 0 h 4"/>
                      <a:gd name="T6" fmla="*/ 5 w 5"/>
                      <a:gd name="T7" fmla="*/ 0 h 4"/>
                      <a:gd name="T8" fmla="*/ 5 w 5"/>
                      <a:gd name="T9" fmla="*/ 2 h 4"/>
                      <a:gd name="T10" fmla="*/ 3 w 5"/>
                      <a:gd name="T11" fmla="*/ 4 h 4"/>
                      <a:gd name="T12" fmla="*/ 2 w 5"/>
                      <a:gd name="T13" fmla="*/ 4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" h="4">
                        <a:moveTo>
                          <a:pt x="2" y="4"/>
                        </a:moveTo>
                        <a:lnTo>
                          <a:pt x="0" y="2"/>
                        </a:lnTo>
                        <a:lnTo>
                          <a:pt x="3" y="0"/>
                        </a:lnTo>
                        <a:lnTo>
                          <a:pt x="5" y="0"/>
                        </a:lnTo>
                        <a:lnTo>
                          <a:pt x="5" y="2"/>
                        </a:lnTo>
                        <a:lnTo>
                          <a:pt x="3" y="4"/>
                        </a:lnTo>
                        <a:lnTo>
                          <a:pt x="2" y="4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33" name="Freeform 307">
                    <a:extLst>
                      <a:ext uri="{FF2B5EF4-FFF2-40B4-BE49-F238E27FC236}">
                        <a16:creationId xmlns:a16="http://schemas.microsoft.com/office/drawing/2014/main" id="{FCA32924-090A-7744-965C-B5410FAAE53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3" y="682"/>
                    <a:ext cx="5" cy="4"/>
                  </a:xfrm>
                  <a:custGeom>
                    <a:avLst/>
                    <a:gdLst>
                      <a:gd name="T0" fmla="*/ 2 w 5"/>
                      <a:gd name="T1" fmla="*/ 4 h 4"/>
                      <a:gd name="T2" fmla="*/ 0 w 5"/>
                      <a:gd name="T3" fmla="*/ 2 h 4"/>
                      <a:gd name="T4" fmla="*/ 3 w 5"/>
                      <a:gd name="T5" fmla="*/ 0 h 4"/>
                      <a:gd name="T6" fmla="*/ 5 w 5"/>
                      <a:gd name="T7" fmla="*/ 0 h 4"/>
                      <a:gd name="T8" fmla="*/ 5 w 5"/>
                      <a:gd name="T9" fmla="*/ 2 h 4"/>
                      <a:gd name="T10" fmla="*/ 3 w 5"/>
                      <a:gd name="T11" fmla="*/ 4 h 4"/>
                      <a:gd name="T12" fmla="*/ 2 w 5"/>
                      <a:gd name="T13" fmla="*/ 4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" h="4">
                        <a:moveTo>
                          <a:pt x="2" y="4"/>
                        </a:moveTo>
                        <a:lnTo>
                          <a:pt x="0" y="2"/>
                        </a:lnTo>
                        <a:lnTo>
                          <a:pt x="3" y="0"/>
                        </a:lnTo>
                        <a:lnTo>
                          <a:pt x="5" y="0"/>
                        </a:lnTo>
                        <a:lnTo>
                          <a:pt x="5" y="2"/>
                        </a:lnTo>
                        <a:lnTo>
                          <a:pt x="3" y="4"/>
                        </a:lnTo>
                        <a:lnTo>
                          <a:pt x="2" y="4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99" name="Group 1898">
                  <a:extLst>
                    <a:ext uri="{FF2B5EF4-FFF2-40B4-BE49-F238E27FC236}">
                      <a16:creationId xmlns:a16="http://schemas.microsoft.com/office/drawing/2014/main" id="{80954547-DE44-DD40-93B5-4BF86F2EB3E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51" y="696"/>
                  <a:ext cx="6" cy="5"/>
                  <a:chOff x="551" y="696"/>
                  <a:chExt cx="6" cy="5"/>
                </a:xfrm>
              </p:grpSpPr>
              <p:sp>
                <p:nvSpPr>
                  <p:cNvPr id="1930" name="Freeform 304">
                    <a:extLst>
                      <a:ext uri="{FF2B5EF4-FFF2-40B4-BE49-F238E27FC236}">
                        <a16:creationId xmlns:a16="http://schemas.microsoft.com/office/drawing/2014/main" id="{03F02EB6-C25F-2441-89CF-98EEF79DB10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1" y="696"/>
                    <a:ext cx="6" cy="5"/>
                  </a:xfrm>
                  <a:custGeom>
                    <a:avLst/>
                    <a:gdLst>
                      <a:gd name="T0" fmla="*/ 6 w 6"/>
                      <a:gd name="T1" fmla="*/ 3 h 5"/>
                      <a:gd name="T2" fmla="*/ 4 w 6"/>
                      <a:gd name="T3" fmla="*/ 5 h 5"/>
                      <a:gd name="T4" fmla="*/ 4 w 6"/>
                      <a:gd name="T5" fmla="*/ 3 h 5"/>
                      <a:gd name="T6" fmla="*/ 2 w 6"/>
                      <a:gd name="T7" fmla="*/ 3 h 5"/>
                      <a:gd name="T8" fmla="*/ 2 w 6"/>
                      <a:gd name="T9" fmla="*/ 5 h 5"/>
                      <a:gd name="T10" fmla="*/ 0 w 6"/>
                      <a:gd name="T11" fmla="*/ 3 h 5"/>
                      <a:gd name="T12" fmla="*/ 0 w 6"/>
                      <a:gd name="T13" fmla="*/ 2 h 5"/>
                      <a:gd name="T14" fmla="*/ 4 w 6"/>
                      <a:gd name="T15" fmla="*/ 0 h 5"/>
                      <a:gd name="T16" fmla="*/ 6 w 6"/>
                      <a:gd name="T17" fmla="*/ 2 h 5"/>
                      <a:gd name="T18" fmla="*/ 6 w 6"/>
                      <a:gd name="T19" fmla="*/ 5 h 5"/>
                      <a:gd name="T20" fmla="*/ 6 w 6"/>
                      <a:gd name="T21" fmla="*/ 2 h 5"/>
                      <a:gd name="T22" fmla="*/ 6 w 6"/>
                      <a:gd name="T23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" h="5">
                        <a:moveTo>
                          <a:pt x="6" y="3"/>
                        </a:moveTo>
                        <a:lnTo>
                          <a:pt x="4" y="5"/>
                        </a:lnTo>
                        <a:lnTo>
                          <a:pt x="4" y="3"/>
                        </a:lnTo>
                        <a:lnTo>
                          <a:pt x="2" y="3"/>
                        </a:lnTo>
                        <a:lnTo>
                          <a:pt x="2" y="5"/>
                        </a:lnTo>
                        <a:lnTo>
                          <a:pt x="0" y="3"/>
                        </a:lnTo>
                        <a:lnTo>
                          <a:pt x="0" y="2"/>
                        </a:lnTo>
                        <a:lnTo>
                          <a:pt x="4" y="0"/>
                        </a:lnTo>
                        <a:lnTo>
                          <a:pt x="6" y="2"/>
                        </a:lnTo>
                        <a:lnTo>
                          <a:pt x="6" y="5"/>
                        </a:lnTo>
                        <a:lnTo>
                          <a:pt x="6" y="2"/>
                        </a:lnTo>
                        <a:lnTo>
                          <a:pt x="6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31" name="Freeform 305">
                    <a:extLst>
                      <a:ext uri="{FF2B5EF4-FFF2-40B4-BE49-F238E27FC236}">
                        <a16:creationId xmlns:a16="http://schemas.microsoft.com/office/drawing/2014/main" id="{4ED500E1-2F51-144D-A5B5-7577C75C631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1" y="696"/>
                    <a:ext cx="6" cy="5"/>
                  </a:xfrm>
                  <a:custGeom>
                    <a:avLst/>
                    <a:gdLst>
                      <a:gd name="T0" fmla="*/ 6 w 6"/>
                      <a:gd name="T1" fmla="*/ 3 h 5"/>
                      <a:gd name="T2" fmla="*/ 4 w 6"/>
                      <a:gd name="T3" fmla="*/ 5 h 5"/>
                      <a:gd name="T4" fmla="*/ 4 w 6"/>
                      <a:gd name="T5" fmla="*/ 3 h 5"/>
                      <a:gd name="T6" fmla="*/ 2 w 6"/>
                      <a:gd name="T7" fmla="*/ 3 h 5"/>
                      <a:gd name="T8" fmla="*/ 2 w 6"/>
                      <a:gd name="T9" fmla="*/ 5 h 5"/>
                      <a:gd name="T10" fmla="*/ 0 w 6"/>
                      <a:gd name="T11" fmla="*/ 3 h 5"/>
                      <a:gd name="T12" fmla="*/ 0 w 6"/>
                      <a:gd name="T13" fmla="*/ 2 h 5"/>
                      <a:gd name="T14" fmla="*/ 4 w 6"/>
                      <a:gd name="T15" fmla="*/ 0 h 5"/>
                      <a:gd name="T16" fmla="*/ 6 w 6"/>
                      <a:gd name="T17" fmla="*/ 2 h 5"/>
                      <a:gd name="T18" fmla="*/ 6 w 6"/>
                      <a:gd name="T19" fmla="*/ 5 h 5"/>
                      <a:gd name="T20" fmla="*/ 6 w 6"/>
                      <a:gd name="T21" fmla="*/ 2 h 5"/>
                      <a:gd name="T22" fmla="*/ 6 w 6"/>
                      <a:gd name="T23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" h="5">
                        <a:moveTo>
                          <a:pt x="6" y="3"/>
                        </a:moveTo>
                        <a:lnTo>
                          <a:pt x="4" y="5"/>
                        </a:lnTo>
                        <a:lnTo>
                          <a:pt x="4" y="3"/>
                        </a:lnTo>
                        <a:lnTo>
                          <a:pt x="2" y="3"/>
                        </a:lnTo>
                        <a:lnTo>
                          <a:pt x="2" y="5"/>
                        </a:lnTo>
                        <a:lnTo>
                          <a:pt x="0" y="3"/>
                        </a:lnTo>
                        <a:lnTo>
                          <a:pt x="0" y="2"/>
                        </a:lnTo>
                        <a:lnTo>
                          <a:pt x="4" y="0"/>
                        </a:lnTo>
                        <a:lnTo>
                          <a:pt x="6" y="2"/>
                        </a:lnTo>
                        <a:lnTo>
                          <a:pt x="6" y="5"/>
                        </a:lnTo>
                        <a:lnTo>
                          <a:pt x="6" y="2"/>
                        </a:lnTo>
                        <a:lnTo>
                          <a:pt x="6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00" name="Group 1899">
                  <a:extLst>
                    <a:ext uri="{FF2B5EF4-FFF2-40B4-BE49-F238E27FC236}">
                      <a16:creationId xmlns:a16="http://schemas.microsoft.com/office/drawing/2014/main" id="{DB4EACA3-9549-A24A-B010-86EF7915EAF6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65" y="706"/>
                  <a:ext cx="12" cy="8"/>
                  <a:chOff x="565" y="706"/>
                  <a:chExt cx="12" cy="8"/>
                </a:xfrm>
              </p:grpSpPr>
              <p:sp>
                <p:nvSpPr>
                  <p:cNvPr id="1928" name="Freeform 302">
                    <a:extLst>
                      <a:ext uri="{FF2B5EF4-FFF2-40B4-BE49-F238E27FC236}">
                        <a16:creationId xmlns:a16="http://schemas.microsoft.com/office/drawing/2014/main" id="{00CBDC97-43C2-4041-9E2B-498CB02E1E1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5" y="706"/>
                    <a:ext cx="12" cy="8"/>
                  </a:xfrm>
                  <a:custGeom>
                    <a:avLst/>
                    <a:gdLst>
                      <a:gd name="T0" fmla="*/ 8 w 12"/>
                      <a:gd name="T1" fmla="*/ 7 h 8"/>
                      <a:gd name="T2" fmla="*/ 7 w 12"/>
                      <a:gd name="T3" fmla="*/ 8 h 8"/>
                      <a:gd name="T4" fmla="*/ 5 w 12"/>
                      <a:gd name="T5" fmla="*/ 8 h 8"/>
                      <a:gd name="T6" fmla="*/ 5 w 12"/>
                      <a:gd name="T7" fmla="*/ 5 h 8"/>
                      <a:gd name="T8" fmla="*/ 3 w 12"/>
                      <a:gd name="T9" fmla="*/ 5 h 8"/>
                      <a:gd name="T10" fmla="*/ 2 w 12"/>
                      <a:gd name="T11" fmla="*/ 7 h 8"/>
                      <a:gd name="T12" fmla="*/ 0 w 12"/>
                      <a:gd name="T13" fmla="*/ 5 h 8"/>
                      <a:gd name="T14" fmla="*/ 0 w 12"/>
                      <a:gd name="T15" fmla="*/ 3 h 8"/>
                      <a:gd name="T16" fmla="*/ 3 w 12"/>
                      <a:gd name="T17" fmla="*/ 2 h 8"/>
                      <a:gd name="T18" fmla="*/ 5 w 12"/>
                      <a:gd name="T19" fmla="*/ 2 h 8"/>
                      <a:gd name="T20" fmla="*/ 7 w 12"/>
                      <a:gd name="T21" fmla="*/ 0 h 8"/>
                      <a:gd name="T22" fmla="*/ 8 w 12"/>
                      <a:gd name="T23" fmla="*/ 2 h 8"/>
                      <a:gd name="T24" fmla="*/ 10 w 12"/>
                      <a:gd name="T25" fmla="*/ 5 h 8"/>
                      <a:gd name="T26" fmla="*/ 12 w 12"/>
                      <a:gd name="T27" fmla="*/ 8 h 8"/>
                      <a:gd name="T28" fmla="*/ 10 w 12"/>
                      <a:gd name="T29" fmla="*/ 7 h 8"/>
                      <a:gd name="T30" fmla="*/ 8 w 12"/>
                      <a:gd name="T31" fmla="*/ 7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12" h="8">
                        <a:moveTo>
                          <a:pt x="8" y="7"/>
                        </a:moveTo>
                        <a:lnTo>
                          <a:pt x="7" y="8"/>
                        </a:lnTo>
                        <a:lnTo>
                          <a:pt x="5" y="8"/>
                        </a:lnTo>
                        <a:lnTo>
                          <a:pt x="5" y="5"/>
                        </a:lnTo>
                        <a:lnTo>
                          <a:pt x="3" y="5"/>
                        </a:lnTo>
                        <a:lnTo>
                          <a:pt x="2" y="7"/>
                        </a:ln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3" y="2"/>
                        </a:lnTo>
                        <a:lnTo>
                          <a:pt x="5" y="2"/>
                        </a:lnTo>
                        <a:lnTo>
                          <a:pt x="7" y="0"/>
                        </a:lnTo>
                        <a:lnTo>
                          <a:pt x="8" y="2"/>
                        </a:lnTo>
                        <a:lnTo>
                          <a:pt x="10" y="5"/>
                        </a:lnTo>
                        <a:lnTo>
                          <a:pt x="12" y="8"/>
                        </a:lnTo>
                        <a:lnTo>
                          <a:pt x="10" y="7"/>
                        </a:lnTo>
                        <a:lnTo>
                          <a:pt x="8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29" name="Freeform 303">
                    <a:extLst>
                      <a:ext uri="{FF2B5EF4-FFF2-40B4-BE49-F238E27FC236}">
                        <a16:creationId xmlns:a16="http://schemas.microsoft.com/office/drawing/2014/main" id="{AF0C9976-B76F-2340-AF34-1BB8954C6A8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5" y="706"/>
                    <a:ext cx="12" cy="8"/>
                  </a:xfrm>
                  <a:custGeom>
                    <a:avLst/>
                    <a:gdLst>
                      <a:gd name="T0" fmla="*/ 8 w 12"/>
                      <a:gd name="T1" fmla="*/ 7 h 8"/>
                      <a:gd name="T2" fmla="*/ 7 w 12"/>
                      <a:gd name="T3" fmla="*/ 8 h 8"/>
                      <a:gd name="T4" fmla="*/ 5 w 12"/>
                      <a:gd name="T5" fmla="*/ 8 h 8"/>
                      <a:gd name="T6" fmla="*/ 5 w 12"/>
                      <a:gd name="T7" fmla="*/ 5 h 8"/>
                      <a:gd name="T8" fmla="*/ 3 w 12"/>
                      <a:gd name="T9" fmla="*/ 5 h 8"/>
                      <a:gd name="T10" fmla="*/ 2 w 12"/>
                      <a:gd name="T11" fmla="*/ 7 h 8"/>
                      <a:gd name="T12" fmla="*/ 0 w 12"/>
                      <a:gd name="T13" fmla="*/ 5 h 8"/>
                      <a:gd name="T14" fmla="*/ 0 w 12"/>
                      <a:gd name="T15" fmla="*/ 3 h 8"/>
                      <a:gd name="T16" fmla="*/ 3 w 12"/>
                      <a:gd name="T17" fmla="*/ 2 h 8"/>
                      <a:gd name="T18" fmla="*/ 5 w 12"/>
                      <a:gd name="T19" fmla="*/ 2 h 8"/>
                      <a:gd name="T20" fmla="*/ 7 w 12"/>
                      <a:gd name="T21" fmla="*/ 0 h 8"/>
                      <a:gd name="T22" fmla="*/ 8 w 12"/>
                      <a:gd name="T23" fmla="*/ 2 h 8"/>
                      <a:gd name="T24" fmla="*/ 10 w 12"/>
                      <a:gd name="T25" fmla="*/ 5 h 8"/>
                      <a:gd name="T26" fmla="*/ 12 w 12"/>
                      <a:gd name="T27" fmla="*/ 8 h 8"/>
                      <a:gd name="T28" fmla="*/ 10 w 12"/>
                      <a:gd name="T29" fmla="*/ 7 h 8"/>
                      <a:gd name="T30" fmla="*/ 8 w 12"/>
                      <a:gd name="T31" fmla="*/ 7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12" h="8">
                        <a:moveTo>
                          <a:pt x="8" y="7"/>
                        </a:moveTo>
                        <a:lnTo>
                          <a:pt x="7" y="8"/>
                        </a:lnTo>
                        <a:lnTo>
                          <a:pt x="5" y="8"/>
                        </a:lnTo>
                        <a:lnTo>
                          <a:pt x="5" y="5"/>
                        </a:lnTo>
                        <a:lnTo>
                          <a:pt x="3" y="5"/>
                        </a:lnTo>
                        <a:lnTo>
                          <a:pt x="2" y="7"/>
                        </a:ln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3" y="2"/>
                        </a:lnTo>
                        <a:lnTo>
                          <a:pt x="5" y="2"/>
                        </a:lnTo>
                        <a:lnTo>
                          <a:pt x="7" y="0"/>
                        </a:lnTo>
                        <a:lnTo>
                          <a:pt x="8" y="2"/>
                        </a:lnTo>
                        <a:lnTo>
                          <a:pt x="10" y="5"/>
                        </a:lnTo>
                        <a:lnTo>
                          <a:pt x="12" y="8"/>
                        </a:lnTo>
                        <a:lnTo>
                          <a:pt x="10" y="7"/>
                        </a:lnTo>
                        <a:lnTo>
                          <a:pt x="8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01" name="Group 1900">
                  <a:extLst>
                    <a:ext uri="{FF2B5EF4-FFF2-40B4-BE49-F238E27FC236}">
                      <a16:creationId xmlns:a16="http://schemas.microsoft.com/office/drawing/2014/main" id="{611B7238-0729-4C49-97DB-FC623541FA6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65" y="721"/>
                  <a:ext cx="3" cy="7"/>
                  <a:chOff x="565" y="721"/>
                  <a:chExt cx="3" cy="7"/>
                </a:xfrm>
              </p:grpSpPr>
              <p:sp>
                <p:nvSpPr>
                  <p:cNvPr id="1926" name="Freeform 300">
                    <a:extLst>
                      <a:ext uri="{FF2B5EF4-FFF2-40B4-BE49-F238E27FC236}">
                        <a16:creationId xmlns:a16="http://schemas.microsoft.com/office/drawing/2014/main" id="{C8269E0F-5818-8949-AEE1-9E5EBF0D0FF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5" y="721"/>
                    <a:ext cx="3" cy="7"/>
                  </a:xfrm>
                  <a:custGeom>
                    <a:avLst/>
                    <a:gdLst>
                      <a:gd name="T0" fmla="*/ 0 w 3"/>
                      <a:gd name="T1" fmla="*/ 7 h 7"/>
                      <a:gd name="T2" fmla="*/ 2 w 3"/>
                      <a:gd name="T3" fmla="*/ 5 h 7"/>
                      <a:gd name="T4" fmla="*/ 0 w 3"/>
                      <a:gd name="T5" fmla="*/ 2 h 7"/>
                      <a:gd name="T6" fmla="*/ 0 w 3"/>
                      <a:gd name="T7" fmla="*/ 0 h 7"/>
                      <a:gd name="T8" fmla="*/ 3 w 3"/>
                      <a:gd name="T9" fmla="*/ 0 h 7"/>
                      <a:gd name="T10" fmla="*/ 3 w 3"/>
                      <a:gd name="T11" fmla="*/ 2 h 7"/>
                      <a:gd name="T12" fmla="*/ 3 w 3"/>
                      <a:gd name="T13" fmla="*/ 4 h 7"/>
                      <a:gd name="T14" fmla="*/ 3 w 3"/>
                      <a:gd name="T15" fmla="*/ 7 h 7"/>
                      <a:gd name="T16" fmla="*/ 2 w 3"/>
                      <a:gd name="T17" fmla="*/ 7 h 7"/>
                      <a:gd name="T18" fmla="*/ 0 w 3"/>
                      <a:gd name="T19" fmla="*/ 7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" h="7">
                        <a:moveTo>
                          <a:pt x="0" y="7"/>
                        </a:moveTo>
                        <a:lnTo>
                          <a:pt x="2" y="5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3" y="0"/>
                        </a:lnTo>
                        <a:lnTo>
                          <a:pt x="3" y="2"/>
                        </a:lnTo>
                        <a:lnTo>
                          <a:pt x="3" y="4"/>
                        </a:lnTo>
                        <a:lnTo>
                          <a:pt x="3" y="7"/>
                        </a:lnTo>
                        <a:lnTo>
                          <a:pt x="2" y="7"/>
                        </a:lnTo>
                        <a:lnTo>
                          <a:pt x="0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27" name="Freeform 301">
                    <a:extLst>
                      <a:ext uri="{FF2B5EF4-FFF2-40B4-BE49-F238E27FC236}">
                        <a16:creationId xmlns:a16="http://schemas.microsoft.com/office/drawing/2014/main" id="{403EE189-DE9B-0E48-973B-A78BF4B4789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5" y="721"/>
                    <a:ext cx="3" cy="7"/>
                  </a:xfrm>
                  <a:custGeom>
                    <a:avLst/>
                    <a:gdLst>
                      <a:gd name="T0" fmla="*/ 0 w 3"/>
                      <a:gd name="T1" fmla="*/ 7 h 7"/>
                      <a:gd name="T2" fmla="*/ 2 w 3"/>
                      <a:gd name="T3" fmla="*/ 5 h 7"/>
                      <a:gd name="T4" fmla="*/ 0 w 3"/>
                      <a:gd name="T5" fmla="*/ 2 h 7"/>
                      <a:gd name="T6" fmla="*/ 0 w 3"/>
                      <a:gd name="T7" fmla="*/ 0 h 7"/>
                      <a:gd name="T8" fmla="*/ 3 w 3"/>
                      <a:gd name="T9" fmla="*/ 0 h 7"/>
                      <a:gd name="T10" fmla="*/ 3 w 3"/>
                      <a:gd name="T11" fmla="*/ 2 h 7"/>
                      <a:gd name="T12" fmla="*/ 3 w 3"/>
                      <a:gd name="T13" fmla="*/ 4 h 7"/>
                      <a:gd name="T14" fmla="*/ 3 w 3"/>
                      <a:gd name="T15" fmla="*/ 7 h 7"/>
                      <a:gd name="T16" fmla="*/ 2 w 3"/>
                      <a:gd name="T17" fmla="*/ 7 h 7"/>
                      <a:gd name="T18" fmla="*/ 0 w 3"/>
                      <a:gd name="T19" fmla="*/ 7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" h="7">
                        <a:moveTo>
                          <a:pt x="0" y="7"/>
                        </a:moveTo>
                        <a:lnTo>
                          <a:pt x="2" y="5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3" y="0"/>
                        </a:lnTo>
                        <a:lnTo>
                          <a:pt x="3" y="2"/>
                        </a:lnTo>
                        <a:lnTo>
                          <a:pt x="3" y="4"/>
                        </a:lnTo>
                        <a:lnTo>
                          <a:pt x="3" y="7"/>
                        </a:lnTo>
                        <a:lnTo>
                          <a:pt x="2" y="7"/>
                        </a:lnTo>
                        <a:lnTo>
                          <a:pt x="0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02" name="Group 1901">
                  <a:extLst>
                    <a:ext uri="{FF2B5EF4-FFF2-40B4-BE49-F238E27FC236}">
                      <a16:creationId xmlns:a16="http://schemas.microsoft.com/office/drawing/2014/main" id="{2C322DA8-8C05-F142-A594-778BB04963F0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94" y="762"/>
                  <a:ext cx="10" cy="8"/>
                  <a:chOff x="594" y="762"/>
                  <a:chExt cx="10" cy="8"/>
                </a:xfrm>
              </p:grpSpPr>
              <p:sp>
                <p:nvSpPr>
                  <p:cNvPr id="1924" name="Freeform 298">
                    <a:extLst>
                      <a:ext uri="{FF2B5EF4-FFF2-40B4-BE49-F238E27FC236}">
                        <a16:creationId xmlns:a16="http://schemas.microsoft.com/office/drawing/2014/main" id="{D85A742F-A72C-CD43-9389-3915915DF8F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94" y="762"/>
                    <a:ext cx="10" cy="8"/>
                  </a:xfrm>
                  <a:custGeom>
                    <a:avLst/>
                    <a:gdLst>
                      <a:gd name="T0" fmla="*/ 3 w 10"/>
                      <a:gd name="T1" fmla="*/ 8 h 8"/>
                      <a:gd name="T2" fmla="*/ 1 w 10"/>
                      <a:gd name="T3" fmla="*/ 8 h 8"/>
                      <a:gd name="T4" fmla="*/ 0 w 10"/>
                      <a:gd name="T5" fmla="*/ 5 h 8"/>
                      <a:gd name="T6" fmla="*/ 1 w 10"/>
                      <a:gd name="T7" fmla="*/ 3 h 8"/>
                      <a:gd name="T8" fmla="*/ 5 w 10"/>
                      <a:gd name="T9" fmla="*/ 0 h 8"/>
                      <a:gd name="T10" fmla="*/ 8 w 10"/>
                      <a:gd name="T11" fmla="*/ 0 h 8"/>
                      <a:gd name="T12" fmla="*/ 10 w 10"/>
                      <a:gd name="T13" fmla="*/ 0 h 8"/>
                      <a:gd name="T14" fmla="*/ 8 w 10"/>
                      <a:gd name="T15" fmla="*/ 1 h 8"/>
                      <a:gd name="T16" fmla="*/ 6 w 10"/>
                      <a:gd name="T17" fmla="*/ 3 h 8"/>
                      <a:gd name="T18" fmla="*/ 6 w 10"/>
                      <a:gd name="T19" fmla="*/ 5 h 8"/>
                      <a:gd name="T20" fmla="*/ 6 w 10"/>
                      <a:gd name="T21" fmla="*/ 6 h 8"/>
                      <a:gd name="T22" fmla="*/ 3 w 10"/>
                      <a:gd name="T23" fmla="*/ 8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0" h="8">
                        <a:moveTo>
                          <a:pt x="3" y="8"/>
                        </a:moveTo>
                        <a:lnTo>
                          <a:pt x="1" y="8"/>
                        </a:lnTo>
                        <a:lnTo>
                          <a:pt x="0" y="5"/>
                        </a:lnTo>
                        <a:lnTo>
                          <a:pt x="1" y="3"/>
                        </a:lnTo>
                        <a:lnTo>
                          <a:pt x="5" y="0"/>
                        </a:lnTo>
                        <a:lnTo>
                          <a:pt x="8" y="0"/>
                        </a:lnTo>
                        <a:lnTo>
                          <a:pt x="10" y="0"/>
                        </a:lnTo>
                        <a:lnTo>
                          <a:pt x="8" y="1"/>
                        </a:lnTo>
                        <a:lnTo>
                          <a:pt x="6" y="3"/>
                        </a:lnTo>
                        <a:lnTo>
                          <a:pt x="6" y="5"/>
                        </a:lnTo>
                        <a:lnTo>
                          <a:pt x="6" y="6"/>
                        </a:lnTo>
                        <a:lnTo>
                          <a:pt x="3" y="8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25" name="Freeform 299">
                    <a:extLst>
                      <a:ext uri="{FF2B5EF4-FFF2-40B4-BE49-F238E27FC236}">
                        <a16:creationId xmlns:a16="http://schemas.microsoft.com/office/drawing/2014/main" id="{950C54F1-ED46-814A-B377-617E6553B55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94" y="762"/>
                    <a:ext cx="10" cy="8"/>
                  </a:xfrm>
                  <a:custGeom>
                    <a:avLst/>
                    <a:gdLst>
                      <a:gd name="T0" fmla="*/ 3 w 10"/>
                      <a:gd name="T1" fmla="*/ 8 h 8"/>
                      <a:gd name="T2" fmla="*/ 1 w 10"/>
                      <a:gd name="T3" fmla="*/ 8 h 8"/>
                      <a:gd name="T4" fmla="*/ 0 w 10"/>
                      <a:gd name="T5" fmla="*/ 5 h 8"/>
                      <a:gd name="T6" fmla="*/ 1 w 10"/>
                      <a:gd name="T7" fmla="*/ 3 h 8"/>
                      <a:gd name="T8" fmla="*/ 5 w 10"/>
                      <a:gd name="T9" fmla="*/ 0 h 8"/>
                      <a:gd name="T10" fmla="*/ 8 w 10"/>
                      <a:gd name="T11" fmla="*/ 0 h 8"/>
                      <a:gd name="T12" fmla="*/ 10 w 10"/>
                      <a:gd name="T13" fmla="*/ 0 h 8"/>
                      <a:gd name="T14" fmla="*/ 8 w 10"/>
                      <a:gd name="T15" fmla="*/ 1 h 8"/>
                      <a:gd name="T16" fmla="*/ 6 w 10"/>
                      <a:gd name="T17" fmla="*/ 3 h 8"/>
                      <a:gd name="T18" fmla="*/ 6 w 10"/>
                      <a:gd name="T19" fmla="*/ 5 h 8"/>
                      <a:gd name="T20" fmla="*/ 6 w 10"/>
                      <a:gd name="T21" fmla="*/ 6 h 8"/>
                      <a:gd name="T22" fmla="*/ 3 w 10"/>
                      <a:gd name="T23" fmla="*/ 8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0" h="8">
                        <a:moveTo>
                          <a:pt x="3" y="8"/>
                        </a:moveTo>
                        <a:lnTo>
                          <a:pt x="1" y="8"/>
                        </a:lnTo>
                        <a:lnTo>
                          <a:pt x="0" y="5"/>
                        </a:lnTo>
                        <a:lnTo>
                          <a:pt x="1" y="3"/>
                        </a:lnTo>
                        <a:lnTo>
                          <a:pt x="5" y="0"/>
                        </a:lnTo>
                        <a:lnTo>
                          <a:pt x="8" y="0"/>
                        </a:lnTo>
                        <a:lnTo>
                          <a:pt x="10" y="0"/>
                        </a:lnTo>
                        <a:lnTo>
                          <a:pt x="8" y="1"/>
                        </a:lnTo>
                        <a:lnTo>
                          <a:pt x="6" y="3"/>
                        </a:lnTo>
                        <a:lnTo>
                          <a:pt x="6" y="5"/>
                        </a:lnTo>
                        <a:lnTo>
                          <a:pt x="6" y="6"/>
                        </a:lnTo>
                        <a:lnTo>
                          <a:pt x="3" y="8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03" name="Group 1902">
                  <a:extLst>
                    <a:ext uri="{FF2B5EF4-FFF2-40B4-BE49-F238E27FC236}">
                      <a16:creationId xmlns:a16="http://schemas.microsoft.com/office/drawing/2014/main" id="{4500FDEE-5E37-8B4E-98D6-DFBB3143BB34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28" y="775"/>
                  <a:ext cx="44" cy="14"/>
                  <a:chOff x="528" y="775"/>
                  <a:chExt cx="44" cy="14"/>
                </a:xfrm>
              </p:grpSpPr>
              <p:sp>
                <p:nvSpPr>
                  <p:cNvPr id="1922" name="Freeform 296">
                    <a:extLst>
                      <a:ext uri="{FF2B5EF4-FFF2-40B4-BE49-F238E27FC236}">
                        <a16:creationId xmlns:a16="http://schemas.microsoft.com/office/drawing/2014/main" id="{2E721EAD-8B41-6E4A-B8B2-ADF990247C9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8" y="775"/>
                    <a:ext cx="44" cy="14"/>
                  </a:xfrm>
                  <a:custGeom>
                    <a:avLst/>
                    <a:gdLst>
                      <a:gd name="T0" fmla="*/ 23 w 44"/>
                      <a:gd name="T1" fmla="*/ 5 h 14"/>
                      <a:gd name="T2" fmla="*/ 27 w 44"/>
                      <a:gd name="T3" fmla="*/ 7 h 14"/>
                      <a:gd name="T4" fmla="*/ 29 w 44"/>
                      <a:gd name="T5" fmla="*/ 7 h 14"/>
                      <a:gd name="T6" fmla="*/ 30 w 44"/>
                      <a:gd name="T7" fmla="*/ 7 h 14"/>
                      <a:gd name="T8" fmla="*/ 34 w 44"/>
                      <a:gd name="T9" fmla="*/ 7 h 14"/>
                      <a:gd name="T10" fmla="*/ 35 w 44"/>
                      <a:gd name="T11" fmla="*/ 9 h 14"/>
                      <a:gd name="T12" fmla="*/ 37 w 44"/>
                      <a:gd name="T13" fmla="*/ 9 h 14"/>
                      <a:gd name="T14" fmla="*/ 40 w 44"/>
                      <a:gd name="T15" fmla="*/ 9 h 14"/>
                      <a:gd name="T16" fmla="*/ 42 w 44"/>
                      <a:gd name="T17" fmla="*/ 9 h 14"/>
                      <a:gd name="T18" fmla="*/ 44 w 44"/>
                      <a:gd name="T19" fmla="*/ 7 h 14"/>
                      <a:gd name="T20" fmla="*/ 44 w 44"/>
                      <a:gd name="T21" fmla="*/ 9 h 14"/>
                      <a:gd name="T22" fmla="*/ 42 w 44"/>
                      <a:gd name="T23" fmla="*/ 12 h 14"/>
                      <a:gd name="T24" fmla="*/ 39 w 44"/>
                      <a:gd name="T25" fmla="*/ 12 h 14"/>
                      <a:gd name="T26" fmla="*/ 35 w 44"/>
                      <a:gd name="T27" fmla="*/ 12 h 14"/>
                      <a:gd name="T28" fmla="*/ 32 w 44"/>
                      <a:gd name="T29" fmla="*/ 12 h 14"/>
                      <a:gd name="T30" fmla="*/ 30 w 44"/>
                      <a:gd name="T31" fmla="*/ 12 h 14"/>
                      <a:gd name="T32" fmla="*/ 29 w 44"/>
                      <a:gd name="T33" fmla="*/ 12 h 14"/>
                      <a:gd name="T34" fmla="*/ 25 w 44"/>
                      <a:gd name="T35" fmla="*/ 14 h 14"/>
                      <a:gd name="T36" fmla="*/ 20 w 44"/>
                      <a:gd name="T37" fmla="*/ 14 h 14"/>
                      <a:gd name="T38" fmla="*/ 18 w 44"/>
                      <a:gd name="T39" fmla="*/ 10 h 14"/>
                      <a:gd name="T40" fmla="*/ 17 w 44"/>
                      <a:gd name="T41" fmla="*/ 10 h 14"/>
                      <a:gd name="T42" fmla="*/ 15 w 44"/>
                      <a:gd name="T43" fmla="*/ 9 h 14"/>
                      <a:gd name="T44" fmla="*/ 13 w 44"/>
                      <a:gd name="T45" fmla="*/ 9 h 14"/>
                      <a:gd name="T46" fmla="*/ 10 w 44"/>
                      <a:gd name="T47" fmla="*/ 9 h 14"/>
                      <a:gd name="T48" fmla="*/ 7 w 44"/>
                      <a:gd name="T49" fmla="*/ 9 h 14"/>
                      <a:gd name="T50" fmla="*/ 5 w 44"/>
                      <a:gd name="T51" fmla="*/ 9 h 14"/>
                      <a:gd name="T52" fmla="*/ 2 w 44"/>
                      <a:gd name="T53" fmla="*/ 9 h 14"/>
                      <a:gd name="T54" fmla="*/ 0 w 44"/>
                      <a:gd name="T55" fmla="*/ 9 h 14"/>
                      <a:gd name="T56" fmla="*/ 2 w 44"/>
                      <a:gd name="T57" fmla="*/ 5 h 14"/>
                      <a:gd name="T58" fmla="*/ 2 w 44"/>
                      <a:gd name="T59" fmla="*/ 2 h 14"/>
                      <a:gd name="T60" fmla="*/ 3 w 44"/>
                      <a:gd name="T61" fmla="*/ 3 h 14"/>
                      <a:gd name="T62" fmla="*/ 3 w 44"/>
                      <a:gd name="T63" fmla="*/ 0 h 14"/>
                      <a:gd name="T64" fmla="*/ 5 w 44"/>
                      <a:gd name="T65" fmla="*/ 0 h 14"/>
                      <a:gd name="T66" fmla="*/ 8 w 44"/>
                      <a:gd name="T67" fmla="*/ 2 h 14"/>
                      <a:gd name="T68" fmla="*/ 10 w 44"/>
                      <a:gd name="T69" fmla="*/ 2 h 14"/>
                      <a:gd name="T70" fmla="*/ 10 w 44"/>
                      <a:gd name="T71" fmla="*/ 3 h 14"/>
                      <a:gd name="T72" fmla="*/ 12 w 44"/>
                      <a:gd name="T73" fmla="*/ 3 h 14"/>
                      <a:gd name="T74" fmla="*/ 13 w 44"/>
                      <a:gd name="T75" fmla="*/ 5 h 14"/>
                      <a:gd name="T76" fmla="*/ 17 w 44"/>
                      <a:gd name="T77" fmla="*/ 5 h 14"/>
                      <a:gd name="T78" fmla="*/ 18 w 44"/>
                      <a:gd name="T79" fmla="*/ 5 h 14"/>
                      <a:gd name="T80" fmla="*/ 22 w 44"/>
                      <a:gd name="T81" fmla="*/ 3 h 14"/>
                      <a:gd name="T82" fmla="*/ 23 w 44"/>
                      <a:gd name="T83" fmla="*/ 5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</a:cxnLst>
                    <a:rect l="0" t="0" r="r" b="b"/>
                    <a:pathLst>
                      <a:path w="44" h="14">
                        <a:moveTo>
                          <a:pt x="23" y="5"/>
                        </a:moveTo>
                        <a:lnTo>
                          <a:pt x="27" y="7"/>
                        </a:lnTo>
                        <a:lnTo>
                          <a:pt x="29" y="7"/>
                        </a:lnTo>
                        <a:lnTo>
                          <a:pt x="30" y="7"/>
                        </a:lnTo>
                        <a:lnTo>
                          <a:pt x="34" y="7"/>
                        </a:lnTo>
                        <a:lnTo>
                          <a:pt x="35" y="9"/>
                        </a:lnTo>
                        <a:lnTo>
                          <a:pt x="37" y="9"/>
                        </a:lnTo>
                        <a:lnTo>
                          <a:pt x="40" y="9"/>
                        </a:lnTo>
                        <a:lnTo>
                          <a:pt x="42" y="9"/>
                        </a:lnTo>
                        <a:lnTo>
                          <a:pt x="44" y="7"/>
                        </a:lnTo>
                        <a:lnTo>
                          <a:pt x="44" y="9"/>
                        </a:lnTo>
                        <a:lnTo>
                          <a:pt x="42" y="12"/>
                        </a:lnTo>
                        <a:lnTo>
                          <a:pt x="39" y="12"/>
                        </a:lnTo>
                        <a:lnTo>
                          <a:pt x="35" y="12"/>
                        </a:lnTo>
                        <a:lnTo>
                          <a:pt x="32" y="12"/>
                        </a:lnTo>
                        <a:lnTo>
                          <a:pt x="30" y="12"/>
                        </a:lnTo>
                        <a:lnTo>
                          <a:pt x="29" y="12"/>
                        </a:lnTo>
                        <a:lnTo>
                          <a:pt x="25" y="14"/>
                        </a:lnTo>
                        <a:lnTo>
                          <a:pt x="20" y="14"/>
                        </a:lnTo>
                        <a:lnTo>
                          <a:pt x="18" y="10"/>
                        </a:lnTo>
                        <a:lnTo>
                          <a:pt x="17" y="10"/>
                        </a:lnTo>
                        <a:lnTo>
                          <a:pt x="15" y="9"/>
                        </a:lnTo>
                        <a:lnTo>
                          <a:pt x="13" y="9"/>
                        </a:lnTo>
                        <a:lnTo>
                          <a:pt x="10" y="9"/>
                        </a:lnTo>
                        <a:lnTo>
                          <a:pt x="7" y="9"/>
                        </a:lnTo>
                        <a:lnTo>
                          <a:pt x="5" y="9"/>
                        </a:lnTo>
                        <a:lnTo>
                          <a:pt x="2" y="9"/>
                        </a:lnTo>
                        <a:lnTo>
                          <a:pt x="0" y="9"/>
                        </a:lnTo>
                        <a:lnTo>
                          <a:pt x="2" y="5"/>
                        </a:lnTo>
                        <a:lnTo>
                          <a:pt x="2" y="2"/>
                        </a:lnTo>
                        <a:lnTo>
                          <a:pt x="3" y="3"/>
                        </a:lnTo>
                        <a:lnTo>
                          <a:pt x="3" y="0"/>
                        </a:lnTo>
                        <a:lnTo>
                          <a:pt x="5" y="0"/>
                        </a:lnTo>
                        <a:lnTo>
                          <a:pt x="8" y="2"/>
                        </a:lnTo>
                        <a:lnTo>
                          <a:pt x="10" y="2"/>
                        </a:lnTo>
                        <a:lnTo>
                          <a:pt x="10" y="3"/>
                        </a:lnTo>
                        <a:lnTo>
                          <a:pt x="12" y="3"/>
                        </a:lnTo>
                        <a:lnTo>
                          <a:pt x="13" y="5"/>
                        </a:lnTo>
                        <a:lnTo>
                          <a:pt x="17" y="5"/>
                        </a:lnTo>
                        <a:lnTo>
                          <a:pt x="18" y="5"/>
                        </a:lnTo>
                        <a:lnTo>
                          <a:pt x="22" y="3"/>
                        </a:lnTo>
                        <a:lnTo>
                          <a:pt x="23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23" name="Freeform 297">
                    <a:extLst>
                      <a:ext uri="{FF2B5EF4-FFF2-40B4-BE49-F238E27FC236}">
                        <a16:creationId xmlns:a16="http://schemas.microsoft.com/office/drawing/2014/main" id="{8CB41CCE-A6CA-C445-899A-A69CD7D59A3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8" y="775"/>
                    <a:ext cx="44" cy="14"/>
                  </a:xfrm>
                  <a:custGeom>
                    <a:avLst/>
                    <a:gdLst>
                      <a:gd name="T0" fmla="*/ 23 w 44"/>
                      <a:gd name="T1" fmla="*/ 5 h 14"/>
                      <a:gd name="T2" fmla="*/ 27 w 44"/>
                      <a:gd name="T3" fmla="*/ 7 h 14"/>
                      <a:gd name="T4" fmla="*/ 29 w 44"/>
                      <a:gd name="T5" fmla="*/ 7 h 14"/>
                      <a:gd name="T6" fmla="*/ 30 w 44"/>
                      <a:gd name="T7" fmla="*/ 7 h 14"/>
                      <a:gd name="T8" fmla="*/ 34 w 44"/>
                      <a:gd name="T9" fmla="*/ 7 h 14"/>
                      <a:gd name="T10" fmla="*/ 35 w 44"/>
                      <a:gd name="T11" fmla="*/ 9 h 14"/>
                      <a:gd name="T12" fmla="*/ 37 w 44"/>
                      <a:gd name="T13" fmla="*/ 9 h 14"/>
                      <a:gd name="T14" fmla="*/ 40 w 44"/>
                      <a:gd name="T15" fmla="*/ 9 h 14"/>
                      <a:gd name="T16" fmla="*/ 42 w 44"/>
                      <a:gd name="T17" fmla="*/ 9 h 14"/>
                      <a:gd name="T18" fmla="*/ 44 w 44"/>
                      <a:gd name="T19" fmla="*/ 7 h 14"/>
                      <a:gd name="T20" fmla="*/ 44 w 44"/>
                      <a:gd name="T21" fmla="*/ 9 h 14"/>
                      <a:gd name="T22" fmla="*/ 42 w 44"/>
                      <a:gd name="T23" fmla="*/ 12 h 14"/>
                      <a:gd name="T24" fmla="*/ 39 w 44"/>
                      <a:gd name="T25" fmla="*/ 12 h 14"/>
                      <a:gd name="T26" fmla="*/ 35 w 44"/>
                      <a:gd name="T27" fmla="*/ 12 h 14"/>
                      <a:gd name="T28" fmla="*/ 32 w 44"/>
                      <a:gd name="T29" fmla="*/ 12 h 14"/>
                      <a:gd name="T30" fmla="*/ 30 w 44"/>
                      <a:gd name="T31" fmla="*/ 12 h 14"/>
                      <a:gd name="T32" fmla="*/ 29 w 44"/>
                      <a:gd name="T33" fmla="*/ 12 h 14"/>
                      <a:gd name="T34" fmla="*/ 25 w 44"/>
                      <a:gd name="T35" fmla="*/ 14 h 14"/>
                      <a:gd name="T36" fmla="*/ 20 w 44"/>
                      <a:gd name="T37" fmla="*/ 14 h 14"/>
                      <a:gd name="T38" fmla="*/ 18 w 44"/>
                      <a:gd name="T39" fmla="*/ 10 h 14"/>
                      <a:gd name="T40" fmla="*/ 17 w 44"/>
                      <a:gd name="T41" fmla="*/ 10 h 14"/>
                      <a:gd name="T42" fmla="*/ 15 w 44"/>
                      <a:gd name="T43" fmla="*/ 9 h 14"/>
                      <a:gd name="T44" fmla="*/ 13 w 44"/>
                      <a:gd name="T45" fmla="*/ 9 h 14"/>
                      <a:gd name="T46" fmla="*/ 10 w 44"/>
                      <a:gd name="T47" fmla="*/ 9 h 14"/>
                      <a:gd name="T48" fmla="*/ 7 w 44"/>
                      <a:gd name="T49" fmla="*/ 9 h 14"/>
                      <a:gd name="T50" fmla="*/ 5 w 44"/>
                      <a:gd name="T51" fmla="*/ 9 h 14"/>
                      <a:gd name="T52" fmla="*/ 2 w 44"/>
                      <a:gd name="T53" fmla="*/ 9 h 14"/>
                      <a:gd name="T54" fmla="*/ 0 w 44"/>
                      <a:gd name="T55" fmla="*/ 9 h 14"/>
                      <a:gd name="T56" fmla="*/ 2 w 44"/>
                      <a:gd name="T57" fmla="*/ 5 h 14"/>
                      <a:gd name="T58" fmla="*/ 2 w 44"/>
                      <a:gd name="T59" fmla="*/ 2 h 14"/>
                      <a:gd name="T60" fmla="*/ 3 w 44"/>
                      <a:gd name="T61" fmla="*/ 3 h 14"/>
                      <a:gd name="T62" fmla="*/ 3 w 44"/>
                      <a:gd name="T63" fmla="*/ 0 h 14"/>
                      <a:gd name="T64" fmla="*/ 5 w 44"/>
                      <a:gd name="T65" fmla="*/ 0 h 14"/>
                      <a:gd name="T66" fmla="*/ 8 w 44"/>
                      <a:gd name="T67" fmla="*/ 2 h 14"/>
                      <a:gd name="T68" fmla="*/ 10 w 44"/>
                      <a:gd name="T69" fmla="*/ 2 h 14"/>
                      <a:gd name="T70" fmla="*/ 10 w 44"/>
                      <a:gd name="T71" fmla="*/ 3 h 14"/>
                      <a:gd name="T72" fmla="*/ 12 w 44"/>
                      <a:gd name="T73" fmla="*/ 3 h 14"/>
                      <a:gd name="T74" fmla="*/ 13 w 44"/>
                      <a:gd name="T75" fmla="*/ 5 h 14"/>
                      <a:gd name="T76" fmla="*/ 17 w 44"/>
                      <a:gd name="T77" fmla="*/ 5 h 14"/>
                      <a:gd name="T78" fmla="*/ 18 w 44"/>
                      <a:gd name="T79" fmla="*/ 5 h 14"/>
                      <a:gd name="T80" fmla="*/ 22 w 44"/>
                      <a:gd name="T81" fmla="*/ 3 h 14"/>
                      <a:gd name="T82" fmla="*/ 23 w 44"/>
                      <a:gd name="T83" fmla="*/ 5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</a:cxnLst>
                    <a:rect l="0" t="0" r="r" b="b"/>
                    <a:pathLst>
                      <a:path w="44" h="14">
                        <a:moveTo>
                          <a:pt x="23" y="5"/>
                        </a:moveTo>
                        <a:lnTo>
                          <a:pt x="27" y="7"/>
                        </a:lnTo>
                        <a:lnTo>
                          <a:pt x="29" y="7"/>
                        </a:lnTo>
                        <a:lnTo>
                          <a:pt x="30" y="7"/>
                        </a:lnTo>
                        <a:lnTo>
                          <a:pt x="34" y="7"/>
                        </a:lnTo>
                        <a:lnTo>
                          <a:pt x="35" y="9"/>
                        </a:lnTo>
                        <a:lnTo>
                          <a:pt x="37" y="9"/>
                        </a:lnTo>
                        <a:lnTo>
                          <a:pt x="40" y="9"/>
                        </a:lnTo>
                        <a:lnTo>
                          <a:pt x="42" y="9"/>
                        </a:lnTo>
                        <a:lnTo>
                          <a:pt x="44" y="7"/>
                        </a:lnTo>
                        <a:lnTo>
                          <a:pt x="44" y="9"/>
                        </a:lnTo>
                        <a:lnTo>
                          <a:pt x="42" y="12"/>
                        </a:lnTo>
                        <a:lnTo>
                          <a:pt x="39" y="12"/>
                        </a:lnTo>
                        <a:lnTo>
                          <a:pt x="35" y="12"/>
                        </a:lnTo>
                        <a:lnTo>
                          <a:pt x="32" y="12"/>
                        </a:lnTo>
                        <a:lnTo>
                          <a:pt x="30" y="12"/>
                        </a:lnTo>
                        <a:lnTo>
                          <a:pt x="29" y="12"/>
                        </a:lnTo>
                        <a:lnTo>
                          <a:pt x="25" y="14"/>
                        </a:lnTo>
                        <a:lnTo>
                          <a:pt x="20" y="14"/>
                        </a:lnTo>
                        <a:lnTo>
                          <a:pt x="18" y="10"/>
                        </a:lnTo>
                        <a:lnTo>
                          <a:pt x="17" y="10"/>
                        </a:lnTo>
                        <a:lnTo>
                          <a:pt x="15" y="9"/>
                        </a:lnTo>
                        <a:lnTo>
                          <a:pt x="13" y="9"/>
                        </a:lnTo>
                        <a:lnTo>
                          <a:pt x="10" y="9"/>
                        </a:lnTo>
                        <a:lnTo>
                          <a:pt x="7" y="9"/>
                        </a:lnTo>
                        <a:lnTo>
                          <a:pt x="5" y="9"/>
                        </a:lnTo>
                        <a:lnTo>
                          <a:pt x="2" y="9"/>
                        </a:lnTo>
                        <a:lnTo>
                          <a:pt x="0" y="9"/>
                        </a:lnTo>
                        <a:lnTo>
                          <a:pt x="2" y="5"/>
                        </a:lnTo>
                        <a:lnTo>
                          <a:pt x="2" y="2"/>
                        </a:lnTo>
                        <a:lnTo>
                          <a:pt x="3" y="3"/>
                        </a:lnTo>
                        <a:lnTo>
                          <a:pt x="3" y="0"/>
                        </a:lnTo>
                        <a:lnTo>
                          <a:pt x="5" y="0"/>
                        </a:lnTo>
                        <a:lnTo>
                          <a:pt x="8" y="2"/>
                        </a:lnTo>
                        <a:lnTo>
                          <a:pt x="10" y="2"/>
                        </a:lnTo>
                        <a:lnTo>
                          <a:pt x="10" y="3"/>
                        </a:lnTo>
                        <a:lnTo>
                          <a:pt x="12" y="3"/>
                        </a:lnTo>
                        <a:lnTo>
                          <a:pt x="13" y="5"/>
                        </a:lnTo>
                        <a:lnTo>
                          <a:pt x="17" y="5"/>
                        </a:lnTo>
                        <a:lnTo>
                          <a:pt x="18" y="5"/>
                        </a:lnTo>
                        <a:lnTo>
                          <a:pt x="22" y="3"/>
                        </a:lnTo>
                        <a:lnTo>
                          <a:pt x="23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04" name="Group 1903">
                  <a:extLst>
                    <a:ext uri="{FF2B5EF4-FFF2-40B4-BE49-F238E27FC236}">
                      <a16:creationId xmlns:a16="http://schemas.microsoft.com/office/drawing/2014/main" id="{20104C01-2BE5-704B-970F-C584E9381FAC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46" y="733"/>
                  <a:ext cx="5" cy="7"/>
                  <a:chOff x="546" y="733"/>
                  <a:chExt cx="5" cy="7"/>
                </a:xfrm>
              </p:grpSpPr>
              <p:sp>
                <p:nvSpPr>
                  <p:cNvPr id="1920" name="Freeform 294">
                    <a:extLst>
                      <a:ext uri="{FF2B5EF4-FFF2-40B4-BE49-F238E27FC236}">
                        <a16:creationId xmlns:a16="http://schemas.microsoft.com/office/drawing/2014/main" id="{32643318-2527-DA4D-8987-3C5F033C462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6" y="733"/>
                    <a:ext cx="5" cy="7"/>
                  </a:xfrm>
                  <a:custGeom>
                    <a:avLst/>
                    <a:gdLst>
                      <a:gd name="T0" fmla="*/ 4 w 5"/>
                      <a:gd name="T1" fmla="*/ 7 h 7"/>
                      <a:gd name="T2" fmla="*/ 2 w 5"/>
                      <a:gd name="T3" fmla="*/ 5 h 7"/>
                      <a:gd name="T4" fmla="*/ 2 w 5"/>
                      <a:gd name="T5" fmla="*/ 3 h 7"/>
                      <a:gd name="T6" fmla="*/ 0 w 5"/>
                      <a:gd name="T7" fmla="*/ 2 h 7"/>
                      <a:gd name="T8" fmla="*/ 0 w 5"/>
                      <a:gd name="T9" fmla="*/ 0 h 7"/>
                      <a:gd name="T10" fmla="*/ 2 w 5"/>
                      <a:gd name="T11" fmla="*/ 2 h 7"/>
                      <a:gd name="T12" fmla="*/ 5 w 5"/>
                      <a:gd name="T13" fmla="*/ 2 h 7"/>
                      <a:gd name="T14" fmla="*/ 5 w 5"/>
                      <a:gd name="T15" fmla="*/ 3 h 7"/>
                      <a:gd name="T16" fmla="*/ 5 w 5"/>
                      <a:gd name="T17" fmla="*/ 5 h 7"/>
                      <a:gd name="T18" fmla="*/ 4 w 5"/>
                      <a:gd name="T19" fmla="*/ 7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" h="7">
                        <a:moveTo>
                          <a:pt x="4" y="7"/>
                        </a:moveTo>
                        <a:lnTo>
                          <a:pt x="2" y="5"/>
                        </a:lnTo>
                        <a:lnTo>
                          <a:pt x="2" y="3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2" y="2"/>
                        </a:lnTo>
                        <a:lnTo>
                          <a:pt x="5" y="2"/>
                        </a:lnTo>
                        <a:lnTo>
                          <a:pt x="5" y="3"/>
                        </a:lnTo>
                        <a:lnTo>
                          <a:pt x="5" y="5"/>
                        </a:lnTo>
                        <a:lnTo>
                          <a:pt x="4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21" name="Freeform 295">
                    <a:extLst>
                      <a:ext uri="{FF2B5EF4-FFF2-40B4-BE49-F238E27FC236}">
                        <a16:creationId xmlns:a16="http://schemas.microsoft.com/office/drawing/2014/main" id="{25E8E7BA-4DCF-3542-990E-04DE3EBD89B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6" y="733"/>
                    <a:ext cx="5" cy="7"/>
                  </a:xfrm>
                  <a:custGeom>
                    <a:avLst/>
                    <a:gdLst>
                      <a:gd name="T0" fmla="*/ 4 w 5"/>
                      <a:gd name="T1" fmla="*/ 7 h 7"/>
                      <a:gd name="T2" fmla="*/ 2 w 5"/>
                      <a:gd name="T3" fmla="*/ 5 h 7"/>
                      <a:gd name="T4" fmla="*/ 2 w 5"/>
                      <a:gd name="T5" fmla="*/ 3 h 7"/>
                      <a:gd name="T6" fmla="*/ 0 w 5"/>
                      <a:gd name="T7" fmla="*/ 2 h 7"/>
                      <a:gd name="T8" fmla="*/ 0 w 5"/>
                      <a:gd name="T9" fmla="*/ 0 h 7"/>
                      <a:gd name="T10" fmla="*/ 2 w 5"/>
                      <a:gd name="T11" fmla="*/ 2 h 7"/>
                      <a:gd name="T12" fmla="*/ 5 w 5"/>
                      <a:gd name="T13" fmla="*/ 2 h 7"/>
                      <a:gd name="T14" fmla="*/ 5 w 5"/>
                      <a:gd name="T15" fmla="*/ 3 h 7"/>
                      <a:gd name="T16" fmla="*/ 5 w 5"/>
                      <a:gd name="T17" fmla="*/ 5 h 7"/>
                      <a:gd name="T18" fmla="*/ 4 w 5"/>
                      <a:gd name="T19" fmla="*/ 7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" h="7">
                        <a:moveTo>
                          <a:pt x="4" y="7"/>
                        </a:moveTo>
                        <a:lnTo>
                          <a:pt x="2" y="5"/>
                        </a:lnTo>
                        <a:lnTo>
                          <a:pt x="2" y="3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2" y="2"/>
                        </a:lnTo>
                        <a:lnTo>
                          <a:pt x="5" y="2"/>
                        </a:lnTo>
                        <a:lnTo>
                          <a:pt x="5" y="3"/>
                        </a:lnTo>
                        <a:lnTo>
                          <a:pt x="5" y="5"/>
                        </a:lnTo>
                        <a:lnTo>
                          <a:pt x="4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05" name="Group 1904">
                  <a:extLst>
                    <a:ext uri="{FF2B5EF4-FFF2-40B4-BE49-F238E27FC236}">
                      <a16:creationId xmlns:a16="http://schemas.microsoft.com/office/drawing/2014/main" id="{9AFB4B14-F9E4-E245-9B1E-02F2F9CDC19A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57" y="748"/>
                  <a:ext cx="3" cy="5"/>
                  <a:chOff x="557" y="748"/>
                  <a:chExt cx="3" cy="5"/>
                </a:xfrm>
              </p:grpSpPr>
              <p:sp>
                <p:nvSpPr>
                  <p:cNvPr id="1918" name="Freeform 292">
                    <a:extLst>
                      <a:ext uri="{FF2B5EF4-FFF2-40B4-BE49-F238E27FC236}">
                        <a16:creationId xmlns:a16="http://schemas.microsoft.com/office/drawing/2014/main" id="{6BBCAFF8-7B7D-7C43-BAE9-8F866FE5585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7" y="748"/>
                    <a:ext cx="3" cy="5"/>
                  </a:xfrm>
                  <a:custGeom>
                    <a:avLst/>
                    <a:gdLst>
                      <a:gd name="T0" fmla="*/ 0 w 3"/>
                      <a:gd name="T1" fmla="*/ 4 h 5"/>
                      <a:gd name="T2" fmla="*/ 0 w 3"/>
                      <a:gd name="T3" fmla="*/ 2 h 5"/>
                      <a:gd name="T4" fmla="*/ 1 w 3"/>
                      <a:gd name="T5" fmla="*/ 0 h 5"/>
                      <a:gd name="T6" fmla="*/ 3 w 3"/>
                      <a:gd name="T7" fmla="*/ 0 h 5"/>
                      <a:gd name="T8" fmla="*/ 3 w 3"/>
                      <a:gd name="T9" fmla="*/ 2 h 5"/>
                      <a:gd name="T10" fmla="*/ 3 w 3"/>
                      <a:gd name="T11" fmla="*/ 5 h 5"/>
                      <a:gd name="T12" fmla="*/ 1 w 3"/>
                      <a:gd name="T13" fmla="*/ 5 h 5"/>
                      <a:gd name="T14" fmla="*/ 0 w 3"/>
                      <a:gd name="T15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" h="5">
                        <a:moveTo>
                          <a:pt x="0" y="4"/>
                        </a:moveTo>
                        <a:lnTo>
                          <a:pt x="0" y="2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2"/>
                        </a:ln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0" y="4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19" name="Freeform 293">
                    <a:extLst>
                      <a:ext uri="{FF2B5EF4-FFF2-40B4-BE49-F238E27FC236}">
                        <a16:creationId xmlns:a16="http://schemas.microsoft.com/office/drawing/2014/main" id="{71269855-AFB7-9145-9F5F-6FF3C97D181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7" y="748"/>
                    <a:ext cx="3" cy="5"/>
                  </a:xfrm>
                  <a:custGeom>
                    <a:avLst/>
                    <a:gdLst>
                      <a:gd name="T0" fmla="*/ 0 w 3"/>
                      <a:gd name="T1" fmla="*/ 4 h 5"/>
                      <a:gd name="T2" fmla="*/ 0 w 3"/>
                      <a:gd name="T3" fmla="*/ 2 h 5"/>
                      <a:gd name="T4" fmla="*/ 1 w 3"/>
                      <a:gd name="T5" fmla="*/ 0 h 5"/>
                      <a:gd name="T6" fmla="*/ 3 w 3"/>
                      <a:gd name="T7" fmla="*/ 0 h 5"/>
                      <a:gd name="T8" fmla="*/ 3 w 3"/>
                      <a:gd name="T9" fmla="*/ 2 h 5"/>
                      <a:gd name="T10" fmla="*/ 3 w 3"/>
                      <a:gd name="T11" fmla="*/ 5 h 5"/>
                      <a:gd name="T12" fmla="*/ 1 w 3"/>
                      <a:gd name="T13" fmla="*/ 5 h 5"/>
                      <a:gd name="T14" fmla="*/ 0 w 3"/>
                      <a:gd name="T15" fmla="*/ 4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" h="5">
                        <a:moveTo>
                          <a:pt x="0" y="4"/>
                        </a:moveTo>
                        <a:lnTo>
                          <a:pt x="0" y="2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2"/>
                        </a:ln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0" y="4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06" name="Group 1905">
                  <a:extLst>
                    <a:ext uri="{FF2B5EF4-FFF2-40B4-BE49-F238E27FC236}">
                      <a16:creationId xmlns:a16="http://schemas.microsoft.com/office/drawing/2014/main" id="{987A0CDD-F92B-0843-975A-0DF418B1EE5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91" y="728"/>
                  <a:ext cx="37" cy="34"/>
                  <a:chOff x="491" y="728"/>
                  <a:chExt cx="37" cy="34"/>
                </a:xfrm>
              </p:grpSpPr>
              <p:sp>
                <p:nvSpPr>
                  <p:cNvPr id="1916" name="Freeform 290">
                    <a:extLst>
                      <a:ext uri="{FF2B5EF4-FFF2-40B4-BE49-F238E27FC236}">
                        <a16:creationId xmlns:a16="http://schemas.microsoft.com/office/drawing/2014/main" id="{D484F928-77C8-A843-89C5-0D39CEA2FA0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1" y="728"/>
                    <a:ext cx="37" cy="34"/>
                  </a:xfrm>
                  <a:custGeom>
                    <a:avLst/>
                    <a:gdLst>
                      <a:gd name="T0" fmla="*/ 15 w 37"/>
                      <a:gd name="T1" fmla="*/ 0 h 34"/>
                      <a:gd name="T2" fmla="*/ 15 w 37"/>
                      <a:gd name="T3" fmla="*/ 2 h 34"/>
                      <a:gd name="T4" fmla="*/ 17 w 37"/>
                      <a:gd name="T5" fmla="*/ 2 h 34"/>
                      <a:gd name="T6" fmla="*/ 20 w 37"/>
                      <a:gd name="T7" fmla="*/ 2 h 34"/>
                      <a:gd name="T8" fmla="*/ 28 w 37"/>
                      <a:gd name="T9" fmla="*/ 5 h 34"/>
                      <a:gd name="T10" fmla="*/ 30 w 37"/>
                      <a:gd name="T11" fmla="*/ 7 h 34"/>
                      <a:gd name="T12" fmla="*/ 30 w 37"/>
                      <a:gd name="T13" fmla="*/ 8 h 34"/>
                      <a:gd name="T14" fmla="*/ 32 w 37"/>
                      <a:gd name="T15" fmla="*/ 10 h 34"/>
                      <a:gd name="T16" fmla="*/ 32 w 37"/>
                      <a:gd name="T17" fmla="*/ 12 h 34"/>
                      <a:gd name="T18" fmla="*/ 33 w 37"/>
                      <a:gd name="T19" fmla="*/ 13 h 34"/>
                      <a:gd name="T20" fmla="*/ 35 w 37"/>
                      <a:gd name="T21" fmla="*/ 13 h 34"/>
                      <a:gd name="T22" fmla="*/ 37 w 37"/>
                      <a:gd name="T23" fmla="*/ 15 h 34"/>
                      <a:gd name="T24" fmla="*/ 33 w 37"/>
                      <a:gd name="T25" fmla="*/ 17 h 34"/>
                      <a:gd name="T26" fmla="*/ 32 w 37"/>
                      <a:gd name="T27" fmla="*/ 18 h 34"/>
                      <a:gd name="T28" fmla="*/ 30 w 37"/>
                      <a:gd name="T29" fmla="*/ 18 h 34"/>
                      <a:gd name="T30" fmla="*/ 30 w 37"/>
                      <a:gd name="T31" fmla="*/ 17 h 34"/>
                      <a:gd name="T32" fmla="*/ 28 w 37"/>
                      <a:gd name="T33" fmla="*/ 15 h 34"/>
                      <a:gd name="T34" fmla="*/ 27 w 37"/>
                      <a:gd name="T35" fmla="*/ 13 h 34"/>
                      <a:gd name="T36" fmla="*/ 25 w 37"/>
                      <a:gd name="T37" fmla="*/ 13 h 34"/>
                      <a:gd name="T38" fmla="*/ 25 w 37"/>
                      <a:gd name="T39" fmla="*/ 17 h 34"/>
                      <a:gd name="T40" fmla="*/ 28 w 37"/>
                      <a:gd name="T41" fmla="*/ 20 h 34"/>
                      <a:gd name="T42" fmla="*/ 28 w 37"/>
                      <a:gd name="T43" fmla="*/ 25 h 34"/>
                      <a:gd name="T44" fmla="*/ 30 w 37"/>
                      <a:gd name="T45" fmla="*/ 27 h 34"/>
                      <a:gd name="T46" fmla="*/ 30 w 37"/>
                      <a:gd name="T47" fmla="*/ 29 h 34"/>
                      <a:gd name="T48" fmla="*/ 30 w 37"/>
                      <a:gd name="T49" fmla="*/ 34 h 34"/>
                      <a:gd name="T50" fmla="*/ 28 w 37"/>
                      <a:gd name="T51" fmla="*/ 32 h 34"/>
                      <a:gd name="T52" fmla="*/ 25 w 37"/>
                      <a:gd name="T53" fmla="*/ 30 h 34"/>
                      <a:gd name="T54" fmla="*/ 23 w 37"/>
                      <a:gd name="T55" fmla="*/ 27 h 34"/>
                      <a:gd name="T56" fmla="*/ 22 w 37"/>
                      <a:gd name="T57" fmla="*/ 29 h 34"/>
                      <a:gd name="T58" fmla="*/ 20 w 37"/>
                      <a:gd name="T59" fmla="*/ 32 h 34"/>
                      <a:gd name="T60" fmla="*/ 20 w 37"/>
                      <a:gd name="T61" fmla="*/ 34 h 34"/>
                      <a:gd name="T62" fmla="*/ 18 w 37"/>
                      <a:gd name="T63" fmla="*/ 34 h 34"/>
                      <a:gd name="T64" fmla="*/ 18 w 37"/>
                      <a:gd name="T65" fmla="*/ 30 h 34"/>
                      <a:gd name="T66" fmla="*/ 17 w 37"/>
                      <a:gd name="T67" fmla="*/ 27 h 34"/>
                      <a:gd name="T68" fmla="*/ 15 w 37"/>
                      <a:gd name="T69" fmla="*/ 25 h 34"/>
                      <a:gd name="T70" fmla="*/ 13 w 37"/>
                      <a:gd name="T71" fmla="*/ 22 h 34"/>
                      <a:gd name="T72" fmla="*/ 12 w 37"/>
                      <a:gd name="T73" fmla="*/ 25 h 34"/>
                      <a:gd name="T74" fmla="*/ 12 w 37"/>
                      <a:gd name="T75" fmla="*/ 27 h 34"/>
                      <a:gd name="T76" fmla="*/ 8 w 37"/>
                      <a:gd name="T77" fmla="*/ 27 h 34"/>
                      <a:gd name="T78" fmla="*/ 7 w 37"/>
                      <a:gd name="T79" fmla="*/ 25 h 34"/>
                      <a:gd name="T80" fmla="*/ 7 w 37"/>
                      <a:gd name="T81" fmla="*/ 22 h 34"/>
                      <a:gd name="T82" fmla="*/ 8 w 37"/>
                      <a:gd name="T83" fmla="*/ 17 h 34"/>
                      <a:gd name="T84" fmla="*/ 7 w 37"/>
                      <a:gd name="T85" fmla="*/ 15 h 34"/>
                      <a:gd name="T86" fmla="*/ 1 w 37"/>
                      <a:gd name="T87" fmla="*/ 12 h 34"/>
                      <a:gd name="T88" fmla="*/ 0 w 37"/>
                      <a:gd name="T89" fmla="*/ 8 h 34"/>
                      <a:gd name="T90" fmla="*/ 0 w 37"/>
                      <a:gd name="T91" fmla="*/ 7 h 34"/>
                      <a:gd name="T92" fmla="*/ 3 w 37"/>
                      <a:gd name="T93" fmla="*/ 2 h 34"/>
                      <a:gd name="T94" fmla="*/ 7 w 37"/>
                      <a:gd name="T95" fmla="*/ 2 h 34"/>
                      <a:gd name="T96" fmla="*/ 10 w 37"/>
                      <a:gd name="T97" fmla="*/ 0 h 34"/>
                      <a:gd name="T98" fmla="*/ 12 w 37"/>
                      <a:gd name="T99" fmla="*/ 0 h 34"/>
                      <a:gd name="T100" fmla="*/ 13 w 37"/>
                      <a:gd name="T101" fmla="*/ 0 h 34"/>
                      <a:gd name="T102" fmla="*/ 15 w 37"/>
                      <a:gd name="T103" fmla="*/ 0 h 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37" h="34">
                        <a:moveTo>
                          <a:pt x="15" y="0"/>
                        </a:moveTo>
                        <a:lnTo>
                          <a:pt x="15" y="2"/>
                        </a:lnTo>
                        <a:lnTo>
                          <a:pt x="17" y="2"/>
                        </a:lnTo>
                        <a:lnTo>
                          <a:pt x="20" y="2"/>
                        </a:lnTo>
                        <a:lnTo>
                          <a:pt x="28" y="5"/>
                        </a:lnTo>
                        <a:lnTo>
                          <a:pt x="30" y="7"/>
                        </a:lnTo>
                        <a:lnTo>
                          <a:pt x="30" y="8"/>
                        </a:lnTo>
                        <a:lnTo>
                          <a:pt x="32" y="10"/>
                        </a:lnTo>
                        <a:lnTo>
                          <a:pt x="32" y="12"/>
                        </a:lnTo>
                        <a:lnTo>
                          <a:pt x="33" y="13"/>
                        </a:lnTo>
                        <a:lnTo>
                          <a:pt x="35" y="13"/>
                        </a:lnTo>
                        <a:lnTo>
                          <a:pt x="37" y="15"/>
                        </a:lnTo>
                        <a:lnTo>
                          <a:pt x="33" y="17"/>
                        </a:lnTo>
                        <a:lnTo>
                          <a:pt x="32" y="18"/>
                        </a:lnTo>
                        <a:lnTo>
                          <a:pt x="30" y="18"/>
                        </a:lnTo>
                        <a:lnTo>
                          <a:pt x="30" y="17"/>
                        </a:lnTo>
                        <a:lnTo>
                          <a:pt x="28" y="15"/>
                        </a:lnTo>
                        <a:lnTo>
                          <a:pt x="27" y="13"/>
                        </a:lnTo>
                        <a:lnTo>
                          <a:pt x="25" y="13"/>
                        </a:lnTo>
                        <a:lnTo>
                          <a:pt x="25" y="17"/>
                        </a:lnTo>
                        <a:lnTo>
                          <a:pt x="28" y="20"/>
                        </a:lnTo>
                        <a:lnTo>
                          <a:pt x="28" y="25"/>
                        </a:lnTo>
                        <a:lnTo>
                          <a:pt x="30" y="27"/>
                        </a:lnTo>
                        <a:lnTo>
                          <a:pt x="30" y="29"/>
                        </a:lnTo>
                        <a:lnTo>
                          <a:pt x="30" y="34"/>
                        </a:lnTo>
                        <a:lnTo>
                          <a:pt x="28" y="32"/>
                        </a:lnTo>
                        <a:lnTo>
                          <a:pt x="25" y="30"/>
                        </a:lnTo>
                        <a:lnTo>
                          <a:pt x="23" y="27"/>
                        </a:lnTo>
                        <a:lnTo>
                          <a:pt x="22" y="29"/>
                        </a:lnTo>
                        <a:lnTo>
                          <a:pt x="20" y="32"/>
                        </a:lnTo>
                        <a:lnTo>
                          <a:pt x="20" y="34"/>
                        </a:lnTo>
                        <a:lnTo>
                          <a:pt x="18" y="34"/>
                        </a:lnTo>
                        <a:lnTo>
                          <a:pt x="18" y="30"/>
                        </a:lnTo>
                        <a:lnTo>
                          <a:pt x="17" y="27"/>
                        </a:lnTo>
                        <a:lnTo>
                          <a:pt x="15" y="25"/>
                        </a:lnTo>
                        <a:lnTo>
                          <a:pt x="13" y="22"/>
                        </a:lnTo>
                        <a:lnTo>
                          <a:pt x="12" y="25"/>
                        </a:lnTo>
                        <a:lnTo>
                          <a:pt x="12" y="27"/>
                        </a:lnTo>
                        <a:lnTo>
                          <a:pt x="8" y="27"/>
                        </a:lnTo>
                        <a:lnTo>
                          <a:pt x="7" y="25"/>
                        </a:lnTo>
                        <a:lnTo>
                          <a:pt x="7" y="22"/>
                        </a:lnTo>
                        <a:lnTo>
                          <a:pt x="8" y="17"/>
                        </a:lnTo>
                        <a:lnTo>
                          <a:pt x="7" y="15"/>
                        </a:lnTo>
                        <a:lnTo>
                          <a:pt x="1" y="12"/>
                        </a:lnTo>
                        <a:lnTo>
                          <a:pt x="0" y="8"/>
                        </a:lnTo>
                        <a:lnTo>
                          <a:pt x="0" y="7"/>
                        </a:lnTo>
                        <a:lnTo>
                          <a:pt x="3" y="2"/>
                        </a:lnTo>
                        <a:lnTo>
                          <a:pt x="7" y="2"/>
                        </a:lnTo>
                        <a:lnTo>
                          <a:pt x="10" y="0"/>
                        </a:lnTo>
                        <a:lnTo>
                          <a:pt x="12" y="0"/>
                        </a:lnTo>
                        <a:lnTo>
                          <a:pt x="13" y="0"/>
                        </a:lnTo>
                        <a:lnTo>
                          <a:pt x="15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17" name="Freeform 291">
                    <a:extLst>
                      <a:ext uri="{FF2B5EF4-FFF2-40B4-BE49-F238E27FC236}">
                        <a16:creationId xmlns:a16="http://schemas.microsoft.com/office/drawing/2014/main" id="{F8F53413-7053-B541-8CFF-C523E77DF7F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1" y="728"/>
                    <a:ext cx="37" cy="34"/>
                  </a:xfrm>
                  <a:custGeom>
                    <a:avLst/>
                    <a:gdLst>
                      <a:gd name="T0" fmla="*/ 15 w 37"/>
                      <a:gd name="T1" fmla="*/ 0 h 34"/>
                      <a:gd name="T2" fmla="*/ 15 w 37"/>
                      <a:gd name="T3" fmla="*/ 2 h 34"/>
                      <a:gd name="T4" fmla="*/ 17 w 37"/>
                      <a:gd name="T5" fmla="*/ 2 h 34"/>
                      <a:gd name="T6" fmla="*/ 20 w 37"/>
                      <a:gd name="T7" fmla="*/ 2 h 34"/>
                      <a:gd name="T8" fmla="*/ 28 w 37"/>
                      <a:gd name="T9" fmla="*/ 5 h 34"/>
                      <a:gd name="T10" fmla="*/ 30 w 37"/>
                      <a:gd name="T11" fmla="*/ 7 h 34"/>
                      <a:gd name="T12" fmla="*/ 30 w 37"/>
                      <a:gd name="T13" fmla="*/ 8 h 34"/>
                      <a:gd name="T14" fmla="*/ 32 w 37"/>
                      <a:gd name="T15" fmla="*/ 10 h 34"/>
                      <a:gd name="T16" fmla="*/ 32 w 37"/>
                      <a:gd name="T17" fmla="*/ 12 h 34"/>
                      <a:gd name="T18" fmla="*/ 33 w 37"/>
                      <a:gd name="T19" fmla="*/ 13 h 34"/>
                      <a:gd name="T20" fmla="*/ 35 w 37"/>
                      <a:gd name="T21" fmla="*/ 13 h 34"/>
                      <a:gd name="T22" fmla="*/ 37 w 37"/>
                      <a:gd name="T23" fmla="*/ 15 h 34"/>
                      <a:gd name="T24" fmla="*/ 33 w 37"/>
                      <a:gd name="T25" fmla="*/ 17 h 34"/>
                      <a:gd name="T26" fmla="*/ 32 w 37"/>
                      <a:gd name="T27" fmla="*/ 18 h 34"/>
                      <a:gd name="T28" fmla="*/ 30 w 37"/>
                      <a:gd name="T29" fmla="*/ 18 h 34"/>
                      <a:gd name="T30" fmla="*/ 30 w 37"/>
                      <a:gd name="T31" fmla="*/ 17 h 34"/>
                      <a:gd name="T32" fmla="*/ 28 w 37"/>
                      <a:gd name="T33" fmla="*/ 15 h 34"/>
                      <a:gd name="T34" fmla="*/ 27 w 37"/>
                      <a:gd name="T35" fmla="*/ 13 h 34"/>
                      <a:gd name="T36" fmla="*/ 25 w 37"/>
                      <a:gd name="T37" fmla="*/ 13 h 34"/>
                      <a:gd name="T38" fmla="*/ 25 w 37"/>
                      <a:gd name="T39" fmla="*/ 17 h 34"/>
                      <a:gd name="T40" fmla="*/ 28 w 37"/>
                      <a:gd name="T41" fmla="*/ 20 h 34"/>
                      <a:gd name="T42" fmla="*/ 28 w 37"/>
                      <a:gd name="T43" fmla="*/ 25 h 34"/>
                      <a:gd name="T44" fmla="*/ 30 w 37"/>
                      <a:gd name="T45" fmla="*/ 27 h 34"/>
                      <a:gd name="T46" fmla="*/ 30 w 37"/>
                      <a:gd name="T47" fmla="*/ 29 h 34"/>
                      <a:gd name="T48" fmla="*/ 30 w 37"/>
                      <a:gd name="T49" fmla="*/ 34 h 34"/>
                      <a:gd name="T50" fmla="*/ 28 w 37"/>
                      <a:gd name="T51" fmla="*/ 32 h 34"/>
                      <a:gd name="T52" fmla="*/ 25 w 37"/>
                      <a:gd name="T53" fmla="*/ 30 h 34"/>
                      <a:gd name="T54" fmla="*/ 23 w 37"/>
                      <a:gd name="T55" fmla="*/ 27 h 34"/>
                      <a:gd name="T56" fmla="*/ 22 w 37"/>
                      <a:gd name="T57" fmla="*/ 29 h 34"/>
                      <a:gd name="T58" fmla="*/ 20 w 37"/>
                      <a:gd name="T59" fmla="*/ 32 h 34"/>
                      <a:gd name="T60" fmla="*/ 20 w 37"/>
                      <a:gd name="T61" fmla="*/ 34 h 34"/>
                      <a:gd name="T62" fmla="*/ 18 w 37"/>
                      <a:gd name="T63" fmla="*/ 34 h 34"/>
                      <a:gd name="T64" fmla="*/ 18 w 37"/>
                      <a:gd name="T65" fmla="*/ 30 h 34"/>
                      <a:gd name="T66" fmla="*/ 17 w 37"/>
                      <a:gd name="T67" fmla="*/ 27 h 34"/>
                      <a:gd name="T68" fmla="*/ 15 w 37"/>
                      <a:gd name="T69" fmla="*/ 25 h 34"/>
                      <a:gd name="T70" fmla="*/ 13 w 37"/>
                      <a:gd name="T71" fmla="*/ 22 h 34"/>
                      <a:gd name="T72" fmla="*/ 12 w 37"/>
                      <a:gd name="T73" fmla="*/ 25 h 34"/>
                      <a:gd name="T74" fmla="*/ 12 w 37"/>
                      <a:gd name="T75" fmla="*/ 27 h 34"/>
                      <a:gd name="T76" fmla="*/ 8 w 37"/>
                      <a:gd name="T77" fmla="*/ 27 h 34"/>
                      <a:gd name="T78" fmla="*/ 7 w 37"/>
                      <a:gd name="T79" fmla="*/ 25 h 34"/>
                      <a:gd name="T80" fmla="*/ 7 w 37"/>
                      <a:gd name="T81" fmla="*/ 22 h 34"/>
                      <a:gd name="T82" fmla="*/ 8 w 37"/>
                      <a:gd name="T83" fmla="*/ 17 h 34"/>
                      <a:gd name="T84" fmla="*/ 7 w 37"/>
                      <a:gd name="T85" fmla="*/ 15 h 34"/>
                      <a:gd name="T86" fmla="*/ 1 w 37"/>
                      <a:gd name="T87" fmla="*/ 12 h 34"/>
                      <a:gd name="T88" fmla="*/ 0 w 37"/>
                      <a:gd name="T89" fmla="*/ 8 h 34"/>
                      <a:gd name="T90" fmla="*/ 0 w 37"/>
                      <a:gd name="T91" fmla="*/ 7 h 34"/>
                      <a:gd name="T92" fmla="*/ 3 w 37"/>
                      <a:gd name="T93" fmla="*/ 2 h 34"/>
                      <a:gd name="T94" fmla="*/ 7 w 37"/>
                      <a:gd name="T95" fmla="*/ 2 h 34"/>
                      <a:gd name="T96" fmla="*/ 10 w 37"/>
                      <a:gd name="T97" fmla="*/ 0 h 34"/>
                      <a:gd name="T98" fmla="*/ 12 w 37"/>
                      <a:gd name="T99" fmla="*/ 0 h 34"/>
                      <a:gd name="T100" fmla="*/ 13 w 37"/>
                      <a:gd name="T101" fmla="*/ 0 h 34"/>
                      <a:gd name="T102" fmla="*/ 15 w 37"/>
                      <a:gd name="T103" fmla="*/ 0 h 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37" h="34">
                        <a:moveTo>
                          <a:pt x="15" y="0"/>
                        </a:moveTo>
                        <a:lnTo>
                          <a:pt x="15" y="2"/>
                        </a:lnTo>
                        <a:lnTo>
                          <a:pt x="17" y="2"/>
                        </a:lnTo>
                        <a:lnTo>
                          <a:pt x="20" y="2"/>
                        </a:lnTo>
                        <a:lnTo>
                          <a:pt x="28" y="5"/>
                        </a:lnTo>
                        <a:lnTo>
                          <a:pt x="30" y="7"/>
                        </a:lnTo>
                        <a:lnTo>
                          <a:pt x="30" y="8"/>
                        </a:lnTo>
                        <a:lnTo>
                          <a:pt x="32" y="10"/>
                        </a:lnTo>
                        <a:lnTo>
                          <a:pt x="32" y="12"/>
                        </a:lnTo>
                        <a:lnTo>
                          <a:pt x="33" y="13"/>
                        </a:lnTo>
                        <a:lnTo>
                          <a:pt x="35" y="13"/>
                        </a:lnTo>
                        <a:lnTo>
                          <a:pt x="37" y="15"/>
                        </a:lnTo>
                        <a:lnTo>
                          <a:pt x="33" y="17"/>
                        </a:lnTo>
                        <a:lnTo>
                          <a:pt x="32" y="18"/>
                        </a:lnTo>
                        <a:lnTo>
                          <a:pt x="30" y="18"/>
                        </a:lnTo>
                        <a:lnTo>
                          <a:pt x="30" y="17"/>
                        </a:lnTo>
                        <a:lnTo>
                          <a:pt x="28" y="15"/>
                        </a:lnTo>
                        <a:lnTo>
                          <a:pt x="27" y="13"/>
                        </a:lnTo>
                        <a:lnTo>
                          <a:pt x="25" y="13"/>
                        </a:lnTo>
                        <a:lnTo>
                          <a:pt x="25" y="17"/>
                        </a:lnTo>
                        <a:lnTo>
                          <a:pt x="28" y="20"/>
                        </a:lnTo>
                        <a:lnTo>
                          <a:pt x="28" y="25"/>
                        </a:lnTo>
                        <a:lnTo>
                          <a:pt x="30" y="27"/>
                        </a:lnTo>
                        <a:lnTo>
                          <a:pt x="30" y="29"/>
                        </a:lnTo>
                        <a:lnTo>
                          <a:pt x="30" y="34"/>
                        </a:lnTo>
                        <a:lnTo>
                          <a:pt x="28" y="32"/>
                        </a:lnTo>
                        <a:lnTo>
                          <a:pt x="25" y="30"/>
                        </a:lnTo>
                        <a:lnTo>
                          <a:pt x="23" y="27"/>
                        </a:lnTo>
                        <a:lnTo>
                          <a:pt x="22" y="29"/>
                        </a:lnTo>
                        <a:lnTo>
                          <a:pt x="20" y="32"/>
                        </a:lnTo>
                        <a:lnTo>
                          <a:pt x="20" y="34"/>
                        </a:lnTo>
                        <a:lnTo>
                          <a:pt x="18" y="34"/>
                        </a:lnTo>
                        <a:lnTo>
                          <a:pt x="18" y="30"/>
                        </a:lnTo>
                        <a:lnTo>
                          <a:pt x="17" y="27"/>
                        </a:lnTo>
                        <a:lnTo>
                          <a:pt x="15" y="25"/>
                        </a:lnTo>
                        <a:lnTo>
                          <a:pt x="13" y="22"/>
                        </a:lnTo>
                        <a:lnTo>
                          <a:pt x="12" y="25"/>
                        </a:lnTo>
                        <a:lnTo>
                          <a:pt x="12" y="27"/>
                        </a:lnTo>
                        <a:lnTo>
                          <a:pt x="8" y="27"/>
                        </a:lnTo>
                        <a:lnTo>
                          <a:pt x="7" y="25"/>
                        </a:lnTo>
                        <a:lnTo>
                          <a:pt x="7" y="22"/>
                        </a:lnTo>
                        <a:lnTo>
                          <a:pt x="8" y="17"/>
                        </a:lnTo>
                        <a:lnTo>
                          <a:pt x="7" y="15"/>
                        </a:lnTo>
                        <a:lnTo>
                          <a:pt x="1" y="12"/>
                        </a:lnTo>
                        <a:lnTo>
                          <a:pt x="0" y="8"/>
                        </a:lnTo>
                        <a:lnTo>
                          <a:pt x="0" y="7"/>
                        </a:lnTo>
                        <a:lnTo>
                          <a:pt x="3" y="2"/>
                        </a:lnTo>
                        <a:lnTo>
                          <a:pt x="7" y="2"/>
                        </a:lnTo>
                        <a:lnTo>
                          <a:pt x="10" y="0"/>
                        </a:lnTo>
                        <a:lnTo>
                          <a:pt x="12" y="0"/>
                        </a:lnTo>
                        <a:lnTo>
                          <a:pt x="13" y="0"/>
                        </a:lnTo>
                        <a:lnTo>
                          <a:pt x="15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07" name="Group 1906">
                  <a:extLst>
                    <a:ext uri="{FF2B5EF4-FFF2-40B4-BE49-F238E27FC236}">
                      <a16:creationId xmlns:a16="http://schemas.microsoft.com/office/drawing/2014/main" id="{FB7A7C98-FB92-EA45-A719-64A96502982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79" y="726"/>
                  <a:ext cx="7" cy="5"/>
                  <a:chOff x="479" y="726"/>
                  <a:chExt cx="7" cy="5"/>
                </a:xfrm>
              </p:grpSpPr>
              <p:sp>
                <p:nvSpPr>
                  <p:cNvPr id="1914" name="Freeform 288">
                    <a:extLst>
                      <a:ext uri="{FF2B5EF4-FFF2-40B4-BE49-F238E27FC236}">
                        <a16:creationId xmlns:a16="http://schemas.microsoft.com/office/drawing/2014/main" id="{8492DFDD-FE19-6C40-BB73-109903C8EAA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9" y="726"/>
                    <a:ext cx="7" cy="5"/>
                  </a:xfrm>
                  <a:custGeom>
                    <a:avLst/>
                    <a:gdLst>
                      <a:gd name="T0" fmla="*/ 3 w 7"/>
                      <a:gd name="T1" fmla="*/ 5 h 5"/>
                      <a:gd name="T2" fmla="*/ 2 w 7"/>
                      <a:gd name="T3" fmla="*/ 5 h 5"/>
                      <a:gd name="T4" fmla="*/ 2 w 7"/>
                      <a:gd name="T5" fmla="*/ 4 h 5"/>
                      <a:gd name="T6" fmla="*/ 0 w 7"/>
                      <a:gd name="T7" fmla="*/ 2 h 5"/>
                      <a:gd name="T8" fmla="*/ 2 w 7"/>
                      <a:gd name="T9" fmla="*/ 0 h 5"/>
                      <a:gd name="T10" fmla="*/ 3 w 7"/>
                      <a:gd name="T11" fmla="*/ 0 h 5"/>
                      <a:gd name="T12" fmla="*/ 3 w 7"/>
                      <a:gd name="T13" fmla="*/ 2 h 5"/>
                      <a:gd name="T14" fmla="*/ 7 w 7"/>
                      <a:gd name="T15" fmla="*/ 4 h 5"/>
                      <a:gd name="T16" fmla="*/ 5 w 7"/>
                      <a:gd name="T17" fmla="*/ 5 h 5"/>
                      <a:gd name="T18" fmla="*/ 3 w 7"/>
                      <a:gd name="T19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" h="5">
                        <a:moveTo>
                          <a:pt x="3" y="5"/>
                        </a:moveTo>
                        <a:lnTo>
                          <a:pt x="2" y="5"/>
                        </a:lnTo>
                        <a:lnTo>
                          <a:pt x="2" y="4"/>
                        </a:lnTo>
                        <a:lnTo>
                          <a:pt x="0" y="2"/>
                        </a:lnTo>
                        <a:lnTo>
                          <a:pt x="2" y="0"/>
                        </a:lnTo>
                        <a:lnTo>
                          <a:pt x="3" y="0"/>
                        </a:lnTo>
                        <a:lnTo>
                          <a:pt x="3" y="2"/>
                        </a:lnTo>
                        <a:lnTo>
                          <a:pt x="7" y="4"/>
                        </a:lnTo>
                        <a:lnTo>
                          <a:pt x="5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15" name="Freeform 289">
                    <a:extLst>
                      <a:ext uri="{FF2B5EF4-FFF2-40B4-BE49-F238E27FC236}">
                        <a16:creationId xmlns:a16="http://schemas.microsoft.com/office/drawing/2014/main" id="{2CA8C1FD-5F74-3343-A990-AAFDB255B7A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9" y="726"/>
                    <a:ext cx="7" cy="5"/>
                  </a:xfrm>
                  <a:custGeom>
                    <a:avLst/>
                    <a:gdLst>
                      <a:gd name="T0" fmla="*/ 3 w 7"/>
                      <a:gd name="T1" fmla="*/ 5 h 5"/>
                      <a:gd name="T2" fmla="*/ 2 w 7"/>
                      <a:gd name="T3" fmla="*/ 5 h 5"/>
                      <a:gd name="T4" fmla="*/ 2 w 7"/>
                      <a:gd name="T5" fmla="*/ 4 h 5"/>
                      <a:gd name="T6" fmla="*/ 0 w 7"/>
                      <a:gd name="T7" fmla="*/ 2 h 5"/>
                      <a:gd name="T8" fmla="*/ 2 w 7"/>
                      <a:gd name="T9" fmla="*/ 0 h 5"/>
                      <a:gd name="T10" fmla="*/ 3 w 7"/>
                      <a:gd name="T11" fmla="*/ 0 h 5"/>
                      <a:gd name="T12" fmla="*/ 3 w 7"/>
                      <a:gd name="T13" fmla="*/ 2 h 5"/>
                      <a:gd name="T14" fmla="*/ 7 w 7"/>
                      <a:gd name="T15" fmla="*/ 4 h 5"/>
                      <a:gd name="T16" fmla="*/ 5 w 7"/>
                      <a:gd name="T17" fmla="*/ 5 h 5"/>
                      <a:gd name="T18" fmla="*/ 3 w 7"/>
                      <a:gd name="T19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" h="5">
                        <a:moveTo>
                          <a:pt x="3" y="5"/>
                        </a:moveTo>
                        <a:lnTo>
                          <a:pt x="2" y="5"/>
                        </a:lnTo>
                        <a:lnTo>
                          <a:pt x="2" y="4"/>
                        </a:lnTo>
                        <a:lnTo>
                          <a:pt x="0" y="2"/>
                        </a:lnTo>
                        <a:lnTo>
                          <a:pt x="2" y="0"/>
                        </a:lnTo>
                        <a:lnTo>
                          <a:pt x="3" y="0"/>
                        </a:lnTo>
                        <a:lnTo>
                          <a:pt x="3" y="2"/>
                        </a:lnTo>
                        <a:lnTo>
                          <a:pt x="7" y="4"/>
                        </a:lnTo>
                        <a:lnTo>
                          <a:pt x="5" y="5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08" name="Group 1907">
                  <a:extLst>
                    <a:ext uri="{FF2B5EF4-FFF2-40B4-BE49-F238E27FC236}">
                      <a16:creationId xmlns:a16="http://schemas.microsoft.com/office/drawing/2014/main" id="{0E36C325-A14B-5B45-A747-76E2C57B8961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19" y="714"/>
                  <a:ext cx="26" cy="21"/>
                  <a:chOff x="519" y="714"/>
                  <a:chExt cx="26" cy="21"/>
                </a:xfrm>
              </p:grpSpPr>
              <p:sp>
                <p:nvSpPr>
                  <p:cNvPr id="1912" name="Freeform 286">
                    <a:extLst>
                      <a:ext uri="{FF2B5EF4-FFF2-40B4-BE49-F238E27FC236}">
                        <a16:creationId xmlns:a16="http://schemas.microsoft.com/office/drawing/2014/main" id="{6936907F-03FF-FB4B-B317-B43828ED7B7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9" y="714"/>
                    <a:ext cx="26" cy="21"/>
                  </a:xfrm>
                  <a:custGeom>
                    <a:avLst/>
                    <a:gdLst>
                      <a:gd name="T0" fmla="*/ 26 w 26"/>
                      <a:gd name="T1" fmla="*/ 19 h 21"/>
                      <a:gd name="T2" fmla="*/ 26 w 26"/>
                      <a:gd name="T3" fmla="*/ 21 h 21"/>
                      <a:gd name="T4" fmla="*/ 24 w 26"/>
                      <a:gd name="T5" fmla="*/ 21 h 21"/>
                      <a:gd name="T6" fmla="*/ 22 w 26"/>
                      <a:gd name="T7" fmla="*/ 19 h 21"/>
                      <a:gd name="T8" fmla="*/ 21 w 26"/>
                      <a:gd name="T9" fmla="*/ 19 h 21"/>
                      <a:gd name="T10" fmla="*/ 19 w 26"/>
                      <a:gd name="T11" fmla="*/ 16 h 21"/>
                      <a:gd name="T12" fmla="*/ 19 w 26"/>
                      <a:gd name="T13" fmla="*/ 14 h 21"/>
                      <a:gd name="T14" fmla="*/ 17 w 26"/>
                      <a:gd name="T15" fmla="*/ 12 h 21"/>
                      <a:gd name="T16" fmla="*/ 16 w 26"/>
                      <a:gd name="T17" fmla="*/ 12 h 21"/>
                      <a:gd name="T18" fmla="*/ 12 w 26"/>
                      <a:gd name="T19" fmla="*/ 12 h 21"/>
                      <a:gd name="T20" fmla="*/ 11 w 26"/>
                      <a:gd name="T21" fmla="*/ 11 h 21"/>
                      <a:gd name="T22" fmla="*/ 9 w 26"/>
                      <a:gd name="T23" fmla="*/ 9 h 21"/>
                      <a:gd name="T24" fmla="*/ 7 w 26"/>
                      <a:gd name="T25" fmla="*/ 7 h 21"/>
                      <a:gd name="T26" fmla="*/ 5 w 26"/>
                      <a:gd name="T27" fmla="*/ 5 h 21"/>
                      <a:gd name="T28" fmla="*/ 4 w 26"/>
                      <a:gd name="T29" fmla="*/ 4 h 21"/>
                      <a:gd name="T30" fmla="*/ 0 w 26"/>
                      <a:gd name="T31" fmla="*/ 4 h 21"/>
                      <a:gd name="T32" fmla="*/ 2 w 26"/>
                      <a:gd name="T33" fmla="*/ 2 h 21"/>
                      <a:gd name="T34" fmla="*/ 4 w 26"/>
                      <a:gd name="T35" fmla="*/ 0 h 21"/>
                      <a:gd name="T36" fmla="*/ 5 w 26"/>
                      <a:gd name="T37" fmla="*/ 0 h 21"/>
                      <a:gd name="T38" fmla="*/ 7 w 26"/>
                      <a:gd name="T39" fmla="*/ 2 h 21"/>
                      <a:gd name="T40" fmla="*/ 9 w 26"/>
                      <a:gd name="T41" fmla="*/ 4 h 21"/>
                      <a:gd name="T42" fmla="*/ 11 w 26"/>
                      <a:gd name="T43" fmla="*/ 5 h 21"/>
                      <a:gd name="T44" fmla="*/ 14 w 26"/>
                      <a:gd name="T45" fmla="*/ 7 h 21"/>
                      <a:gd name="T46" fmla="*/ 19 w 26"/>
                      <a:gd name="T47" fmla="*/ 7 h 21"/>
                      <a:gd name="T48" fmla="*/ 19 w 26"/>
                      <a:gd name="T49" fmla="*/ 9 h 21"/>
                      <a:gd name="T50" fmla="*/ 19 w 26"/>
                      <a:gd name="T51" fmla="*/ 11 h 21"/>
                      <a:gd name="T52" fmla="*/ 21 w 26"/>
                      <a:gd name="T53" fmla="*/ 16 h 21"/>
                      <a:gd name="T54" fmla="*/ 22 w 26"/>
                      <a:gd name="T55" fmla="*/ 16 h 21"/>
                      <a:gd name="T56" fmla="*/ 26 w 26"/>
                      <a:gd name="T57" fmla="*/ 16 h 21"/>
                      <a:gd name="T58" fmla="*/ 26 w 26"/>
                      <a:gd name="T59" fmla="*/ 19 h 21"/>
                      <a:gd name="T60" fmla="*/ 26 w 26"/>
                      <a:gd name="T61" fmla="*/ 17 h 21"/>
                      <a:gd name="T62" fmla="*/ 26 w 26"/>
                      <a:gd name="T63" fmla="*/ 19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26" h="21">
                        <a:moveTo>
                          <a:pt x="26" y="19"/>
                        </a:moveTo>
                        <a:lnTo>
                          <a:pt x="26" y="21"/>
                        </a:lnTo>
                        <a:lnTo>
                          <a:pt x="24" y="21"/>
                        </a:lnTo>
                        <a:lnTo>
                          <a:pt x="22" y="19"/>
                        </a:lnTo>
                        <a:lnTo>
                          <a:pt x="21" y="19"/>
                        </a:lnTo>
                        <a:lnTo>
                          <a:pt x="19" y="16"/>
                        </a:lnTo>
                        <a:lnTo>
                          <a:pt x="19" y="14"/>
                        </a:lnTo>
                        <a:lnTo>
                          <a:pt x="17" y="12"/>
                        </a:lnTo>
                        <a:lnTo>
                          <a:pt x="16" y="12"/>
                        </a:lnTo>
                        <a:lnTo>
                          <a:pt x="12" y="12"/>
                        </a:lnTo>
                        <a:lnTo>
                          <a:pt x="11" y="11"/>
                        </a:lnTo>
                        <a:lnTo>
                          <a:pt x="9" y="9"/>
                        </a:lnTo>
                        <a:lnTo>
                          <a:pt x="7" y="7"/>
                        </a:lnTo>
                        <a:lnTo>
                          <a:pt x="5" y="5"/>
                        </a:lnTo>
                        <a:lnTo>
                          <a:pt x="4" y="4"/>
                        </a:lnTo>
                        <a:lnTo>
                          <a:pt x="0" y="4"/>
                        </a:lnTo>
                        <a:lnTo>
                          <a:pt x="2" y="2"/>
                        </a:lnTo>
                        <a:lnTo>
                          <a:pt x="4" y="0"/>
                        </a:lnTo>
                        <a:lnTo>
                          <a:pt x="5" y="0"/>
                        </a:lnTo>
                        <a:lnTo>
                          <a:pt x="7" y="2"/>
                        </a:lnTo>
                        <a:lnTo>
                          <a:pt x="9" y="4"/>
                        </a:lnTo>
                        <a:lnTo>
                          <a:pt x="11" y="5"/>
                        </a:lnTo>
                        <a:lnTo>
                          <a:pt x="14" y="7"/>
                        </a:lnTo>
                        <a:lnTo>
                          <a:pt x="19" y="7"/>
                        </a:lnTo>
                        <a:lnTo>
                          <a:pt x="19" y="9"/>
                        </a:lnTo>
                        <a:lnTo>
                          <a:pt x="19" y="11"/>
                        </a:lnTo>
                        <a:lnTo>
                          <a:pt x="21" y="16"/>
                        </a:lnTo>
                        <a:lnTo>
                          <a:pt x="22" y="16"/>
                        </a:lnTo>
                        <a:lnTo>
                          <a:pt x="26" y="16"/>
                        </a:lnTo>
                        <a:lnTo>
                          <a:pt x="26" y="19"/>
                        </a:lnTo>
                        <a:lnTo>
                          <a:pt x="26" y="17"/>
                        </a:lnTo>
                        <a:lnTo>
                          <a:pt x="26" y="19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13" name="Freeform 287">
                    <a:extLst>
                      <a:ext uri="{FF2B5EF4-FFF2-40B4-BE49-F238E27FC236}">
                        <a16:creationId xmlns:a16="http://schemas.microsoft.com/office/drawing/2014/main" id="{E5A0ADFD-EC64-7846-B1C1-55678666855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9" y="714"/>
                    <a:ext cx="26" cy="21"/>
                  </a:xfrm>
                  <a:custGeom>
                    <a:avLst/>
                    <a:gdLst>
                      <a:gd name="T0" fmla="*/ 26 w 26"/>
                      <a:gd name="T1" fmla="*/ 19 h 21"/>
                      <a:gd name="T2" fmla="*/ 26 w 26"/>
                      <a:gd name="T3" fmla="*/ 21 h 21"/>
                      <a:gd name="T4" fmla="*/ 24 w 26"/>
                      <a:gd name="T5" fmla="*/ 21 h 21"/>
                      <a:gd name="T6" fmla="*/ 22 w 26"/>
                      <a:gd name="T7" fmla="*/ 19 h 21"/>
                      <a:gd name="T8" fmla="*/ 21 w 26"/>
                      <a:gd name="T9" fmla="*/ 19 h 21"/>
                      <a:gd name="T10" fmla="*/ 19 w 26"/>
                      <a:gd name="T11" fmla="*/ 16 h 21"/>
                      <a:gd name="T12" fmla="*/ 19 w 26"/>
                      <a:gd name="T13" fmla="*/ 14 h 21"/>
                      <a:gd name="T14" fmla="*/ 17 w 26"/>
                      <a:gd name="T15" fmla="*/ 12 h 21"/>
                      <a:gd name="T16" fmla="*/ 16 w 26"/>
                      <a:gd name="T17" fmla="*/ 12 h 21"/>
                      <a:gd name="T18" fmla="*/ 12 w 26"/>
                      <a:gd name="T19" fmla="*/ 12 h 21"/>
                      <a:gd name="T20" fmla="*/ 11 w 26"/>
                      <a:gd name="T21" fmla="*/ 11 h 21"/>
                      <a:gd name="T22" fmla="*/ 9 w 26"/>
                      <a:gd name="T23" fmla="*/ 9 h 21"/>
                      <a:gd name="T24" fmla="*/ 7 w 26"/>
                      <a:gd name="T25" fmla="*/ 7 h 21"/>
                      <a:gd name="T26" fmla="*/ 5 w 26"/>
                      <a:gd name="T27" fmla="*/ 5 h 21"/>
                      <a:gd name="T28" fmla="*/ 4 w 26"/>
                      <a:gd name="T29" fmla="*/ 4 h 21"/>
                      <a:gd name="T30" fmla="*/ 0 w 26"/>
                      <a:gd name="T31" fmla="*/ 4 h 21"/>
                      <a:gd name="T32" fmla="*/ 2 w 26"/>
                      <a:gd name="T33" fmla="*/ 2 h 21"/>
                      <a:gd name="T34" fmla="*/ 4 w 26"/>
                      <a:gd name="T35" fmla="*/ 0 h 21"/>
                      <a:gd name="T36" fmla="*/ 5 w 26"/>
                      <a:gd name="T37" fmla="*/ 0 h 21"/>
                      <a:gd name="T38" fmla="*/ 7 w 26"/>
                      <a:gd name="T39" fmla="*/ 2 h 21"/>
                      <a:gd name="T40" fmla="*/ 9 w 26"/>
                      <a:gd name="T41" fmla="*/ 4 h 21"/>
                      <a:gd name="T42" fmla="*/ 11 w 26"/>
                      <a:gd name="T43" fmla="*/ 5 h 21"/>
                      <a:gd name="T44" fmla="*/ 14 w 26"/>
                      <a:gd name="T45" fmla="*/ 7 h 21"/>
                      <a:gd name="T46" fmla="*/ 19 w 26"/>
                      <a:gd name="T47" fmla="*/ 7 h 21"/>
                      <a:gd name="T48" fmla="*/ 19 w 26"/>
                      <a:gd name="T49" fmla="*/ 9 h 21"/>
                      <a:gd name="T50" fmla="*/ 19 w 26"/>
                      <a:gd name="T51" fmla="*/ 11 h 21"/>
                      <a:gd name="T52" fmla="*/ 21 w 26"/>
                      <a:gd name="T53" fmla="*/ 16 h 21"/>
                      <a:gd name="T54" fmla="*/ 22 w 26"/>
                      <a:gd name="T55" fmla="*/ 16 h 21"/>
                      <a:gd name="T56" fmla="*/ 26 w 26"/>
                      <a:gd name="T57" fmla="*/ 16 h 21"/>
                      <a:gd name="T58" fmla="*/ 26 w 26"/>
                      <a:gd name="T59" fmla="*/ 19 h 21"/>
                      <a:gd name="T60" fmla="*/ 26 w 26"/>
                      <a:gd name="T61" fmla="*/ 17 h 21"/>
                      <a:gd name="T62" fmla="*/ 26 w 26"/>
                      <a:gd name="T63" fmla="*/ 19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26" h="21">
                        <a:moveTo>
                          <a:pt x="26" y="19"/>
                        </a:moveTo>
                        <a:lnTo>
                          <a:pt x="26" y="21"/>
                        </a:lnTo>
                        <a:lnTo>
                          <a:pt x="24" y="21"/>
                        </a:lnTo>
                        <a:lnTo>
                          <a:pt x="22" y="19"/>
                        </a:lnTo>
                        <a:lnTo>
                          <a:pt x="21" y="19"/>
                        </a:lnTo>
                        <a:lnTo>
                          <a:pt x="19" y="16"/>
                        </a:lnTo>
                        <a:lnTo>
                          <a:pt x="19" y="14"/>
                        </a:lnTo>
                        <a:lnTo>
                          <a:pt x="17" y="12"/>
                        </a:lnTo>
                        <a:lnTo>
                          <a:pt x="16" y="12"/>
                        </a:lnTo>
                        <a:lnTo>
                          <a:pt x="12" y="12"/>
                        </a:lnTo>
                        <a:lnTo>
                          <a:pt x="11" y="11"/>
                        </a:lnTo>
                        <a:lnTo>
                          <a:pt x="9" y="9"/>
                        </a:lnTo>
                        <a:lnTo>
                          <a:pt x="7" y="7"/>
                        </a:lnTo>
                        <a:lnTo>
                          <a:pt x="5" y="5"/>
                        </a:lnTo>
                        <a:lnTo>
                          <a:pt x="4" y="4"/>
                        </a:lnTo>
                        <a:lnTo>
                          <a:pt x="0" y="4"/>
                        </a:lnTo>
                        <a:lnTo>
                          <a:pt x="2" y="2"/>
                        </a:lnTo>
                        <a:lnTo>
                          <a:pt x="4" y="0"/>
                        </a:lnTo>
                        <a:lnTo>
                          <a:pt x="5" y="0"/>
                        </a:lnTo>
                        <a:lnTo>
                          <a:pt x="7" y="2"/>
                        </a:lnTo>
                        <a:lnTo>
                          <a:pt x="9" y="4"/>
                        </a:lnTo>
                        <a:lnTo>
                          <a:pt x="11" y="5"/>
                        </a:lnTo>
                        <a:lnTo>
                          <a:pt x="14" y="7"/>
                        </a:lnTo>
                        <a:lnTo>
                          <a:pt x="19" y="7"/>
                        </a:lnTo>
                        <a:lnTo>
                          <a:pt x="19" y="9"/>
                        </a:lnTo>
                        <a:lnTo>
                          <a:pt x="19" y="11"/>
                        </a:lnTo>
                        <a:lnTo>
                          <a:pt x="21" y="16"/>
                        </a:lnTo>
                        <a:lnTo>
                          <a:pt x="22" y="16"/>
                        </a:lnTo>
                        <a:lnTo>
                          <a:pt x="26" y="16"/>
                        </a:lnTo>
                        <a:lnTo>
                          <a:pt x="26" y="19"/>
                        </a:lnTo>
                        <a:lnTo>
                          <a:pt x="26" y="17"/>
                        </a:lnTo>
                        <a:lnTo>
                          <a:pt x="26" y="19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09" name="Group 1908">
                  <a:extLst>
                    <a:ext uri="{FF2B5EF4-FFF2-40B4-BE49-F238E27FC236}">
                      <a16:creationId xmlns:a16="http://schemas.microsoft.com/office/drawing/2014/main" id="{007CECE4-1A55-5C40-B67B-F01E26F4AC3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67" y="701"/>
                  <a:ext cx="7" cy="7"/>
                  <a:chOff x="467" y="701"/>
                  <a:chExt cx="7" cy="7"/>
                </a:xfrm>
              </p:grpSpPr>
              <p:sp>
                <p:nvSpPr>
                  <p:cNvPr id="1910" name="Freeform 284">
                    <a:extLst>
                      <a:ext uri="{FF2B5EF4-FFF2-40B4-BE49-F238E27FC236}">
                        <a16:creationId xmlns:a16="http://schemas.microsoft.com/office/drawing/2014/main" id="{178FDDB6-482F-1749-8BC2-EBFFB4A620B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7" y="701"/>
                    <a:ext cx="7" cy="7"/>
                  </a:xfrm>
                  <a:custGeom>
                    <a:avLst/>
                    <a:gdLst>
                      <a:gd name="T0" fmla="*/ 5 w 7"/>
                      <a:gd name="T1" fmla="*/ 7 h 7"/>
                      <a:gd name="T2" fmla="*/ 4 w 7"/>
                      <a:gd name="T3" fmla="*/ 5 h 7"/>
                      <a:gd name="T4" fmla="*/ 2 w 7"/>
                      <a:gd name="T5" fmla="*/ 3 h 7"/>
                      <a:gd name="T6" fmla="*/ 0 w 7"/>
                      <a:gd name="T7" fmla="*/ 0 h 7"/>
                      <a:gd name="T8" fmla="*/ 4 w 7"/>
                      <a:gd name="T9" fmla="*/ 0 h 7"/>
                      <a:gd name="T10" fmla="*/ 5 w 7"/>
                      <a:gd name="T11" fmla="*/ 2 h 7"/>
                      <a:gd name="T12" fmla="*/ 5 w 7"/>
                      <a:gd name="T13" fmla="*/ 3 h 7"/>
                      <a:gd name="T14" fmla="*/ 7 w 7"/>
                      <a:gd name="T15" fmla="*/ 5 h 7"/>
                      <a:gd name="T16" fmla="*/ 7 w 7"/>
                      <a:gd name="T17" fmla="*/ 7 h 7"/>
                      <a:gd name="T18" fmla="*/ 5 w 7"/>
                      <a:gd name="T19" fmla="*/ 7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" h="7">
                        <a:moveTo>
                          <a:pt x="5" y="7"/>
                        </a:moveTo>
                        <a:lnTo>
                          <a:pt x="4" y="5"/>
                        </a:lnTo>
                        <a:lnTo>
                          <a:pt x="2" y="3"/>
                        </a:lnTo>
                        <a:lnTo>
                          <a:pt x="0" y="0"/>
                        </a:lnTo>
                        <a:lnTo>
                          <a:pt x="4" y="0"/>
                        </a:lnTo>
                        <a:lnTo>
                          <a:pt x="5" y="2"/>
                        </a:lnTo>
                        <a:lnTo>
                          <a:pt x="5" y="3"/>
                        </a:lnTo>
                        <a:lnTo>
                          <a:pt x="7" y="5"/>
                        </a:lnTo>
                        <a:lnTo>
                          <a:pt x="7" y="7"/>
                        </a:lnTo>
                        <a:lnTo>
                          <a:pt x="5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11" name="Freeform 285">
                    <a:extLst>
                      <a:ext uri="{FF2B5EF4-FFF2-40B4-BE49-F238E27FC236}">
                        <a16:creationId xmlns:a16="http://schemas.microsoft.com/office/drawing/2014/main" id="{67129DA3-8553-7C44-A68D-359898DDC33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7" y="701"/>
                    <a:ext cx="7" cy="7"/>
                  </a:xfrm>
                  <a:custGeom>
                    <a:avLst/>
                    <a:gdLst>
                      <a:gd name="T0" fmla="*/ 5 w 7"/>
                      <a:gd name="T1" fmla="*/ 7 h 7"/>
                      <a:gd name="T2" fmla="*/ 4 w 7"/>
                      <a:gd name="T3" fmla="*/ 5 h 7"/>
                      <a:gd name="T4" fmla="*/ 2 w 7"/>
                      <a:gd name="T5" fmla="*/ 3 h 7"/>
                      <a:gd name="T6" fmla="*/ 0 w 7"/>
                      <a:gd name="T7" fmla="*/ 0 h 7"/>
                      <a:gd name="T8" fmla="*/ 4 w 7"/>
                      <a:gd name="T9" fmla="*/ 0 h 7"/>
                      <a:gd name="T10" fmla="*/ 5 w 7"/>
                      <a:gd name="T11" fmla="*/ 2 h 7"/>
                      <a:gd name="T12" fmla="*/ 5 w 7"/>
                      <a:gd name="T13" fmla="*/ 3 h 7"/>
                      <a:gd name="T14" fmla="*/ 7 w 7"/>
                      <a:gd name="T15" fmla="*/ 5 h 7"/>
                      <a:gd name="T16" fmla="*/ 7 w 7"/>
                      <a:gd name="T17" fmla="*/ 7 h 7"/>
                      <a:gd name="T18" fmla="*/ 5 w 7"/>
                      <a:gd name="T19" fmla="*/ 7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" h="7">
                        <a:moveTo>
                          <a:pt x="5" y="7"/>
                        </a:moveTo>
                        <a:lnTo>
                          <a:pt x="4" y="5"/>
                        </a:lnTo>
                        <a:lnTo>
                          <a:pt x="2" y="3"/>
                        </a:lnTo>
                        <a:lnTo>
                          <a:pt x="0" y="0"/>
                        </a:lnTo>
                        <a:lnTo>
                          <a:pt x="4" y="0"/>
                        </a:lnTo>
                        <a:lnTo>
                          <a:pt x="5" y="2"/>
                        </a:lnTo>
                        <a:lnTo>
                          <a:pt x="5" y="3"/>
                        </a:lnTo>
                        <a:lnTo>
                          <a:pt x="7" y="5"/>
                        </a:lnTo>
                        <a:lnTo>
                          <a:pt x="7" y="7"/>
                        </a:lnTo>
                        <a:lnTo>
                          <a:pt x="5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651" name="Group 1650">
                <a:extLst>
                  <a:ext uri="{FF2B5EF4-FFF2-40B4-BE49-F238E27FC236}">
                    <a16:creationId xmlns:a16="http://schemas.microsoft.com/office/drawing/2014/main" id="{6A4E8469-7133-2143-9AA7-D9E2041013E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12" y="532"/>
                <a:ext cx="104" cy="54"/>
                <a:chOff x="412" y="532"/>
                <a:chExt cx="104" cy="54"/>
              </a:xfrm>
            </p:grpSpPr>
            <p:sp>
              <p:nvSpPr>
                <p:cNvPr id="1895" name="Freeform 269">
                  <a:extLst>
                    <a:ext uri="{FF2B5EF4-FFF2-40B4-BE49-F238E27FC236}">
                      <a16:creationId xmlns:a16="http://schemas.microsoft.com/office/drawing/2014/main" id="{60C71133-26A6-654A-A6CA-883E7FB653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" y="532"/>
                  <a:ext cx="104" cy="54"/>
                </a:xfrm>
                <a:custGeom>
                  <a:avLst/>
                  <a:gdLst>
                    <a:gd name="T0" fmla="*/ 101 w 104"/>
                    <a:gd name="T1" fmla="*/ 7 h 54"/>
                    <a:gd name="T2" fmla="*/ 104 w 104"/>
                    <a:gd name="T3" fmla="*/ 12 h 54"/>
                    <a:gd name="T4" fmla="*/ 101 w 104"/>
                    <a:gd name="T5" fmla="*/ 16 h 54"/>
                    <a:gd name="T6" fmla="*/ 96 w 104"/>
                    <a:gd name="T7" fmla="*/ 17 h 54"/>
                    <a:gd name="T8" fmla="*/ 92 w 104"/>
                    <a:gd name="T9" fmla="*/ 21 h 54"/>
                    <a:gd name="T10" fmla="*/ 89 w 104"/>
                    <a:gd name="T11" fmla="*/ 27 h 54"/>
                    <a:gd name="T12" fmla="*/ 84 w 104"/>
                    <a:gd name="T13" fmla="*/ 32 h 54"/>
                    <a:gd name="T14" fmla="*/ 80 w 104"/>
                    <a:gd name="T15" fmla="*/ 39 h 54"/>
                    <a:gd name="T16" fmla="*/ 74 w 104"/>
                    <a:gd name="T17" fmla="*/ 46 h 54"/>
                    <a:gd name="T18" fmla="*/ 67 w 104"/>
                    <a:gd name="T19" fmla="*/ 48 h 54"/>
                    <a:gd name="T20" fmla="*/ 64 w 104"/>
                    <a:gd name="T21" fmla="*/ 48 h 54"/>
                    <a:gd name="T22" fmla="*/ 59 w 104"/>
                    <a:gd name="T23" fmla="*/ 48 h 54"/>
                    <a:gd name="T24" fmla="*/ 50 w 104"/>
                    <a:gd name="T25" fmla="*/ 49 h 54"/>
                    <a:gd name="T26" fmla="*/ 45 w 104"/>
                    <a:gd name="T27" fmla="*/ 51 h 54"/>
                    <a:gd name="T28" fmla="*/ 37 w 104"/>
                    <a:gd name="T29" fmla="*/ 54 h 54"/>
                    <a:gd name="T30" fmla="*/ 28 w 104"/>
                    <a:gd name="T31" fmla="*/ 54 h 54"/>
                    <a:gd name="T32" fmla="*/ 21 w 104"/>
                    <a:gd name="T33" fmla="*/ 51 h 54"/>
                    <a:gd name="T34" fmla="*/ 13 w 104"/>
                    <a:gd name="T35" fmla="*/ 46 h 54"/>
                    <a:gd name="T36" fmla="*/ 8 w 104"/>
                    <a:gd name="T37" fmla="*/ 41 h 54"/>
                    <a:gd name="T38" fmla="*/ 3 w 104"/>
                    <a:gd name="T39" fmla="*/ 34 h 54"/>
                    <a:gd name="T40" fmla="*/ 0 w 104"/>
                    <a:gd name="T41" fmla="*/ 34 h 54"/>
                    <a:gd name="T42" fmla="*/ 3 w 104"/>
                    <a:gd name="T43" fmla="*/ 31 h 54"/>
                    <a:gd name="T44" fmla="*/ 5 w 104"/>
                    <a:gd name="T45" fmla="*/ 27 h 54"/>
                    <a:gd name="T46" fmla="*/ 6 w 104"/>
                    <a:gd name="T47" fmla="*/ 24 h 54"/>
                    <a:gd name="T48" fmla="*/ 6 w 104"/>
                    <a:gd name="T49" fmla="*/ 19 h 54"/>
                    <a:gd name="T50" fmla="*/ 10 w 104"/>
                    <a:gd name="T51" fmla="*/ 17 h 54"/>
                    <a:gd name="T52" fmla="*/ 16 w 104"/>
                    <a:gd name="T53" fmla="*/ 14 h 54"/>
                    <a:gd name="T54" fmla="*/ 16 w 104"/>
                    <a:gd name="T55" fmla="*/ 10 h 54"/>
                    <a:gd name="T56" fmla="*/ 20 w 104"/>
                    <a:gd name="T57" fmla="*/ 12 h 54"/>
                    <a:gd name="T58" fmla="*/ 25 w 104"/>
                    <a:gd name="T59" fmla="*/ 16 h 54"/>
                    <a:gd name="T60" fmla="*/ 30 w 104"/>
                    <a:gd name="T61" fmla="*/ 16 h 54"/>
                    <a:gd name="T62" fmla="*/ 35 w 104"/>
                    <a:gd name="T63" fmla="*/ 16 h 54"/>
                    <a:gd name="T64" fmla="*/ 38 w 104"/>
                    <a:gd name="T65" fmla="*/ 16 h 54"/>
                    <a:gd name="T66" fmla="*/ 40 w 104"/>
                    <a:gd name="T67" fmla="*/ 14 h 54"/>
                    <a:gd name="T68" fmla="*/ 45 w 104"/>
                    <a:gd name="T69" fmla="*/ 10 h 54"/>
                    <a:gd name="T70" fmla="*/ 55 w 104"/>
                    <a:gd name="T71" fmla="*/ 7 h 54"/>
                    <a:gd name="T72" fmla="*/ 64 w 104"/>
                    <a:gd name="T73" fmla="*/ 5 h 54"/>
                    <a:gd name="T74" fmla="*/ 67 w 104"/>
                    <a:gd name="T75" fmla="*/ 2 h 54"/>
                    <a:gd name="T76" fmla="*/ 77 w 104"/>
                    <a:gd name="T77" fmla="*/ 0 h 54"/>
                    <a:gd name="T78" fmla="*/ 86 w 104"/>
                    <a:gd name="T79" fmla="*/ 0 h 54"/>
                    <a:gd name="T80" fmla="*/ 94 w 104"/>
                    <a:gd name="T81" fmla="*/ 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04" h="54">
                      <a:moveTo>
                        <a:pt x="97" y="5"/>
                      </a:moveTo>
                      <a:lnTo>
                        <a:pt x="101" y="7"/>
                      </a:lnTo>
                      <a:lnTo>
                        <a:pt x="102" y="9"/>
                      </a:lnTo>
                      <a:lnTo>
                        <a:pt x="104" y="12"/>
                      </a:lnTo>
                      <a:lnTo>
                        <a:pt x="102" y="14"/>
                      </a:lnTo>
                      <a:lnTo>
                        <a:pt x="101" y="16"/>
                      </a:lnTo>
                      <a:lnTo>
                        <a:pt x="99" y="16"/>
                      </a:lnTo>
                      <a:lnTo>
                        <a:pt x="96" y="17"/>
                      </a:lnTo>
                      <a:lnTo>
                        <a:pt x="92" y="19"/>
                      </a:lnTo>
                      <a:lnTo>
                        <a:pt x="92" y="21"/>
                      </a:lnTo>
                      <a:lnTo>
                        <a:pt x="91" y="24"/>
                      </a:lnTo>
                      <a:lnTo>
                        <a:pt x="89" y="27"/>
                      </a:lnTo>
                      <a:lnTo>
                        <a:pt x="86" y="29"/>
                      </a:lnTo>
                      <a:lnTo>
                        <a:pt x="84" y="32"/>
                      </a:lnTo>
                      <a:lnTo>
                        <a:pt x="82" y="37"/>
                      </a:lnTo>
                      <a:lnTo>
                        <a:pt x="80" y="39"/>
                      </a:lnTo>
                      <a:lnTo>
                        <a:pt x="79" y="44"/>
                      </a:lnTo>
                      <a:lnTo>
                        <a:pt x="74" y="46"/>
                      </a:lnTo>
                      <a:lnTo>
                        <a:pt x="70" y="46"/>
                      </a:lnTo>
                      <a:lnTo>
                        <a:pt x="67" y="48"/>
                      </a:lnTo>
                      <a:lnTo>
                        <a:pt x="65" y="48"/>
                      </a:lnTo>
                      <a:lnTo>
                        <a:pt x="64" y="48"/>
                      </a:lnTo>
                      <a:lnTo>
                        <a:pt x="62" y="46"/>
                      </a:lnTo>
                      <a:lnTo>
                        <a:pt x="59" y="48"/>
                      </a:lnTo>
                      <a:lnTo>
                        <a:pt x="55" y="48"/>
                      </a:lnTo>
                      <a:lnTo>
                        <a:pt x="50" y="49"/>
                      </a:lnTo>
                      <a:lnTo>
                        <a:pt x="47" y="49"/>
                      </a:lnTo>
                      <a:lnTo>
                        <a:pt x="45" y="51"/>
                      </a:lnTo>
                      <a:lnTo>
                        <a:pt x="42" y="51"/>
                      </a:lnTo>
                      <a:lnTo>
                        <a:pt x="37" y="54"/>
                      </a:lnTo>
                      <a:lnTo>
                        <a:pt x="33" y="54"/>
                      </a:lnTo>
                      <a:lnTo>
                        <a:pt x="28" y="54"/>
                      </a:lnTo>
                      <a:lnTo>
                        <a:pt x="25" y="53"/>
                      </a:lnTo>
                      <a:lnTo>
                        <a:pt x="21" y="51"/>
                      </a:lnTo>
                      <a:lnTo>
                        <a:pt x="18" y="48"/>
                      </a:lnTo>
                      <a:lnTo>
                        <a:pt x="13" y="46"/>
                      </a:lnTo>
                      <a:lnTo>
                        <a:pt x="11" y="42"/>
                      </a:lnTo>
                      <a:lnTo>
                        <a:pt x="8" y="41"/>
                      </a:lnTo>
                      <a:lnTo>
                        <a:pt x="5" y="37"/>
                      </a:lnTo>
                      <a:lnTo>
                        <a:pt x="3" y="34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0" y="32"/>
                      </a:lnTo>
                      <a:lnTo>
                        <a:pt x="3" y="31"/>
                      </a:lnTo>
                      <a:lnTo>
                        <a:pt x="5" y="31"/>
                      </a:lnTo>
                      <a:lnTo>
                        <a:pt x="5" y="27"/>
                      </a:lnTo>
                      <a:lnTo>
                        <a:pt x="5" y="26"/>
                      </a:lnTo>
                      <a:lnTo>
                        <a:pt x="6" y="24"/>
                      </a:lnTo>
                      <a:lnTo>
                        <a:pt x="8" y="21"/>
                      </a:lnTo>
                      <a:lnTo>
                        <a:pt x="6" y="19"/>
                      </a:lnTo>
                      <a:lnTo>
                        <a:pt x="6" y="17"/>
                      </a:lnTo>
                      <a:lnTo>
                        <a:pt x="10" y="17"/>
                      </a:lnTo>
                      <a:lnTo>
                        <a:pt x="15" y="17"/>
                      </a:lnTo>
                      <a:lnTo>
                        <a:pt x="16" y="14"/>
                      </a:lnTo>
                      <a:lnTo>
                        <a:pt x="16" y="12"/>
                      </a:lnTo>
                      <a:lnTo>
                        <a:pt x="16" y="10"/>
                      </a:lnTo>
                      <a:lnTo>
                        <a:pt x="18" y="10"/>
                      </a:lnTo>
                      <a:lnTo>
                        <a:pt x="20" y="12"/>
                      </a:lnTo>
                      <a:lnTo>
                        <a:pt x="21" y="14"/>
                      </a:lnTo>
                      <a:lnTo>
                        <a:pt x="25" y="16"/>
                      </a:lnTo>
                      <a:lnTo>
                        <a:pt x="27" y="16"/>
                      </a:lnTo>
                      <a:lnTo>
                        <a:pt x="30" y="16"/>
                      </a:lnTo>
                      <a:lnTo>
                        <a:pt x="32" y="16"/>
                      </a:lnTo>
                      <a:lnTo>
                        <a:pt x="35" y="16"/>
                      </a:lnTo>
                      <a:lnTo>
                        <a:pt x="37" y="16"/>
                      </a:lnTo>
                      <a:lnTo>
                        <a:pt x="38" y="16"/>
                      </a:lnTo>
                      <a:lnTo>
                        <a:pt x="38" y="14"/>
                      </a:lnTo>
                      <a:lnTo>
                        <a:pt x="40" y="14"/>
                      </a:lnTo>
                      <a:lnTo>
                        <a:pt x="42" y="10"/>
                      </a:lnTo>
                      <a:lnTo>
                        <a:pt x="45" y="10"/>
                      </a:lnTo>
                      <a:lnTo>
                        <a:pt x="50" y="9"/>
                      </a:lnTo>
                      <a:lnTo>
                        <a:pt x="55" y="7"/>
                      </a:lnTo>
                      <a:lnTo>
                        <a:pt x="60" y="7"/>
                      </a:lnTo>
                      <a:lnTo>
                        <a:pt x="64" y="5"/>
                      </a:lnTo>
                      <a:lnTo>
                        <a:pt x="67" y="5"/>
                      </a:lnTo>
                      <a:lnTo>
                        <a:pt x="67" y="2"/>
                      </a:lnTo>
                      <a:lnTo>
                        <a:pt x="72" y="0"/>
                      </a:lnTo>
                      <a:lnTo>
                        <a:pt x="77" y="0"/>
                      </a:lnTo>
                      <a:lnTo>
                        <a:pt x="80" y="0"/>
                      </a:lnTo>
                      <a:lnTo>
                        <a:pt x="86" y="0"/>
                      </a:lnTo>
                      <a:lnTo>
                        <a:pt x="89" y="4"/>
                      </a:lnTo>
                      <a:lnTo>
                        <a:pt x="94" y="4"/>
                      </a:lnTo>
                      <a:lnTo>
                        <a:pt x="97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96" name="Freeform 270">
                  <a:extLst>
                    <a:ext uri="{FF2B5EF4-FFF2-40B4-BE49-F238E27FC236}">
                      <a16:creationId xmlns:a16="http://schemas.microsoft.com/office/drawing/2014/main" id="{0F8D3540-2753-3549-A304-E9A39B5D21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" y="532"/>
                  <a:ext cx="104" cy="54"/>
                </a:xfrm>
                <a:custGeom>
                  <a:avLst/>
                  <a:gdLst>
                    <a:gd name="T0" fmla="*/ 101 w 104"/>
                    <a:gd name="T1" fmla="*/ 7 h 54"/>
                    <a:gd name="T2" fmla="*/ 104 w 104"/>
                    <a:gd name="T3" fmla="*/ 12 h 54"/>
                    <a:gd name="T4" fmla="*/ 101 w 104"/>
                    <a:gd name="T5" fmla="*/ 16 h 54"/>
                    <a:gd name="T6" fmla="*/ 96 w 104"/>
                    <a:gd name="T7" fmla="*/ 17 h 54"/>
                    <a:gd name="T8" fmla="*/ 92 w 104"/>
                    <a:gd name="T9" fmla="*/ 21 h 54"/>
                    <a:gd name="T10" fmla="*/ 89 w 104"/>
                    <a:gd name="T11" fmla="*/ 27 h 54"/>
                    <a:gd name="T12" fmla="*/ 84 w 104"/>
                    <a:gd name="T13" fmla="*/ 32 h 54"/>
                    <a:gd name="T14" fmla="*/ 80 w 104"/>
                    <a:gd name="T15" fmla="*/ 39 h 54"/>
                    <a:gd name="T16" fmla="*/ 74 w 104"/>
                    <a:gd name="T17" fmla="*/ 46 h 54"/>
                    <a:gd name="T18" fmla="*/ 67 w 104"/>
                    <a:gd name="T19" fmla="*/ 48 h 54"/>
                    <a:gd name="T20" fmla="*/ 64 w 104"/>
                    <a:gd name="T21" fmla="*/ 48 h 54"/>
                    <a:gd name="T22" fmla="*/ 59 w 104"/>
                    <a:gd name="T23" fmla="*/ 48 h 54"/>
                    <a:gd name="T24" fmla="*/ 50 w 104"/>
                    <a:gd name="T25" fmla="*/ 49 h 54"/>
                    <a:gd name="T26" fmla="*/ 45 w 104"/>
                    <a:gd name="T27" fmla="*/ 51 h 54"/>
                    <a:gd name="T28" fmla="*/ 37 w 104"/>
                    <a:gd name="T29" fmla="*/ 54 h 54"/>
                    <a:gd name="T30" fmla="*/ 28 w 104"/>
                    <a:gd name="T31" fmla="*/ 54 h 54"/>
                    <a:gd name="T32" fmla="*/ 21 w 104"/>
                    <a:gd name="T33" fmla="*/ 51 h 54"/>
                    <a:gd name="T34" fmla="*/ 13 w 104"/>
                    <a:gd name="T35" fmla="*/ 46 h 54"/>
                    <a:gd name="T36" fmla="*/ 8 w 104"/>
                    <a:gd name="T37" fmla="*/ 41 h 54"/>
                    <a:gd name="T38" fmla="*/ 3 w 104"/>
                    <a:gd name="T39" fmla="*/ 34 h 54"/>
                    <a:gd name="T40" fmla="*/ 0 w 104"/>
                    <a:gd name="T41" fmla="*/ 34 h 54"/>
                    <a:gd name="T42" fmla="*/ 3 w 104"/>
                    <a:gd name="T43" fmla="*/ 31 h 54"/>
                    <a:gd name="T44" fmla="*/ 5 w 104"/>
                    <a:gd name="T45" fmla="*/ 27 h 54"/>
                    <a:gd name="T46" fmla="*/ 6 w 104"/>
                    <a:gd name="T47" fmla="*/ 24 h 54"/>
                    <a:gd name="T48" fmla="*/ 6 w 104"/>
                    <a:gd name="T49" fmla="*/ 19 h 54"/>
                    <a:gd name="T50" fmla="*/ 10 w 104"/>
                    <a:gd name="T51" fmla="*/ 17 h 54"/>
                    <a:gd name="T52" fmla="*/ 16 w 104"/>
                    <a:gd name="T53" fmla="*/ 14 h 54"/>
                    <a:gd name="T54" fmla="*/ 16 w 104"/>
                    <a:gd name="T55" fmla="*/ 10 h 54"/>
                    <a:gd name="T56" fmla="*/ 20 w 104"/>
                    <a:gd name="T57" fmla="*/ 12 h 54"/>
                    <a:gd name="T58" fmla="*/ 25 w 104"/>
                    <a:gd name="T59" fmla="*/ 16 h 54"/>
                    <a:gd name="T60" fmla="*/ 30 w 104"/>
                    <a:gd name="T61" fmla="*/ 16 h 54"/>
                    <a:gd name="T62" fmla="*/ 35 w 104"/>
                    <a:gd name="T63" fmla="*/ 16 h 54"/>
                    <a:gd name="T64" fmla="*/ 38 w 104"/>
                    <a:gd name="T65" fmla="*/ 16 h 54"/>
                    <a:gd name="T66" fmla="*/ 40 w 104"/>
                    <a:gd name="T67" fmla="*/ 14 h 54"/>
                    <a:gd name="T68" fmla="*/ 45 w 104"/>
                    <a:gd name="T69" fmla="*/ 10 h 54"/>
                    <a:gd name="T70" fmla="*/ 55 w 104"/>
                    <a:gd name="T71" fmla="*/ 7 h 54"/>
                    <a:gd name="T72" fmla="*/ 64 w 104"/>
                    <a:gd name="T73" fmla="*/ 5 h 54"/>
                    <a:gd name="T74" fmla="*/ 67 w 104"/>
                    <a:gd name="T75" fmla="*/ 2 h 54"/>
                    <a:gd name="T76" fmla="*/ 77 w 104"/>
                    <a:gd name="T77" fmla="*/ 0 h 54"/>
                    <a:gd name="T78" fmla="*/ 86 w 104"/>
                    <a:gd name="T79" fmla="*/ 0 h 54"/>
                    <a:gd name="T80" fmla="*/ 94 w 104"/>
                    <a:gd name="T81" fmla="*/ 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04" h="54">
                      <a:moveTo>
                        <a:pt x="97" y="5"/>
                      </a:moveTo>
                      <a:lnTo>
                        <a:pt x="101" y="7"/>
                      </a:lnTo>
                      <a:lnTo>
                        <a:pt x="102" y="9"/>
                      </a:lnTo>
                      <a:lnTo>
                        <a:pt x="104" y="12"/>
                      </a:lnTo>
                      <a:lnTo>
                        <a:pt x="102" y="14"/>
                      </a:lnTo>
                      <a:lnTo>
                        <a:pt x="101" y="16"/>
                      </a:lnTo>
                      <a:lnTo>
                        <a:pt x="99" y="16"/>
                      </a:lnTo>
                      <a:lnTo>
                        <a:pt x="96" y="17"/>
                      </a:lnTo>
                      <a:lnTo>
                        <a:pt x="92" y="19"/>
                      </a:lnTo>
                      <a:lnTo>
                        <a:pt x="92" y="21"/>
                      </a:lnTo>
                      <a:lnTo>
                        <a:pt x="91" y="24"/>
                      </a:lnTo>
                      <a:lnTo>
                        <a:pt x="89" y="27"/>
                      </a:lnTo>
                      <a:lnTo>
                        <a:pt x="86" y="29"/>
                      </a:lnTo>
                      <a:lnTo>
                        <a:pt x="84" y="32"/>
                      </a:lnTo>
                      <a:lnTo>
                        <a:pt x="82" y="37"/>
                      </a:lnTo>
                      <a:lnTo>
                        <a:pt x="80" y="39"/>
                      </a:lnTo>
                      <a:lnTo>
                        <a:pt x="79" y="44"/>
                      </a:lnTo>
                      <a:lnTo>
                        <a:pt x="74" y="46"/>
                      </a:lnTo>
                      <a:lnTo>
                        <a:pt x="70" y="46"/>
                      </a:lnTo>
                      <a:lnTo>
                        <a:pt x="67" y="48"/>
                      </a:lnTo>
                      <a:lnTo>
                        <a:pt x="65" y="48"/>
                      </a:lnTo>
                      <a:lnTo>
                        <a:pt x="64" y="48"/>
                      </a:lnTo>
                      <a:lnTo>
                        <a:pt x="62" y="46"/>
                      </a:lnTo>
                      <a:lnTo>
                        <a:pt x="59" y="48"/>
                      </a:lnTo>
                      <a:lnTo>
                        <a:pt x="55" y="48"/>
                      </a:lnTo>
                      <a:lnTo>
                        <a:pt x="50" y="49"/>
                      </a:lnTo>
                      <a:lnTo>
                        <a:pt x="47" y="49"/>
                      </a:lnTo>
                      <a:lnTo>
                        <a:pt x="45" y="51"/>
                      </a:lnTo>
                      <a:lnTo>
                        <a:pt x="42" y="51"/>
                      </a:lnTo>
                      <a:lnTo>
                        <a:pt x="37" y="54"/>
                      </a:lnTo>
                      <a:lnTo>
                        <a:pt x="33" y="54"/>
                      </a:lnTo>
                      <a:lnTo>
                        <a:pt x="28" y="54"/>
                      </a:lnTo>
                      <a:lnTo>
                        <a:pt x="25" y="53"/>
                      </a:lnTo>
                      <a:lnTo>
                        <a:pt x="21" y="51"/>
                      </a:lnTo>
                      <a:lnTo>
                        <a:pt x="18" y="48"/>
                      </a:lnTo>
                      <a:lnTo>
                        <a:pt x="13" y="46"/>
                      </a:lnTo>
                      <a:lnTo>
                        <a:pt x="11" y="42"/>
                      </a:lnTo>
                      <a:lnTo>
                        <a:pt x="8" y="41"/>
                      </a:lnTo>
                      <a:lnTo>
                        <a:pt x="5" y="37"/>
                      </a:lnTo>
                      <a:lnTo>
                        <a:pt x="3" y="34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0" y="32"/>
                      </a:lnTo>
                      <a:lnTo>
                        <a:pt x="3" y="31"/>
                      </a:lnTo>
                      <a:lnTo>
                        <a:pt x="5" y="31"/>
                      </a:lnTo>
                      <a:lnTo>
                        <a:pt x="5" y="27"/>
                      </a:lnTo>
                      <a:lnTo>
                        <a:pt x="5" y="26"/>
                      </a:lnTo>
                      <a:lnTo>
                        <a:pt x="6" y="24"/>
                      </a:lnTo>
                      <a:lnTo>
                        <a:pt x="8" y="21"/>
                      </a:lnTo>
                      <a:lnTo>
                        <a:pt x="6" y="19"/>
                      </a:lnTo>
                      <a:lnTo>
                        <a:pt x="6" y="17"/>
                      </a:lnTo>
                      <a:lnTo>
                        <a:pt x="10" y="17"/>
                      </a:lnTo>
                      <a:lnTo>
                        <a:pt x="15" y="17"/>
                      </a:lnTo>
                      <a:lnTo>
                        <a:pt x="16" y="14"/>
                      </a:lnTo>
                      <a:lnTo>
                        <a:pt x="16" y="12"/>
                      </a:lnTo>
                      <a:lnTo>
                        <a:pt x="16" y="10"/>
                      </a:lnTo>
                      <a:lnTo>
                        <a:pt x="18" y="10"/>
                      </a:lnTo>
                      <a:lnTo>
                        <a:pt x="20" y="12"/>
                      </a:lnTo>
                      <a:lnTo>
                        <a:pt x="21" y="14"/>
                      </a:lnTo>
                      <a:lnTo>
                        <a:pt x="25" y="16"/>
                      </a:lnTo>
                      <a:lnTo>
                        <a:pt x="27" y="16"/>
                      </a:lnTo>
                      <a:lnTo>
                        <a:pt x="30" y="16"/>
                      </a:lnTo>
                      <a:lnTo>
                        <a:pt x="32" y="16"/>
                      </a:lnTo>
                      <a:lnTo>
                        <a:pt x="35" y="16"/>
                      </a:lnTo>
                      <a:lnTo>
                        <a:pt x="37" y="16"/>
                      </a:lnTo>
                      <a:lnTo>
                        <a:pt x="38" y="16"/>
                      </a:lnTo>
                      <a:lnTo>
                        <a:pt x="38" y="14"/>
                      </a:lnTo>
                      <a:lnTo>
                        <a:pt x="40" y="14"/>
                      </a:lnTo>
                      <a:lnTo>
                        <a:pt x="42" y="10"/>
                      </a:lnTo>
                      <a:lnTo>
                        <a:pt x="45" y="10"/>
                      </a:lnTo>
                      <a:lnTo>
                        <a:pt x="50" y="9"/>
                      </a:lnTo>
                      <a:lnTo>
                        <a:pt x="55" y="7"/>
                      </a:lnTo>
                      <a:lnTo>
                        <a:pt x="60" y="7"/>
                      </a:lnTo>
                      <a:lnTo>
                        <a:pt x="64" y="5"/>
                      </a:lnTo>
                      <a:lnTo>
                        <a:pt x="67" y="5"/>
                      </a:lnTo>
                      <a:lnTo>
                        <a:pt x="67" y="2"/>
                      </a:lnTo>
                      <a:lnTo>
                        <a:pt x="72" y="0"/>
                      </a:lnTo>
                      <a:lnTo>
                        <a:pt x="77" y="0"/>
                      </a:lnTo>
                      <a:lnTo>
                        <a:pt x="80" y="0"/>
                      </a:lnTo>
                      <a:lnTo>
                        <a:pt x="86" y="0"/>
                      </a:lnTo>
                      <a:lnTo>
                        <a:pt x="89" y="4"/>
                      </a:lnTo>
                      <a:lnTo>
                        <a:pt x="94" y="4"/>
                      </a:lnTo>
                      <a:lnTo>
                        <a:pt x="97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52" name="Group 1651">
                <a:extLst>
                  <a:ext uri="{FF2B5EF4-FFF2-40B4-BE49-F238E27FC236}">
                    <a16:creationId xmlns:a16="http://schemas.microsoft.com/office/drawing/2014/main" id="{CB09D2B8-36D9-784D-BF6B-E4CEA10DA00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0" y="392"/>
                <a:ext cx="68" cy="81"/>
                <a:chOff x="0" y="392"/>
                <a:chExt cx="68" cy="81"/>
              </a:xfrm>
            </p:grpSpPr>
            <p:sp>
              <p:nvSpPr>
                <p:cNvPr id="1893" name="Freeform 267">
                  <a:extLst>
                    <a:ext uri="{FF2B5EF4-FFF2-40B4-BE49-F238E27FC236}">
                      <a16:creationId xmlns:a16="http://schemas.microsoft.com/office/drawing/2014/main" id="{8FE8289F-8128-9B4D-A826-61B6C535FB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0" y="392"/>
                  <a:ext cx="68" cy="81"/>
                </a:xfrm>
                <a:custGeom>
                  <a:avLst/>
                  <a:gdLst>
                    <a:gd name="T0" fmla="*/ 42 w 68"/>
                    <a:gd name="T1" fmla="*/ 12 h 81"/>
                    <a:gd name="T2" fmla="*/ 36 w 68"/>
                    <a:gd name="T3" fmla="*/ 17 h 81"/>
                    <a:gd name="T4" fmla="*/ 46 w 68"/>
                    <a:gd name="T5" fmla="*/ 26 h 81"/>
                    <a:gd name="T6" fmla="*/ 54 w 68"/>
                    <a:gd name="T7" fmla="*/ 21 h 81"/>
                    <a:gd name="T8" fmla="*/ 63 w 68"/>
                    <a:gd name="T9" fmla="*/ 21 h 81"/>
                    <a:gd name="T10" fmla="*/ 64 w 68"/>
                    <a:gd name="T11" fmla="*/ 27 h 81"/>
                    <a:gd name="T12" fmla="*/ 64 w 68"/>
                    <a:gd name="T13" fmla="*/ 31 h 81"/>
                    <a:gd name="T14" fmla="*/ 66 w 68"/>
                    <a:gd name="T15" fmla="*/ 36 h 81"/>
                    <a:gd name="T16" fmla="*/ 66 w 68"/>
                    <a:gd name="T17" fmla="*/ 41 h 81"/>
                    <a:gd name="T18" fmla="*/ 66 w 68"/>
                    <a:gd name="T19" fmla="*/ 46 h 81"/>
                    <a:gd name="T20" fmla="*/ 66 w 68"/>
                    <a:gd name="T21" fmla="*/ 53 h 81"/>
                    <a:gd name="T22" fmla="*/ 64 w 68"/>
                    <a:gd name="T23" fmla="*/ 59 h 81"/>
                    <a:gd name="T24" fmla="*/ 63 w 68"/>
                    <a:gd name="T25" fmla="*/ 66 h 81"/>
                    <a:gd name="T26" fmla="*/ 57 w 68"/>
                    <a:gd name="T27" fmla="*/ 66 h 81"/>
                    <a:gd name="T28" fmla="*/ 51 w 68"/>
                    <a:gd name="T29" fmla="*/ 68 h 81"/>
                    <a:gd name="T30" fmla="*/ 44 w 68"/>
                    <a:gd name="T31" fmla="*/ 70 h 81"/>
                    <a:gd name="T32" fmla="*/ 39 w 68"/>
                    <a:gd name="T33" fmla="*/ 71 h 81"/>
                    <a:gd name="T34" fmla="*/ 36 w 68"/>
                    <a:gd name="T35" fmla="*/ 75 h 81"/>
                    <a:gd name="T36" fmla="*/ 32 w 68"/>
                    <a:gd name="T37" fmla="*/ 73 h 81"/>
                    <a:gd name="T38" fmla="*/ 30 w 68"/>
                    <a:gd name="T39" fmla="*/ 76 h 81"/>
                    <a:gd name="T40" fmla="*/ 27 w 68"/>
                    <a:gd name="T41" fmla="*/ 78 h 81"/>
                    <a:gd name="T42" fmla="*/ 22 w 68"/>
                    <a:gd name="T43" fmla="*/ 80 h 81"/>
                    <a:gd name="T44" fmla="*/ 19 w 68"/>
                    <a:gd name="T45" fmla="*/ 81 h 81"/>
                    <a:gd name="T46" fmla="*/ 14 w 68"/>
                    <a:gd name="T47" fmla="*/ 80 h 81"/>
                    <a:gd name="T48" fmla="*/ 12 w 68"/>
                    <a:gd name="T49" fmla="*/ 78 h 81"/>
                    <a:gd name="T50" fmla="*/ 10 w 68"/>
                    <a:gd name="T51" fmla="*/ 78 h 81"/>
                    <a:gd name="T52" fmla="*/ 5 w 68"/>
                    <a:gd name="T53" fmla="*/ 78 h 81"/>
                    <a:gd name="T54" fmla="*/ 12 w 68"/>
                    <a:gd name="T55" fmla="*/ 75 h 81"/>
                    <a:gd name="T56" fmla="*/ 7 w 68"/>
                    <a:gd name="T57" fmla="*/ 75 h 81"/>
                    <a:gd name="T58" fmla="*/ 2 w 68"/>
                    <a:gd name="T59" fmla="*/ 75 h 81"/>
                    <a:gd name="T60" fmla="*/ 9 w 68"/>
                    <a:gd name="T61" fmla="*/ 70 h 81"/>
                    <a:gd name="T62" fmla="*/ 0 w 68"/>
                    <a:gd name="T63" fmla="*/ 68 h 81"/>
                    <a:gd name="T64" fmla="*/ 5 w 68"/>
                    <a:gd name="T65" fmla="*/ 66 h 81"/>
                    <a:gd name="T66" fmla="*/ 10 w 68"/>
                    <a:gd name="T67" fmla="*/ 63 h 81"/>
                    <a:gd name="T68" fmla="*/ 17 w 68"/>
                    <a:gd name="T69" fmla="*/ 59 h 81"/>
                    <a:gd name="T70" fmla="*/ 27 w 68"/>
                    <a:gd name="T71" fmla="*/ 56 h 81"/>
                    <a:gd name="T72" fmla="*/ 24 w 68"/>
                    <a:gd name="T73" fmla="*/ 53 h 81"/>
                    <a:gd name="T74" fmla="*/ 19 w 68"/>
                    <a:gd name="T75" fmla="*/ 58 h 81"/>
                    <a:gd name="T76" fmla="*/ 12 w 68"/>
                    <a:gd name="T77" fmla="*/ 58 h 81"/>
                    <a:gd name="T78" fmla="*/ 15 w 68"/>
                    <a:gd name="T79" fmla="*/ 54 h 81"/>
                    <a:gd name="T80" fmla="*/ 17 w 68"/>
                    <a:gd name="T81" fmla="*/ 49 h 81"/>
                    <a:gd name="T82" fmla="*/ 24 w 68"/>
                    <a:gd name="T83" fmla="*/ 46 h 81"/>
                    <a:gd name="T84" fmla="*/ 15 w 68"/>
                    <a:gd name="T85" fmla="*/ 44 h 81"/>
                    <a:gd name="T86" fmla="*/ 10 w 68"/>
                    <a:gd name="T87" fmla="*/ 43 h 81"/>
                    <a:gd name="T88" fmla="*/ 7 w 68"/>
                    <a:gd name="T89" fmla="*/ 41 h 81"/>
                    <a:gd name="T90" fmla="*/ 9 w 68"/>
                    <a:gd name="T91" fmla="*/ 36 h 81"/>
                    <a:gd name="T92" fmla="*/ 14 w 68"/>
                    <a:gd name="T93" fmla="*/ 32 h 81"/>
                    <a:gd name="T94" fmla="*/ 7 w 68"/>
                    <a:gd name="T95" fmla="*/ 31 h 81"/>
                    <a:gd name="T96" fmla="*/ 9 w 68"/>
                    <a:gd name="T97" fmla="*/ 29 h 81"/>
                    <a:gd name="T98" fmla="*/ 10 w 68"/>
                    <a:gd name="T99" fmla="*/ 22 h 81"/>
                    <a:gd name="T100" fmla="*/ 19 w 68"/>
                    <a:gd name="T101" fmla="*/ 22 h 81"/>
                    <a:gd name="T102" fmla="*/ 24 w 68"/>
                    <a:gd name="T103" fmla="*/ 22 h 81"/>
                    <a:gd name="T104" fmla="*/ 30 w 68"/>
                    <a:gd name="T105" fmla="*/ 19 h 81"/>
                    <a:gd name="T106" fmla="*/ 36 w 68"/>
                    <a:gd name="T107" fmla="*/ 16 h 81"/>
                    <a:gd name="T108" fmla="*/ 30 w 68"/>
                    <a:gd name="T109" fmla="*/ 16 h 81"/>
                    <a:gd name="T110" fmla="*/ 25 w 68"/>
                    <a:gd name="T111" fmla="*/ 14 h 81"/>
                    <a:gd name="T112" fmla="*/ 30 w 68"/>
                    <a:gd name="T113" fmla="*/ 11 h 81"/>
                    <a:gd name="T114" fmla="*/ 32 w 68"/>
                    <a:gd name="T115" fmla="*/ 5 h 81"/>
                    <a:gd name="T116" fmla="*/ 39 w 68"/>
                    <a:gd name="T117" fmla="*/ 2 h 81"/>
                    <a:gd name="T118" fmla="*/ 44 w 68"/>
                    <a:gd name="T119" fmla="*/ 0 h 81"/>
                    <a:gd name="T120" fmla="*/ 44 w 68"/>
                    <a:gd name="T121" fmla="*/ 7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8" h="81">
                      <a:moveTo>
                        <a:pt x="44" y="7"/>
                      </a:moveTo>
                      <a:lnTo>
                        <a:pt x="44" y="11"/>
                      </a:lnTo>
                      <a:lnTo>
                        <a:pt x="42" y="12"/>
                      </a:lnTo>
                      <a:lnTo>
                        <a:pt x="39" y="12"/>
                      </a:lnTo>
                      <a:lnTo>
                        <a:pt x="39" y="16"/>
                      </a:lnTo>
                      <a:lnTo>
                        <a:pt x="36" y="17"/>
                      </a:lnTo>
                      <a:lnTo>
                        <a:pt x="41" y="21"/>
                      </a:lnTo>
                      <a:lnTo>
                        <a:pt x="42" y="24"/>
                      </a:lnTo>
                      <a:lnTo>
                        <a:pt x="46" y="26"/>
                      </a:lnTo>
                      <a:lnTo>
                        <a:pt x="49" y="22"/>
                      </a:lnTo>
                      <a:lnTo>
                        <a:pt x="51" y="21"/>
                      </a:lnTo>
                      <a:lnTo>
                        <a:pt x="54" y="21"/>
                      </a:lnTo>
                      <a:lnTo>
                        <a:pt x="57" y="19"/>
                      </a:lnTo>
                      <a:lnTo>
                        <a:pt x="61" y="19"/>
                      </a:lnTo>
                      <a:lnTo>
                        <a:pt x="63" y="21"/>
                      </a:lnTo>
                      <a:lnTo>
                        <a:pt x="64" y="22"/>
                      </a:lnTo>
                      <a:lnTo>
                        <a:pt x="64" y="24"/>
                      </a:lnTo>
                      <a:lnTo>
                        <a:pt x="64" y="27"/>
                      </a:lnTo>
                      <a:lnTo>
                        <a:pt x="66" y="27"/>
                      </a:lnTo>
                      <a:lnTo>
                        <a:pt x="64" y="29"/>
                      </a:lnTo>
                      <a:lnTo>
                        <a:pt x="64" y="31"/>
                      </a:lnTo>
                      <a:lnTo>
                        <a:pt x="64" y="32"/>
                      </a:lnTo>
                      <a:lnTo>
                        <a:pt x="64" y="34"/>
                      </a:lnTo>
                      <a:lnTo>
                        <a:pt x="66" y="36"/>
                      </a:lnTo>
                      <a:lnTo>
                        <a:pt x="68" y="38"/>
                      </a:lnTo>
                      <a:lnTo>
                        <a:pt x="68" y="41"/>
                      </a:lnTo>
                      <a:lnTo>
                        <a:pt x="66" y="41"/>
                      </a:lnTo>
                      <a:lnTo>
                        <a:pt x="66" y="43"/>
                      </a:lnTo>
                      <a:lnTo>
                        <a:pt x="66" y="44"/>
                      </a:lnTo>
                      <a:lnTo>
                        <a:pt x="66" y="46"/>
                      </a:lnTo>
                      <a:lnTo>
                        <a:pt x="66" y="48"/>
                      </a:lnTo>
                      <a:lnTo>
                        <a:pt x="68" y="51"/>
                      </a:lnTo>
                      <a:lnTo>
                        <a:pt x="66" y="53"/>
                      </a:lnTo>
                      <a:lnTo>
                        <a:pt x="66" y="56"/>
                      </a:lnTo>
                      <a:lnTo>
                        <a:pt x="64" y="56"/>
                      </a:lnTo>
                      <a:lnTo>
                        <a:pt x="64" y="59"/>
                      </a:lnTo>
                      <a:lnTo>
                        <a:pt x="63" y="61"/>
                      </a:lnTo>
                      <a:lnTo>
                        <a:pt x="63" y="63"/>
                      </a:lnTo>
                      <a:lnTo>
                        <a:pt x="63" y="66"/>
                      </a:lnTo>
                      <a:lnTo>
                        <a:pt x="63" y="68"/>
                      </a:lnTo>
                      <a:lnTo>
                        <a:pt x="61" y="68"/>
                      </a:lnTo>
                      <a:lnTo>
                        <a:pt x="57" y="66"/>
                      </a:lnTo>
                      <a:lnTo>
                        <a:pt x="54" y="66"/>
                      </a:lnTo>
                      <a:lnTo>
                        <a:pt x="52" y="66"/>
                      </a:lnTo>
                      <a:lnTo>
                        <a:pt x="51" y="68"/>
                      </a:lnTo>
                      <a:lnTo>
                        <a:pt x="47" y="68"/>
                      </a:lnTo>
                      <a:lnTo>
                        <a:pt x="44" y="68"/>
                      </a:lnTo>
                      <a:lnTo>
                        <a:pt x="44" y="70"/>
                      </a:lnTo>
                      <a:lnTo>
                        <a:pt x="42" y="71"/>
                      </a:lnTo>
                      <a:lnTo>
                        <a:pt x="41" y="71"/>
                      </a:lnTo>
                      <a:lnTo>
                        <a:pt x="39" y="71"/>
                      </a:lnTo>
                      <a:lnTo>
                        <a:pt x="39" y="73"/>
                      </a:lnTo>
                      <a:lnTo>
                        <a:pt x="37" y="75"/>
                      </a:lnTo>
                      <a:lnTo>
                        <a:pt x="36" y="75"/>
                      </a:lnTo>
                      <a:lnTo>
                        <a:pt x="34" y="75"/>
                      </a:lnTo>
                      <a:lnTo>
                        <a:pt x="34" y="73"/>
                      </a:lnTo>
                      <a:lnTo>
                        <a:pt x="32" y="73"/>
                      </a:lnTo>
                      <a:lnTo>
                        <a:pt x="32" y="75"/>
                      </a:lnTo>
                      <a:lnTo>
                        <a:pt x="32" y="76"/>
                      </a:lnTo>
                      <a:lnTo>
                        <a:pt x="30" y="76"/>
                      </a:lnTo>
                      <a:lnTo>
                        <a:pt x="30" y="78"/>
                      </a:lnTo>
                      <a:lnTo>
                        <a:pt x="29" y="78"/>
                      </a:lnTo>
                      <a:lnTo>
                        <a:pt x="27" y="78"/>
                      </a:lnTo>
                      <a:lnTo>
                        <a:pt x="25" y="78"/>
                      </a:lnTo>
                      <a:lnTo>
                        <a:pt x="24" y="80"/>
                      </a:lnTo>
                      <a:lnTo>
                        <a:pt x="22" y="80"/>
                      </a:lnTo>
                      <a:lnTo>
                        <a:pt x="20" y="80"/>
                      </a:lnTo>
                      <a:lnTo>
                        <a:pt x="19" y="80"/>
                      </a:lnTo>
                      <a:lnTo>
                        <a:pt x="19" y="81"/>
                      </a:lnTo>
                      <a:lnTo>
                        <a:pt x="17" y="81"/>
                      </a:lnTo>
                      <a:lnTo>
                        <a:pt x="15" y="80"/>
                      </a:lnTo>
                      <a:lnTo>
                        <a:pt x="14" y="80"/>
                      </a:lnTo>
                      <a:lnTo>
                        <a:pt x="10" y="81"/>
                      </a:lnTo>
                      <a:lnTo>
                        <a:pt x="10" y="80"/>
                      </a:lnTo>
                      <a:lnTo>
                        <a:pt x="12" y="78"/>
                      </a:lnTo>
                      <a:lnTo>
                        <a:pt x="14" y="78"/>
                      </a:lnTo>
                      <a:lnTo>
                        <a:pt x="14" y="76"/>
                      </a:lnTo>
                      <a:lnTo>
                        <a:pt x="10" y="78"/>
                      </a:lnTo>
                      <a:lnTo>
                        <a:pt x="9" y="78"/>
                      </a:lnTo>
                      <a:lnTo>
                        <a:pt x="7" y="78"/>
                      </a:lnTo>
                      <a:lnTo>
                        <a:pt x="5" y="78"/>
                      </a:lnTo>
                      <a:lnTo>
                        <a:pt x="7" y="78"/>
                      </a:lnTo>
                      <a:lnTo>
                        <a:pt x="9" y="76"/>
                      </a:lnTo>
                      <a:lnTo>
                        <a:pt x="12" y="75"/>
                      </a:lnTo>
                      <a:lnTo>
                        <a:pt x="12" y="73"/>
                      </a:lnTo>
                      <a:lnTo>
                        <a:pt x="9" y="75"/>
                      </a:lnTo>
                      <a:lnTo>
                        <a:pt x="7" y="75"/>
                      </a:lnTo>
                      <a:lnTo>
                        <a:pt x="5" y="75"/>
                      </a:lnTo>
                      <a:lnTo>
                        <a:pt x="3" y="75"/>
                      </a:lnTo>
                      <a:lnTo>
                        <a:pt x="2" y="75"/>
                      </a:lnTo>
                      <a:lnTo>
                        <a:pt x="2" y="73"/>
                      </a:lnTo>
                      <a:lnTo>
                        <a:pt x="5" y="71"/>
                      </a:lnTo>
                      <a:lnTo>
                        <a:pt x="9" y="70"/>
                      </a:lnTo>
                      <a:lnTo>
                        <a:pt x="9" y="68"/>
                      </a:lnTo>
                      <a:lnTo>
                        <a:pt x="3" y="68"/>
                      </a:lnTo>
                      <a:lnTo>
                        <a:pt x="0" y="68"/>
                      </a:lnTo>
                      <a:lnTo>
                        <a:pt x="2" y="66"/>
                      </a:lnTo>
                      <a:lnTo>
                        <a:pt x="3" y="64"/>
                      </a:lnTo>
                      <a:lnTo>
                        <a:pt x="5" y="66"/>
                      </a:lnTo>
                      <a:lnTo>
                        <a:pt x="7" y="64"/>
                      </a:lnTo>
                      <a:lnTo>
                        <a:pt x="9" y="64"/>
                      </a:lnTo>
                      <a:lnTo>
                        <a:pt x="10" y="63"/>
                      </a:lnTo>
                      <a:lnTo>
                        <a:pt x="12" y="61"/>
                      </a:lnTo>
                      <a:lnTo>
                        <a:pt x="12" y="59"/>
                      </a:lnTo>
                      <a:lnTo>
                        <a:pt x="17" y="59"/>
                      </a:lnTo>
                      <a:lnTo>
                        <a:pt x="20" y="58"/>
                      </a:lnTo>
                      <a:lnTo>
                        <a:pt x="24" y="58"/>
                      </a:lnTo>
                      <a:lnTo>
                        <a:pt x="27" y="56"/>
                      </a:lnTo>
                      <a:lnTo>
                        <a:pt x="24" y="56"/>
                      </a:lnTo>
                      <a:lnTo>
                        <a:pt x="24" y="54"/>
                      </a:lnTo>
                      <a:lnTo>
                        <a:pt x="24" y="53"/>
                      </a:lnTo>
                      <a:lnTo>
                        <a:pt x="24" y="54"/>
                      </a:lnTo>
                      <a:lnTo>
                        <a:pt x="22" y="56"/>
                      </a:lnTo>
                      <a:lnTo>
                        <a:pt x="19" y="58"/>
                      </a:lnTo>
                      <a:lnTo>
                        <a:pt x="17" y="58"/>
                      </a:lnTo>
                      <a:lnTo>
                        <a:pt x="14" y="58"/>
                      </a:lnTo>
                      <a:lnTo>
                        <a:pt x="12" y="58"/>
                      </a:lnTo>
                      <a:lnTo>
                        <a:pt x="10" y="58"/>
                      </a:lnTo>
                      <a:lnTo>
                        <a:pt x="14" y="56"/>
                      </a:lnTo>
                      <a:lnTo>
                        <a:pt x="15" y="54"/>
                      </a:lnTo>
                      <a:lnTo>
                        <a:pt x="15" y="53"/>
                      </a:lnTo>
                      <a:lnTo>
                        <a:pt x="15" y="51"/>
                      </a:lnTo>
                      <a:lnTo>
                        <a:pt x="17" y="49"/>
                      </a:lnTo>
                      <a:lnTo>
                        <a:pt x="19" y="48"/>
                      </a:lnTo>
                      <a:lnTo>
                        <a:pt x="22" y="46"/>
                      </a:lnTo>
                      <a:lnTo>
                        <a:pt x="24" y="46"/>
                      </a:lnTo>
                      <a:lnTo>
                        <a:pt x="22" y="44"/>
                      </a:lnTo>
                      <a:lnTo>
                        <a:pt x="20" y="44"/>
                      </a:lnTo>
                      <a:lnTo>
                        <a:pt x="15" y="44"/>
                      </a:lnTo>
                      <a:lnTo>
                        <a:pt x="14" y="44"/>
                      </a:lnTo>
                      <a:lnTo>
                        <a:pt x="12" y="43"/>
                      </a:lnTo>
                      <a:lnTo>
                        <a:pt x="10" y="43"/>
                      </a:lnTo>
                      <a:lnTo>
                        <a:pt x="9" y="43"/>
                      </a:lnTo>
                      <a:lnTo>
                        <a:pt x="9" y="41"/>
                      </a:lnTo>
                      <a:lnTo>
                        <a:pt x="7" y="41"/>
                      </a:lnTo>
                      <a:lnTo>
                        <a:pt x="5" y="39"/>
                      </a:lnTo>
                      <a:lnTo>
                        <a:pt x="5" y="38"/>
                      </a:lnTo>
                      <a:lnTo>
                        <a:pt x="9" y="36"/>
                      </a:lnTo>
                      <a:lnTo>
                        <a:pt x="9" y="34"/>
                      </a:lnTo>
                      <a:lnTo>
                        <a:pt x="10" y="34"/>
                      </a:lnTo>
                      <a:lnTo>
                        <a:pt x="14" y="32"/>
                      </a:lnTo>
                      <a:lnTo>
                        <a:pt x="14" y="31"/>
                      </a:lnTo>
                      <a:lnTo>
                        <a:pt x="12" y="31"/>
                      </a:lnTo>
                      <a:lnTo>
                        <a:pt x="7" y="31"/>
                      </a:lnTo>
                      <a:lnTo>
                        <a:pt x="5" y="29"/>
                      </a:lnTo>
                      <a:lnTo>
                        <a:pt x="7" y="29"/>
                      </a:lnTo>
                      <a:lnTo>
                        <a:pt x="9" y="29"/>
                      </a:lnTo>
                      <a:lnTo>
                        <a:pt x="9" y="27"/>
                      </a:lnTo>
                      <a:lnTo>
                        <a:pt x="9" y="26"/>
                      </a:lnTo>
                      <a:lnTo>
                        <a:pt x="10" y="22"/>
                      </a:lnTo>
                      <a:lnTo>
                        <a:pt x="12" y="21"/>
                      </a:lnTo>
                      <a:lnTo>
                        <a:pt x="15" y="22"/>
                      </a:lnTo>
                      <a:lnTo>
                        <a:pt x="19" y="22"/>
                      </a:lnTo>
                      <a:lnTo>
                        <a:pt x="19" y="24"/>
                      </a:lnTo>
                      <a:lnTo>
                        <a:pt x="22" y="22"/>
                      </a:lnTo>
                      <a:lnTo>
                        <a:pt x="24" y="22"/>
                      </a:lnTo>
                      <a:lnTo>
                        <a:pt x="29" y="22"/>
                      </a:lnTo>
                      <a:lnTo>
                        <a:pt x="29" y="21"/>
                      </a:lnTo>
                      <a:lnTo>
                        <a:pt x="30" y="19"/>
                      </a:lnTo>
                      <a:lnTo>
                        <a:pt x="32" y="17"/>
                      </a:lnTo>
                      <a:lnTo>
                        <a:pt x="34" y="17"/>
                      </a:lnTo>
                      <a:lnTo>
                        <a:pt x="36" y="16"/>
                      </a:lnTo>
                      <a:lnTo>
                        <a:pt x="36" y="14"/>
                      </a:lnTo>
                      <a:lnTo>
                        <a:pt x="32" y="14"/>
                      </a:lnTo>
                      <a:lnTo>
                        <a:pt x="30" y="16"/>
                      </a:lnTo>
                      <a:lnTo>
                        <a:pt x="29" y="14"/>
                      </a:lnTo>
                      <a:lnTo>
                        <a:pt x="27" y="14"/>
                      </a:lnTo>
                      <a:lnTo>
                        <a:pt x="25" y="14"/>
                      </a:lnTo>
                      <a:lnTo>
                        <a:pt x="27" y="12"/>
                      </a:lnTo>
                      <a:lnTo>
                        <a:pt x="29" y="12"/>
                      </a:lnTo>
                      <a:lnTo>
                        <a:pt x="30" y="11"/>
                      </a:lnTo>
                      <a:lnTo>
                        <a:pt x="32" y="9"/>
                      </a:lnTo>
                      <a:lnTo>
                        <a:pt x="30" y="9"/>
                      </a:lnTo>
                      <a:lnTo>
                        <a:pt x="32" y="5"/>
                      </a:lnTo>
                      <a:lnTo>
                        <a:pt x="34" y="5"/>
                      </a:lnTo>
                      <a:lnTo>
                        <a:pt x="36" y="4"/>
                      </a:lnTo>
                      <a:lnTo>
                        <a:pt x="39" y="2"/>
                      </a:lnTo>
                      <a:lnTo>
                        <a:pt x="41" y="2"/>
                      </a:lnTo>
                      <a:lnTo>
                        <a:pt x="42" y="2"/>
                      </a:lnTo>
                      <a:lnTo>
                        <a:pt x="44" y="0"/>
                      </a:lnTo>
                      <a:lnTo>
                        <a:pt x="44" y="2"/>
                      </a:lnTo>
                      <a:lnTo>
                        <a:pt x="44" y="5"/>
                      </a:lnTo>
                      <a:lnTo>
                        <a:pt x="44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94" name="Freeform 268">
                  <a:extLst>
                    <a:ext uri="{FF2B5EF4-FFF2-40B4-BE49-F238E27FC236}">
                      <a16:creationId xmlns:a16="http://schemas.microsoft.com/office/drawing/2014/main" id="{2B5A9018-BBC3-2C42-8011-67883B23D3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0" y="392"/>
                  <a:ext cx="68" cy="81"/>
                </a:xfrm>
                <a:custGeom>
                  <a:avLst/>
                  <a:gdLst>
                    <a:gd name="T0" fmla="*/ 42 w 68"/>
                    <a:gd name="T1" fmla="*/ 12 h 81"/>
                    <a:gd name="T2" fmla="*/ 36 w 68"/>
                    <a:gd name="T3" fmla="*/ 17 h 81"/>
                    <a:gd name="T4" fmla="*/ 46 w 68"/>
                    <a:gd name="T5" fmla="*/ 26 h 81"/>
                    <a:gd name="T6" fmla="*/ 54 w 68"/>
                    <a:gd name="T7" fmla="*/ 21 h 81"/>
                    <a:gd name="T8" fmla="*/ 63 w 68"/>
                    <a:gd name="T9" fmla="*/ 21 h 81"/>
                    <a:gd name="T10" fmla="*/ 64 w 68"/>
                    <a:gd name="T11" fmla="*/ 27 h 81"/>
                    <a:gd name="T12" fmla="*/ 64 w 68"/>
                    <a:gd name="T13" fmla="*/ 31 h 81"/>
                    <a:gd name="T14" fmla="*/ 66 w 68"/>
                    <a:gd name="T15" fmla="*/ 36 h 81"/>
                    <a:gd name="T16" fmla="*/ 66 w 68"/>
                    <a:gd name="T17" fmla="*/ 41 h 81"/>
                    <a:gd name="T18" fmla="*/ 66 w 68"/>
                    <a:gd name="T19" fmla="*/ 46 h 81"/>
                    <a:gd name="T20" fmla="*/ 66 w 68"/>
                    <a:gd name="T21" fmla="*/ 53 h 81"/>
                    <a:gd name="T22" fmla="*/ 64 w 68"/>
                    <a:gd name="T23" fmla="*/ 59 h 81"/>
                    <a:gd name="T24" fmla="*/ 63 w 68"/>
                    <a:gd name="T25" fmla="*/ 66 h 81"/>
                    <a:gd name="T26" fmla="*/ 57 w 68"/>
                    <a:gd name="T27" fmla="*/ 66 h 81"/>
                    <a:gd name="T28" fmla="*/ 51 w 68"/>
                    <a:gd name="T29" fmla="*/ 68 h 81"/>
                    <a:gd name="T30" fmla="*/ 44 w 68"/>
                    <a:gd name="T31" fmla="*/ 70 h 81"/>
                    <a:gd name="T32" fmla="*/ 39 w 68"/>
                    <a:gd name="T33" fmla="*/ 71 h 81"/>
                    <a:gd name="T34" fmla="*/ 36 w 68"/>
                    <a:gd name="T35" fmla="*/ 75 h 81"/>
                    <a:gd name="T36" fmla="*/ 32 w 68"/>
                    <a:gd name="T37" fmla="*/ 73 h 81"/>
                    <a:gd name="T38" fmla="*/ 30 w 68"/>
                    <a:gd name="T39" fmla="*/ 76 h 81"/>
                    <a:gd name="T40" fmla="*/ 27 w 68"/>
                    <a:gd name="T41" fmla="*/ 78 h 81"/>
                    <a:gd name="T42" fmla="*/ 22 w 68"/>
                    <a:gd name="T43" fmla="*/ 80 h 81"/>
                    <a:gd name="T44" fmla="*/ 19 w 68"/>
                    <a:gd name="T45" fmla="*/ 81 h 81"/>
                    <a:gd name="T46" fmla="*/ 14 w 68"/>
                    <a:gd name="T47" fmla="*/ 80 h 81"/>
                    <a:gd name="T48" fmla="*/ 12 w 68"/>
                    <a:gd name="T49" fmla="*/ 78 h 81"/>
                    <a:gd name="T50" fmla="*/ 10 w 68"/>
                    <a:gd name="T51" fmla="*/ 78 h 81"/>
                    <a:gd name="T52" fmla="*/ 5 w 68"/>
                    <a:gd name="T53" fmla="*/ 78 h 81"/>
                    <a:gd name="T54" fmla="*/ 12 w 68"/>
                    <a:gd name="T55" fmla="*/ 75 h 81"/>
                    <a:gd name="T56" fmla="*/ 7 w 68"/>
                    <a:gd name="T57" fmla="*/ 75 h 81"/>
                    <a:gd name="T58" fmla="*/ 2 w 68"/>
                    <a:gd name="T59" fmla="*/ 75 h 81"/>
                    <a:gd name="T60" fmla="*/ 9 w 68"/>
                    <a:gd name="T61" fmla="*/ 70 h 81"/>
                    <a:gd name="T62" fmla="*/ 0 w 68"/>
                    <a:gd name="T63" fmla="*/ 68 h 81"/>
                    <a:gd name="T64" fmla="*/ 5 w 68"/>
                    <a:gd name="T65" fmla="*/ 66 h 81"/>
                    <a:gd name="T66" fmla="*/ 10 w 68"/>
                    <a:gd name="T67" fmla="*/ 63 h 81"/>
                    <a:gd name="T68" fmla="*/ 17 w 68"/>
                    <a:gd name="T69" fmla="*/ 59 h 81"/>
                    <a:gd name="T70" fmla="*/ 27 w 68"/>
                    <a:gd name="T71" fmla="*/ 56 h 81"/>
                    <a:gd name="T72" fmla="*/ 24 w 68"/>
                    <a:gd name="T73" fmla="*/ 53 h 81"/>
                    <a:gd name="T74" fmla="*/ 19 w 68"/>
                    <a:gd name="T75" fmla="*/ 58 h 81"/>
                    <a:gd name="T76" fmla="*/ 12 w 68"/>
                    <a:gd name="T77" fmla="*/ 58 h 81"/>
                    <a:gd name="T78" fmla="*/ 15 w 68"/>
                    <a:gd name="T79" fmla="*/ 54 h 81"/>
                    <a:gd name="T80" fmla="*/ 17 w 68"/>
                    <a:gd name="T81" fmla="*/ 49 h 81"/>
                    <a:gd name="T82" fmla="*/ 24 w 68"/>
                    <a:gd name="T83" fmla="*/ 46 h 81"/>
                    <a:gd name="T84" fmla="*/ 15 w 68"/>
                    <a:gd name="T85" fmla="*/ 44 h 81"/>
                    <a:gd name="T86" fmla="*/ 10 w 68"/>
                    <a:gd name="T87" fmla="*/ 43 h 81"/>
                    <a:gd name="T88" fmla="*/ 7 w 68"/>
                    <a:gd name="T89" fmla="*/ 41 h 81"/>
                    <a:gd name="T90" fmla="*/ 9 w 68"/>
                    <a:gd name="T91" fmla="*/ 36 h 81"/>
                    <a:gd name="T92" fmla="*/ 14 w 68"/>
                    <a:gd name="T93" fmla="*/ 32 h 81"/>
                    <a:gd name="T94" fmla="*/ 7 w 68"/>
                    <a:gd name="T95" fmla="*/ 31 h 81"/>
                    <a:gd name="T96" fmla="*/ 9 w 68"/>
                    <a:gd name="T97" fmla="*/ 29 h 81"/>
                    <a:gd name="T98" fmla="*/ 10 w 68"/>
                    <a:gd name="T99" fmla="*/ 22 h 81"/>
                    <a:gd name="T100" fmla="*/ 19 w 68"/>
                    <a:gd name="T101" fmla="*/ 22 h 81"/>
                    <a:gd name="T102" fmla="*/ 24 w 68"/>
                    <a:gd name="T103" fmla="*/ 22 h 81"/>
                    <a:gd name="T104" fmla="*/ 30 w 68"/>
                    <a:gd name="T105" fmla="*/ 19 h 81"/>
                    <a:gd name="T106" fmla="*/ 36 w 68"/>
                    <a:gd name="T107" fmla="*/ 16 h 81"/>
                    <a:gd name="T108" fmla="*/ 30 w 68"/>
                    <a:gd name="T109" fmla="*/ 16 h 81"/>
                    <a:gd name="T110" fmla="*/ 25 w 68"/>
                    <a:gd name="T111" fmla="*/ 14 h 81"/>
                    <a:gd name="T112" fmla="*/ 30 w 68"/>
                    <a:gd name="T113" fmla="*/ 11 h 81"/>
                    <a:gd name="T114" fmla="*/ 32 w 68"/>
                    <a:gd name="T115" fmla="*/ 5 h 81"/>
                    <a:gd name="T116" fmla="*/ 39 w 68"/>
                    <a:gd name="T117" fmla="*/ 2 h 81"/>
                    <a:gd name="T118" fmla="*/ 44 w 68"/>
                    <a:gd name="T119" fmla="*/ 0 h 81"/>
                    <a:gd name="T120" fmla="*/ 44 w 68"/>
                    <a:gd name="T121" fmla="*/ 7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8" h="81">
                      <a:moveTo>
                        <a:pt x="44" y="7"/>
                      </a:moveTo>
                      <a:lnTo>
                        <a:pt x="44" y="11"/>
                      </a:lnTo>
                      <a:lnTo>
                        <a:pt x="42" y="12"/>
                      </a:lnTo>
                      <a:lnTo>
                        <a:pt x="39" y="12"/>
                      </a:lnTo>
                      <a:lnTo>
                        <a:pt x="39" y="16"/>
                      </a:lnTo>
                      <a:lnTo>
                        <a:pt x="36" y="17"/>
                      </a:lnTo>
                      <a:lnTo>
                        <a:pt x="41" y="21"/>
                      </a:lnTo>
                      <a:lnTo>
                        <a:pt x="42" y="24"/>
                      </a:lnTo>
                      <a:lnTo>
                        <a:pt x="46" y="26"/>
                      </a:lnTo>
                      <a:lnTo>
                        <a:pt x="49" y="22"/>
                      </a:lnTo>
                      <a:lnTo>
                        <a:pt x="51" y="21"/>
                      </a:lnTo>
                      <a:lnTo>
                        <a:pt x="54" y="21"/>
                      </a:lnTo>
                      <a:lnTo>
                        <a:pt x="57" y="19"/>
                      </a:lnTo>
                      <a:lnTo>
                        <a:pt x="61" y="19"/>
                      </a:lnTo>
                      <a:lnTo>
                        <a:pt x="63" y="21"/>
                      </a:lnTo>
                      <a:lnTo>
                        <a:pt x="64" y="22"/>
                      </a:lnTo>
                      <a:lnTo>
                        <a:pt x="64" y="24"/>
                      </a:lnTo>
                      <a:lnTo>
                        <a:pt x="64" y="27"/>
                      </a:lnTo>
                      <a:lnTo>
                        <a:pt x="66" y="27"/>
                      </a:lnTo>
                      <a:lnTo>
                        <a:pt x="64" y="29"/>
                      </a:lnTo>
                      <a:lnTo>
                        <a:pt x="64" y="31"/>
                      </a:lnTo>
                      <a:lnTo>
                        <a:pt x="64" y="32"/>
                      </a:lnTo>
                      <a:lnTo>
                        <a:pt x="64" y="34"/>
                      </a:lnTo>
                      <a:lnTo>
                        <a:pt x="66" y="36"/>
                      </a:lnTo>
                      <a:lnTo>
                        <a:pt x="68" y="38"/>
                      </a:lnTo>
                      <a:lnTo>
                        <a:pt x="68" y="41"/>
                      </a:lnTo>
                      <a:lnTo>
                        <a:pt x="66" y="41"/>
                      </a:lnTo>
                      <a:lnTo>
                        <a:pt x="66" y="43"/>
                      </a:lnTo>
                      <a:lnTo>
                        <a:pt x="66" y="44"/>
                      </a:lnTo>
                      <a:lnTo>
                        <a:pt x="66" y="46"/>
                      </a:lnTo>
                      <a:lnTo>
                        <a:pt x="66" y="48"/>
                      </a:lnTo>
                      <a:lnTo>
                        <a:pt x="68" y="51"/>
                      </a:lnTo>
                      <a:lnTo>
                        <a:pt x="66" y="53"/>
                      </a:lnTo>
                      <a:lnTo>
                        <a:pt x="66" y="56"/>
                      </a:lnTo>
                      <a:lnTo>
                        <a:pt x="64" y="56"/>
                      </a:lnTo>
                      <a:lnTo>
                        <a:pt x="64" y="59"/>
                      </a:lnTo>
                      <a:lnTo>
                        <a:pt x="63" y="61"/>
                      </a:lnTo>
                      <a:lnTo>
                        <a:pt x="63" y="63"/>
                      </a:lnTo>
                      <a:lnTo>
                        <a:pt x="63" y="66"/>
                      </a:lnTo>
                      <a:lnTo>
                        <a:pt x="63" y="68"/>
                      </a:lnTo>
                      <a:lnTo>
                        <a:pt x="61" y="68"/>
                      </a:lnTo>
                      <a:lnTo>
                        <a:pt x="57" y="66"/>
                      </a:lnTo>
                      <a:lnTo>
                        <a:pt x="54" y="66"/>
                      </a:lnTo>
                      <a:lnTo>
                        <a:pt x="52" y="66"/>
                      </a:lnTo>
                      <a:lnTo>
                        <a:pt x="51" y="68"/>
                      </a:lnTo>
                      <a:lnTo>
                        <a:pt x="47" y="68"/>
                      </a:lnTo>
                      <a:lnTo>
                        <a:pt x="44" y="68"/>
                      </a:lnTo>
                      <a:lnTo>
                        <a:pt x="44" y="70"/>
                      </a:lnTo>
                      <a:lnTo>
                        <a:pt x="42" y="71"/>
                      </a:lnTo>
                      <a:lnTo>
                        <a:pt x="41" y="71"/>
                      </a:lnTo>
                      <a:lnTo>
                        <a:pt x="39" y="71"/>
                      </a:lnTo>
                      <a:lnTo>
                        <a:pt x="39" y="73"/>
                      </a:lnTo>
                      <a:lnTo>
                        <a:pt x="37" y="75"/>
                      </a:lnTo>
                      <a:lnTo>
                        <a:pt x="36" y="75"/>
                      </a:lnTo>
                      <a:lnTo>
                        <a:pt x="34" y="75"/>
                      </a:lnTo>
                      <a:lnTo>
                        <a:pt x="34" y="73"/>
                      </a:lnTo>
                      <a:lnTo>
                        <a:pt x="32" y="73"/>
                      </a:lnTo>
                      <a:lnTo>
                        <a:pt x="32" y="75"/>
                      </a:lnTo>
                      <a:lnTo>
                        <a:pt x="32" y="76"/>
                      </a:lnTo>
                      <a:lnTo>
                        <a:pt x="30" y="76"/>
                      </a:lnTo>
                      <a:lnTo>
                        <a:pt x="30" y="78"/>
                      </a:lnTo>
                      <a:lnTo>
                        <a:pt x="29" y="78"/>
                      </a:lnTo>
                      <a:lnTo>
                        <a:pt x="27" y="78"/>
                      </a:lnTo>
                      <a:lnTo>
                        <a:pt x="25" y="78"/>
                      </a:lnTo>
                      <a:lnTo>
                        <a:pt x="24" y="80"/>
                      </a:lnTo>
                      <a:lnTo>
                        <a:pt x="22" y="80"/>
                      </a:lnTo>
                      <a:lnTo>
                        <a:pt x="20" y="80"/>
                      </a:lnTo>
                      <a:lnTo>
                        <a:pt x="19" y="80"/>
                      </a:lnTo>
                      <a:lnTo>
                        <a:pt x="19" y="81"/>
                      </a:lnTo>
                      <a:lnTo>
                        <a:pt x="17" y="81"/>
                      </a:lnTo>
                      <a:lnTo>
                        <a:pt x="15" y="80"/>
                      </a:lnTo>
                      <a:lnTo>
                        <a:pt x="14" y="80"/>
                      </a:lnTo>
                      <a:lnTo>
                        <a:pt x="10" y="81"/>
                      </a:lnTo>
                      <a:lnTo>
                        <a:pt x="10" y="80"/>
                      </a:lnTo>
                      <a:lnTo>
                        <a:pt x="12" y="78"/>
                      </a:lnTo>
                      <a:lnTo>
                        <a:pt x="14" y="78"/>
                      </a:lnTo>
                      <a:lnTo>
                        <a:pt x="14" y="76"/>
                      </a:lnTo>
                      <a:lnTo>
                        <a:pt x="10" y="78"/>
                      </a:lnTo>
                      <a:lnTo>
                        <a:pt x="9" y="78"/>
                      </a:lnTo>
                      <a:lnTo>
                        <a:pt x="7" y="78"/>
                      </a:lnTo>
                      <a:lnTo>
                        <a:pt x="5" y="78"/>
                      </a:lnTo>
                      <a:lnTo>
                        <a:pt x="7" y="78"/>
                      </a:lnTo>
                      <a:lnTo>
                        <a:pt x="9" y="76"/>
                      </a:lnTo>
                      <a:lnTo>
                        <a:pt x="12" y="75"/>
                      </a:lnTo>
                      <a:lnTo>
                        <a:pt x="12" y="73"/>
                      </a:lnTo>
                      <a:lnTo>
                        <a:pt x="9" y="75"/>
                      </a:lnTo>
                      <a:lnTo>
                        <a:pt x="7" y="75"/>
                      </a:lnTo>
                      <a:lnTo>
                        <a:pt x="5" y="75"/>
                      </a:lnTo>
                      <a:lnTo>
                        <a:pt x="3" y="75"/>
                      </a:lnTo>
                      <a:lnTo>
                        <a:pt x="2" y="75"/>
                      </a:lnTo>
                      <a:lnTo>
                        <a:pt x="2" y="73"/>
                      </a:lnTo>
                      <a:lnTo>
                        <a:pt x="5" y="71"/>
                      </a:lnTo>
                      <a:lnTo>
                        <a:pt x="9" y="70"/>
                      </a:lnTo>
                      <a:lnTo>
                        <a:pt x="9" y="68"/>
                      </a:lnTo>
                      <a:lnTo>
                        <a:pt x="3" y="68"/>
                      </a:lnTo>
                      <a:lnTo>
                        <a:pt x="0" y="68"/>
                      </a:lnTo>
                      <a:lnTo>
                        <a:pt x="2" y="66"/>
                      </a:lnTo>
                      <a:lnTo>
                        <a:pt x="3" y="64"/>
                      </a:lnTo>
                      <a:lnTo>
                        <a:pt x="5" y="66"/>
                      </a:lnTo>
                      <a:lnTo>
                        <a:pt x="7" y="64"/>
                      </a:lnTo>
                      <a:lnTo>
                        <a:pt x="9" y="64"/>
                      </a:lnTo>
                      <a:lnTo>
                        <a:pt x="10" y="63"/>
                      </a:lnTo>
                      <a:lnTo>
                        <a:pt x="12" y="61"/>
                      </a:lnTo>
                      <a:lnTo>
                        <a:pt x="12" y="59"/>
                      </a:lnTo>
                      <a:lnTo>
                        <a:pt x="17" y="59"/>
                      </a:lnTo>
                      <a:lnTo>
                        <a:pt x="20" y="58"/>
                      </a:lnTo>
                      <a:lnTo>
                        <a:pt x="24" y="58"/>
                      </a:lnTo>
                      <a:lnTo>
                        <a:pt x="27" y="56"/>
                      </a:lnTo>
                      <a:lnTo>
                        <a:pt x="24" y="56"/>
                      </a:lnTo>
                      <a:lnTo>
                        <a:pt x="24" y="54"/>
                      </a:lnTo>
                      <a:lnTo>
                        <a:pt x="24" y="53"/>
                      </a:lnTo>
                      <a:lnTo>
                        <a:pt x="24" y="54"/>
                      </a:lnTo>
                      <a:lnTo>
                        <a:pt x="22" y="56"/>
                      </a:lnTo>
                      <a:lnTo>
                        <a:pt x="19" y="58"/>
                      </a:lnTo>
                      <a:lnTo>
                        <a:pt x="17" y="58"/>
                      </a:lnTo>
                      <a:lnTo>
                        <a:pt x="14" y="58"/>
                      </a:lnTo>
                      <a:lnTo>
                        <a:pt x="12" y="58"/>
                      </a:lnTo>
                      <a:lnTo>
                        <a:pt x="10" y="58"/>
                      </a:lnTo>
                      <a:lnTo>
                        <a:pt x="14" y="56"/>
                      </a:lnTo>
                      <a:lnTo>
                        <a:pt x="15" y="54"/>
                      </a:lnTo>
                      <a:lnTo>
                        <a:pt x="15" y="53"/>
                      </a:lnTo>
                      <a:lnTo>
                        <a:pt x="15" y="51"/>
                      </a:lnTo>
                      <a:lnTo>
                        <a:pt x="17" y="49"/>
                      </a:lnTo>
                      <a:lnTo>
                        <a:pt x="19" y="48"/>
                      </a:lnTo>
                      <a:lnTo>
                        <a:pt x="22" y="46"/>
                      </a:lnTo>
                      <a:lnTo>
                        <a:pt x="24" y="46"/>
                      </a:lnTo>
                      <a:lnTo>
                        <a:pt x="22" y="44"/>
                      </a:lnTo>
                      <a:lnTo>
                        <a:pt x="20" y="44"/>
                      </a:lnTo>
                      <a:lnTo>
                        <a:pt x="15" y="44"/>
                      </a:lnTo>
                      <a:lnTo>
                        <a:pt x="14" y="44"/>
                      </a:lnTo>
                      <a:lnTo>
                        <a:pt x="12" y="43"/>
                      </a:lnTo>
                      <a:lnTo>
                        <a:pt x="10" y="43"/>
                      </a:lnTo>
                      <a:lnTo>
                        <a:pt x="9" y="43"/>
                      </a:lnTo>
                      <a:lnTo>
                        <a:pt x="9" y="41"/>
                      </a:lnTo>
                      <a:lnTo>
                        <a:pt x="7" y="41"/>
                      </a:lnTo>
                      <a:lnTo>
                        <a:pt x="5" y="39"/>
                      </a:lnTo>
                      <a:lnTo>
                        <a:pt x="5" y="38"/>
                      </a:lnTo>
                      <a:lnTo>
                        <a:pt x="9" y="36"/>
                      </a:lnTo>
                      <a:lnTo>
                        <a:pt x="9" y="34"/>
                      </a:lnTo>
                      <a:lnTo>
                        <a:pt x="10" y="34"/>
                      </a:lnTo>
                      <a:lnTo>
                        <a:pt x="14" y="32"/>
                      </a:lnTo>
                      <a:lnTo>
                        <a:pt x="14" y="31"/>
                      </a:lnTo>
                      <a:lnTo>
                        <a:pt x="12" y="31"/>
                      </a:lnTo>
                      <a:lnTo>
                        <a:pt x="7" y="31"/>
                      </a:lnTo>
                      <a:lnTo>
                        <a:pt x="5" y="29"/>
                      </a:lnTo>
                      <a:lnTo>
                        <a:pt x="7" y="29"/>
                      </a:lnTo>
                      <a:lnTo>
                        <a:pt x="9" y="29"/>
                      </a:lnTo>
                      <a:lnTo>
                        <a:pt x="9" y="27"/>
                      </a:lnTo>
                      <a:lnTo>
                        <a:pt x="9" y="26"/>
                      </a:lnTo>
                      <a:lnTo>
                        <a:pt x="10" y="22"/>
                      </a:lnTo>
                      <a:lnTo>
                        <a:pt x="12" y="21"/>
                      </a:lnTo>
                      <a:lnTo>
                        <a:pt x="15" y="22"/>
                      </a:lnTo>
                      <a:lnTo>
                        <a:pt x="19" y="22"/>
                      </a:lnTo>
                      <a:lnTo>
                        <a:pt x="19" y="24"/>
                      </a:lnTo>
                      <a:lnTo>
                        <a:pt x="22" y="22"/>
                      </a:lnTo>
                      <a:lnTo>
                        <a:pt x="24" y="22"/>
                      </a:lnTo>
                      <a:lnTo>
                        <a:pt x="29" y="22"/>
                      </a:lnTo>
                      <a:lnTo>
                        <a:pt x="29" y="21"/>
                      </a:lnTo>
                      <a:lnTo>
                        <a:pt x="30" y="19"/>
                      </a:lnTo>
                      <a:lnTo>
                        <a:pt x="32" y="17"/>
                      </a:lnTo>
                      <a:lnTo>
                        <a:pt x="34" y="17"/>
                      </a:lnTo>
                      <a:lnTo>
                        <a:pt x="36" y="16"/>
                      </a:lnTo>
                      <a:lnTo>
                        <a:pt x="36" y="14"/>
                      </a:lnTo>
                      <a:lnTo>
                        <a:pt x="32" y="14"/>
                      </a:lnTo>
                      <a:lnTo>
                        <a:pt x="30" y="16"/>
                      </a:lnTo>
                      <a:lnTo>
                        <a:pt x="29" y="14"/>
                      </a:lnTo>
                      <a:lnTo>
                        <a:pt x="27" y="14"/>
                      </a:lnTo>
                      <a:lnTo>
                        <a:pt x="25" y="14"/>
                      </a:lnTo>
                      <a:lnTo>
                        <a:pt x="27" y="12"/>
                      </a:lnTo>
                      <a:lnTo>
                        <a:pt x="29" y="12"/>
                      </a:lnTo>
                      <a:lnTo>
                        <a:pt x="30" y="11"/>
                      </a:lnTo>
                      <a:lnTo>
                        <a:pt x="32" y="9"/>
                      </a:lnTo>
                      <a:lnTo>
                        <a:pt x="30" y="9"/>
                      </a:lnTo>
                      <a:lnTo>
                        <a:pt x="32" y="5"/>
                      </a:lnTo>
                      <a:lnTo>
                        <a:pt x="34" y="5"/>
                      </a:lnTo>
                      <a:lnTo>
                        <a:pt x="36" y="4"/>
                      </a:lnTo>
                      <a:lnTo>
                        <a:pt x="39" y="2"/>
                      </a:lnTo>
                      <a:lnTo>
                        <a:pt x="41" y="2"/>
                      </a:lnTo>
                      <a:lnTo>
                        <a:pt x="42" y="2"/>
                      </a:lnTo>
                      <a:lnTo>
                        <a:pt x="44" y="0"/>
                      </a:lnTo>
                      <a:lnTo>
                        <a:pt x="44" y="2"/>
                      </a:lnTo>
                      <a:lnTo>
                        <a:pt x="44" y="5"/>
                      </a:lnTo>
                      <a:lnTo>
                        <a:pt x="44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53" name="Group 1652">
                <a:extLst>
                  <a:ext uri="{FF2B5EF4-FFF2-40B4-BE49-F238E27FC236}">
                    <a16:creationId xmlns:a16="http://schemas.microsoft.com/office/drawing/2014/main" id="{80E84D1E-3DA8-5B4A-AF8C-A386E326D95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65" y="561"/>
                <a:ext cx="184" cy="196"/>
                <a:chOff x="265" y="561"/>
                <a:chExt cx="184" cy="196"/>
              </a:xfrm>
            </p:grpSpPr>
            <p:grpSp>
              <p:nvGrpSpPr>
                <p:cNvPr id="1884" name="Group 1883">
                  <a:extLst>
                    <a:ext uri="{FF2B5EF4-FFF2-40B4-BE49-F238E27FC236}">
                      <a16:creationId xmlns:a16="http://schemas.microsoft.com/office/drawing/2014/main" id="{79E755F4-89FC-B647-88B4-E0B840821B66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65" y="561"/>
                  <a:ext cx="184" cy="174"/>
                  <a:chOff x="265" y="561"/>
                  <a:chExt cx="184" cy="174"/>
                </a:xfrm>
              </p:grpSpPr>
              <p:sp>
                <p:nvSpPr>
                  <p:cNvPr id="1891" name="Freeform 265">
                    <a:extLst>
                      <a:ext uri="{FF2B5EF4-FFF2-40B4-BE49-F238E27FC236}">
                        <a16:creationId xmlns:a16="http://schemas.microsoft.com/office/drawing/2014/main" id="{1E7C9793-5EC8-B642-BF68-2008E85904B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5" y="561"/>
                    <a:ext cx="184" cy="174"/>
                  </a:xfrm>
                  <a:custGeom>
                    <a:avLst/>
                    <a:gdLst>
                      <a:gd name="T0" fmla="*/ 104 w 184"/>
                      <a:gd name="T1" fmla="*/ 27 h 174"/>
                      <a:gd name="T2" fmla="*/ 91 w 184"/>
                      <a:gd name="T3" fmla="*/ 32 h 174"/>
                      <a:gd name="T4" fmla="*/ 88 w 184"/>
                      <a:gd name="T5" fmla="*/ 39 h 174"/>
                      <a:gd name="T6" fmla="*/ 88 w 184"/>
                      <a:gd name="T7" fmla="*/ 46 h 174"/>
                      <a:gd name="T8" fmla="*/ 91 w 184"/>
                      <a:gd name="T9" fmla="*/ 57 h 174"/>
                      <a:gd name="T10" fmla="*/ 99 w 184"/>
                      <a:gd name="T11" fmla="*/ 64 h 174"/>
                      <a:gd name="T12" fmla="*/ 106 w 184"/>
                      <a:gd name="T13" fmla="*/ 67 h 174"/>
                      <a:gd name="T14" fmla="*/ 111 w 184"/>
                      <a:gd name="T15" fmla="*/ 78 h 174"/>
                      <a:gd name="T16" fmla="*/ 118 w 184"/>
                      <a:gd name="T17" fmla="*/ 89 h 174"/>
                      <a:gd name="T18" fmla="*/ 125 w 184"/>
                      <a:gd name="T19" fmla="*/ 96 h 174"/>
                      <a:gd name="T20" fmla="*/ 133 w 184"/>
                      <a:gd name="T21" fmla="*/ 99 h 174"/>
                      <a:gd name="T22" fmla="*/ 141 w 184"/>
                      <a:gd name="T23" fmla="*/ 99 h 174"/>
                      <a:gd name="T24" fmla="*/ 148 w 184"/>
                      <a:gd name="T25" fmla="*/ 101 h 174"/>
                      <a:gd name="T26" fmla="*/ 145 w 184"/>
                      <a:gd name="T27" fmla="*/ 108 h 174"/>
                      <a:gd name="T28" fmla="*/ 157 w 184"/>
                      <a:gd name="T29" fmla="*/ 113 h 174"/>
                      <a:gd name="T30" fmla="*/ 174 w 184"/>
                      <a:gd name="T31" fmla="*/ 121 h 174"/>
                      <a:gd name="T32" fmla="*/ 184 w 184"/>
                      <a:gd name="T33" fmla="*/ 132 h 174"/>
                      <a:gd name="T34" fmla="*/ 179 w 184"/>
                      <a:gd name="T35" fmla="*/ 137 h 174"/>
                      <a:gd name="T36" fmla="*/ 165 w 184"/>
                      <a:gd name="T37" fmla="*/ 126 h 174"/>
                      <a:gd name="T38" fmla="*/ 155 w 184"/>
                      <a:gd name="T39" fmla="*/ 135 h 174"/>
                      <a:gd name="T40" fmla="*/ 158 w 184"/>
                      <a:gd name="T41" fmla="*/ 143 h 174"/>
                      <a:gd name="T42" fmla="*/ 163 w 184"/>
                      <a:gd name="T43" fmla="*/ 152 h 174"/>
                      <a:gd name="T44" fmla="*/ 155 w 184"/>
                      <a:gd name="T45" fmla="*/ 157 h 174"/>
                      <a:gd name="T46" fmla="*/ 152 w 184"/>
                      <a:gd name="T47" fmla="*/ 165 h 174"/>
                      <a:gd name="T48" fmla="*/ 147 w 184"/>
                      <a:gd name="T49" fmla="*/ 172 h 174"/>
                      <a:gd name="T50" fmla="*/ 141 w 184"/>
                      <a:gd name="T51" fmla="*/ 174 h 174"/>
                      <a:gd name="T52" fmla="*/ 143 w 184"/>
                      <a:gd name="T53" fmla="*/ 160 h 174"/>
                      <a:gd name="T54" fmla="*/ 147 w 184"/>
                      <a:gd name="T55" fmla="*/ 152 h 174"/>
                      <a:gd name="T56" fmla="*/ 141 w 184"/>
                      <a:gd name="T57" fmla="*/ 138 h 174"/>
                      <a:gd name="T58" fmla="*/ 136 w 184"/>
                      <a:gd name="T59" fmla="*/ 135 h 174"/>
                      <a:gd name="T60" fmla="*/ 130 w 184"/>
                      <a:gd name="T61" fmla="*/ 128 h 174"/>
                      <a:gd name="T62" fmla="*/ 121 w 184"/>
                      <a:gd name="T63" fmla="*/ 123 h 174"/>
                      <a:gd name="T64" fmla="*/ 113 w 184"/>
                      <a:gd name="T65" fmla="*/ 115 h 174"/>
                      <a:gd name="T66" fmla="*/ 99 w 184"/>
                      <a:gd name="T67" fmla="*/ 111 h 174"/>
                      <a:gd name="T68" fmla="*/ 84 w 184"/>
                      <a:gd name="T69" fmla="*/ 98 h 174"/>
                      <a:gd name="T70" fmla="*/ 72 w 184"/>
                      <a:gd name="T71" fmla="*/ 89 h 174"/>
                      <a:gd name="T72" fmla="*/ 64 w 184"/>
                      <a:gd name="T73" fmla="*/ 83 h 174"/>
                      <a:gd name="T74" fmla="*/ 55 w 184"/>
                      <a:gd name="T75" fmla="*/ 66 h 174"/>
                      <a:gd name="T76" fmla="*/ 42 w 184"/>
                      <a:gd name="T77" fmla="*/ 54 h 174"/>
                      <a:gd name="T78" fmla="*/ 29 w 184"/>
                      <a:gd name="T79" fmla="*/ 54 h 174"/>
                      <a:gd name="T80" fmla="*/ 23 w 184"/>
                      <a:gd name="T81" fmla="*/ 62 h 174"/>
                      <a:gd name="T82" fmla="*/ 13 w 184"/>
                      <a:gd name="T83" fmla="*/ 62 h 174"/>
                      <a:gd name="T84" fmla="*/ 8 w 184"/>
                      <a:gd name="T85" fmla="*/ 57 h 174"/>
                      <a:gd name="T86" fmla="*/ 3 w 184"/>
                      <a:gd name="T87" fmla="*/ 46 h 174"/>
                      <a:gd name="T88" fmla="*/ 2 w 184"/>
                      <a:gd name="T89" fmla="*/ 39 h 174"/>
                      <a:gd name="T90" fmla="*/ 3 w 184"/>
                      <a:gd name="T91" fmla="*/ 32 h 174"/>
                      <a:gd name="T92" fmla="*/ 3 w 184"/>
                      <a:gd name="T93" fmla="*/ 24 h 174"/>
                      <a:gd name="T94" fmla="*/ 13 w 184"/>
                      <a:gd name="T95" fmla="*/ 24 h 174"/>
                      <a:gd name="T96" fmla="*/ 22 w 184"/>
                      <a:gd name="T97" fmla="*/ 17 h 174"/>
                      <a:gd name="T98" fmla="*/ 32 w 184"/>
                      <a:gd name="T99" fmla="*/ 20 h 174"/>
                      <a:gd name="T100" fmla="*/ 39 w 184"/>
                      <a:gd name="T101" fmla="*/ 17 h 174"/>
                      <a:gd name="T102" fmla="*/ 47 w 184"/>
                      <a:gd name="T103" fmla="*/ 15 h 174"/>
                      <a:gd name="T104" fmla="*/ 54 w 184"/>
                      <a:gd name="T105" fmla="*/ 10 h 174"/>
                      <a:gd name="T106" fmla="*/ 61 w 184"/>
                      <a:gd name="T107" fmla="*/ 5 h 174"/>
                      <a:gd name="T108" fmla="*/ 71 w 184"/>
                      <a:gd name="T109" fmla="*/ 3 h 174"/>
                      <a:gd name="T110" fmla="*/ 82 w 184"/>
                      <a:gd name="T111" fmla="*/ 0 h 174"/>
                      <a:gd name="T112" fmla="*/ 88 w 184"/>
                      <a:gd name="T113" fmla="*/ 7 h 174"/>
                      <a:gd name="T114" fmla="*/ 99 w 184"/>
                      <a:gd name="T115" fmla="*/ 10 h 174"/>
                      <a:gd name="T116" fmla="*/ 108 w 184"/>
                      <a:gd name="T117" fmla="*/ 12 h 174"/>
                      <a:gd name="T118" fmla="*/ 108 w 184"/>
                      <a:gd name="T119" fmla="*/ 17 h 174"/>
                      <a:gd name="T120" fmla="*/ 108 w 184"/>
                      <a:gd name="T121" fmla="*/ 25 h 174"/>
                      <a:gd name="T122" fmla="*/ 113 w 184"/>
                      <a:gd name="T123" fmla="*/ 29 h 1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184" h="174">
                        <a:moveTo>
                          <a:pt x="109" y="30"/>
                        </a:moveTo>
                        <a:lnTo>
                          <a:pt x="109" y="29"/>
                        </a:lnTo>
                        <a:lnTo>
                          <a:pt x="109" y="27"/>
                        </a:lnTo>
                        <a:lnTo>
                          <a:pt x="108" y="27"/>
                        </a:lnTo>
                        <a:lnTo>
                          <a:pt x="104" y="27"/>
                        </a:lnTo>
                        <a:lnTo>
                          <a:pt x="103" y="27"/>
                        </a:lnTo>
                        <a:lnTo>
                          <a:pt x="101" y="29"/>
                        </a:lnTo>
                        <a:lnTo>
                          <a:pt x="96" y="30"/>
                        </a:lnTo>
                        <a:lnTo>
                          <a:pt x="93" y="32"/>
                        </a:lnTo>
                        <a:lnTo>
                          <a:pt x="91" y="32"/>
                        </a:lnTo>
                        <a:lnTo>
                          <a:pt x="89" y="32"/>
                        </a:lnTo>
                        <a:lnTo>
                          <a:pt x="88" y="34"/>
                        </a:lnTo>
                        <a:lnTo>
                          <a:pt x="86" y="35"/>
                        </a:lnTo>
                        <a:lnTo>
                          <a:pt x="88" y="37"/>
                        </a:lnTo>
                        <a:lnTo>
                          <a:pt x="88" y="39"/>
                        </a:lnTo>
                        <a:lnTo>
                          <a:pt x="89" y="39"/>
                        </a:lnTo>
                        <a:lnTo>
                          <a:pt x="91" y="40"/>
                        </a:lnTo>
                        <a:lnTo>
                          <a:pt x="89" y="42"/>
                        </a:lnTo>
                        <a:lnTo>
                          <a:pt x="88" y="44"/>
                        </a:lnTo>
                        <a:lnTo>
                          <a:pt x="88" y="46"/>
                        </a:lnTo>
                        <a:lnTo>
                          <a:pt x="88" y="49"/>
                        </a:lnTo>
                        <a:lnTo>
                          <a:pt x="88" y="51"/>
                        </a:lnTo>
                        <a:lnTo>
                          <a:pt x="88" y="52"/>
                        </a:lnTo>
                        <a:lnTo>
                          <a:pt x="89" y="56"/>
                        </a:lnTo>
                        <a:lnTo>
                          <a:pt x="91" y="57"/>
                        </a:lnTo>
                        <a:lnTo>
                          <a:pt x="93" y="59"/>
                        </a:lnTo>
                        <a:lnTo>
                          <a:pt x="93" y="61"/>
                        </a:lnTo>
                        <a:lnTo>
                          <a:pt x="96" y="61"/>
                        </a:lnTo>
                        <a:lnTo>
                          <a:pt x="98" y="62"/>
                        </a:lnTo>
                        <a:lnTo>
                          <a:pt x="99" y="64"/>
                        </a:lnTo>
                        <a:lnTo>
                          <a:pt x="101" y="64"/>
                        </a:lnTo>
                        <a:lnTo>
                          <a:pt x="103" y="66"/>
                        </a:lnTo>
                        <a:lnTo>
                          <a:pt x="104" y="66"/>
                        </a:lnTo>
                        <a:lnTo>
                          <a:pt x="104" y="67"/>
                        </a:lnTo>
                        <a:lnTo>
                          <a:pt x="106" y="67"/>
                        </a:lnTo>
                        <a:lnTo>
                          <a:pt x="108" y="67"/>
                        </a:lnTo>
                        <a:lnTo>
                          <a:pt x="108" y="69"/>
                        </a:lnTo>
                        <a:lnTo>
                          <a:pt x="109" y="71"/>
                        </a:lnTo>
                        <a:lnTo>
                          <a:pt x="109" y="74"/>
                        </a:lnTo>
                        <a:lnTo>
                          <a:pt x="111" y="78"/>
                        </a:lnTo>
                        <a:lnTo>
                          <a:pt x="113" y="79"/>
                        </a:lnTo>
                        <a:lnTo>
                          <a:pt x="113" y="81"/>
                        </a:lnTo>
                        <a:lnTo>
                          <a:pt x="114" y="83"/>
                        </a:lnTo>
                        <a:lnTo>
                          <a:pt x="116" y="86"/>
                        </a:lnTo>
                        <a:lnTo>
                          <a:pt x="118" y="89"/>
                        </a:lnTo>
                        <a:lnTo>
                          <a:pt x="120" y="91"/>
                        </a:lnTo>
                        <a:lnTo>
                          <a:pt x="123" y="93"/>
                        </a:lnTo>
                        <a:lnTo>
                          <a:pt x="123" y="94"/>
                        </a:lnTo>
                        <a:lnTo>
                          <a:pt x="125" y="94"/>
                        </a:lnTo>
                        <a:lnTo>
                          <a:pt x="125" y="96"/>
                        </a:lnTo>
                        <a:lnTo>
                          <a:pt x="126" y="96"/>
                        </a:lnTo>
                        <a:lnTo>
                          <a:pt x="128" y="98"/>
                        </a:lnTo>
                        <a:lnTo>
                          <a:pt x="130" y="98"/>
                        </a:lnTo>
                        <a:lnTo>
                          <a:pt x="133" y="101"/>
                        </a:lnTo>
                        <a:lnTo>
                          <a:pt x="133" y="99"/>
                        </a:lnTo>
                        <a:lnTo>
                          <a:pt x="136" y="99"/>
                        </a:lnTo>
                        <a:lnTo>
                          <a:pt x="140" y="99"/>
                        </a:lnTo>
                        <a:lnTo>
                          <a:pt x="141" y="99"/>
                        </a:lnTo>
                        <a:lnTo>
                          <a:pt x="145" y="99"/>
                        </a:lnTo>
                        <a:lnTo>
                          <a:pt x="141" y="99"/>
                        </a:lnTo>
                        <a:lnTo>
                          <a:pt x="143" y="99"/>
                        </a:lnTo>
                        <a:lnTo>
                          <a:pt x="145" y="98"/>
                        </a:lnTo>
                        <a:lnTo>
                          <a:pt x="147" y="98"/>
                        </a:lnTo>
                        <a:lnTo>
                          <a:pt x="147" y="99"/>
                        </a:lnTo>
                        <a:lnTo>
                          <a:pt x="148" y="101"/>
                        </a:lnTo>
                        <a:lnTo>
                          <a:pt x="148" y="103"/>
                        </a:lnTo>
                        <a:lnTo>
                          <a:pt x="145" y="105"/>
                        </a:lnTo>
                        <a:lnTo>
                          <a:pt x="143" y="106"/>
                        </a:lnTo>
                        <a:lnTo>
                          <a:pt x="143" y="108"/>
                        </a:lnTo>
                        <a:lnTo>
                          <a:pt x="145" y="108"/>
                        </a:lnTo>
                        <a:lnTo>
                          <a:pt x="147" y="108"/>
                        </a:lnTo>
                        <a:lnTo>
                          <a:pt x="148" y="110"/>
                        </a:lnTo>
                        <a:lnTo>
                          <a:pt x="150" y="110"/>
                        </a:lnTo>
                        <a:lnTo>
                          <a:pt x="153" y="111"/>
                        </a:lnTo>
                        <a:lnTo>
                          <a:pt x="157" y="113"/>
                        </a:lnTo>
                        <a:lnTo>
                          <a:pt x="160" y="115"/>
                        </a:lnTo>
                        <a:lnTo>
                          <a:pt x="163" y="116"/>
                        </a:lnTo>
                        <a:lnTo>
                          <a:pt x="165" y="118"/>
                        </a:lnTo>
                        <a:lnTo>
                          <a:pt x="168" y="120"/>
                        </a:lnTo>
                        <a:lnTo>
                          <a:pt x="174" y="121"/>
                        </a:lnTo>
                        <a:lnTo>
                          <a:pt x="175" y="121"/>
                        </a:lnTo>
                        <a:lnTo>
                          <a:pt x="177" y="123"/>
                        </a:lnTo>
                        <a:lnTo>
                          <a:pt x="179" y="126"/>
                        </a:lnTo>
                        <a:lnTo>
                          <a:pt x="182" y="128"/>
                        </a:lnTo>
                        <a:lnTo>
                          <a:pt x="184" y="132"/>
                        </a:lnTo>
                        <a:lnTo>
                          <a:pt x="184" y="133"/>
                        </a:lnTo>
                        <a:lnTo>
                          <a:pt x="184" y="135"/>
                        </a:lnTo>
                        <a:lnTo>
                          <a:pt x="182" y="137"/>
                        </a:lnTo>
                        <a:lnTo>
                          <a:pt x="182" y="138"/>
                        </a:lnTo>
                        <a:lnTo>
                          <a:pt x="179" y="137"/>
                        </a:lnTo>
                        <a:lnTo>
                          <a:pt x="177" y="133"/>
                        </a:lnTo>
                        <a:lnTo>
                          <a:pt x="175" y="132"/>
                        </a:lnTo>
                        <a:lnTo>
                          <a:pt x="174" y="130"/>
                        </a:lnTo>
                        <a:lnTo>
                          <a:pt x="168" y="128"/>
                        </a:lnTo>
                        <a:lnTo>
                          <a:pt x="165" y="126"/>
                        </a:lnTo>
                        <a:lnTo>
                          <a:pt x="163" y="125"/>
                        </a:lnTo>
                        <a:lnTo>
                          <a:pt x="162" y="126"/>
                        </a:lnTo>
                        <a:lnTo>
                          <a:pt x="158" y="130"/>
                        </a:lnTo>
                        <a:lnTo>
                          <a:pt x="155" y="132"/>
                        </a:lnTo>
                        <a:lnTo>
                          <a:pt x="155" y="135"/>
                        </a:lnTo>
                        <a:lnTo>
                          <a:pt x="153" y="137"/>
                        </a:lnTo>
                        <a:lnTo>
                          <a:pt x="153" y="140"/>
                        </a:lnTo>
                        <a:lnTo>
                          <a:pt x="155" y="140"/>
                        </a:lnTo>
                        <a:lnTo>
                          <a:pt x="157" y="142"/>
                        </a:lnTo>
                        <a:lnTo>
                          <a:pt x="158" y="143"/>
                        </a:lnTo>
                        <a:lnTo>
                          <a:pt x="162" y="143"/>
                        </a:lnTo>
                        <a:lnTo>
                          <a:pt x="162" y="145"/>
                        </a:lnTo>
                        <a:lnTo>
                          <a:pt x="162" y="148"/>
                        </a:lnTo>
                        <a:lnTo>
                          <a:pt x="163" y="150"/>
                        </a:lnTo>
                        <a:lnTo>
                          <a:pt x="163" y="152"/>
                        </a:lnTo>
                        <a:lnTo>
                          <a:pt x="163" y="153"/>
                        </a:lnTo>
                        <a:lnTo>
                          <a:pt x="162" y="153"/>
                        </a:lnTo>
                        <a:lnTo>
                          <a:pt x="160" y="153"/>
                        </a:lnTo>
                        <a:lnTo>
                          <a:pt x="158" y="155"/>
                        </a:lnTo>
                        <a:lnTo>
                          <a:pt x="155" y="157"/>
                        </a:lnTo>
                        <a:lnTo>
                          <a:pt x="155" y="158"/>
                        </a:lnTo>
                        <a:lnTo>
                          <a:pt x="155" y="160"/>
                        </a:lnTo>
                        <a:lnTo>
                          <a:pt x="155" y="164"/>
                        </a:lnTo>
                        <a:lnTo>
                          <a:pt x="153" y="165"/>
                        </a:lnTo>
                        <a:lnTo>
                          <a:pt x="152" y="165"/>
                        </a:lnTo>
                        <a:lnTo>
                          <a:pt x="150" y="167"/>
                        </a:lnTo>
                        <a:lnTo>
                          <a:pt x="150" y="169"/>
                        </a:lnTo>
                        <a:lnTo>
                          <a:pt x="148" y="169"/>
                        </a:lnTo>
                        <a:lnTo>
                          <a:pt x="148" y="170"/>
                        </a:lnTo>
                        <a:lnTo>
                          <a:pt x="147" y="172"/>
                        </a:lnTo>
                        <a:lnTo>
                          <a:pt x="147" y="174"/>
                        </a:lnTo>
                        <a:lnTo>
                          <a:pt x="143" y="174"/>
                        </a:lnTo>
                        <a:lnTo>
                          <a:pt x="141" y="174"/>
                        </a:lnTo>
                        <a:lnTo>
                          <a:pt x="141" y="172"/>
                        </a:lnTo>
                        <a:lnTo>
                          <a:pt x="141" y="174"/>
                        </a:lnTo>
                        <a:lnTo>
                          <a:pt x="141" y="170"/>
                        </a:lnTo>
                        <a:lnTo>
                          <a:pt x="141" y="169"/>
                        </a:lnTo>
                        <a:lnTo>
                          <a:pt x="141" y="165"/>
                        </a:lnTo>
                        <a:lnTo>
                          <a:pt x="143" y="162"/>
                        </a:lnTo>
                        <a:lnTo>
                          <a:pt x="143" y="160"/>
                        </a:lnTo>
                        <a:lnTo>
                          <a:pt x="145" y="158"/>
                        </a:lnTo>
                        <a:lnTo>
                          <a:pt x="150" y="157"/>
                        </a:lnTo>
                        <a:lnTo>
                          <a:pt x="148" y="155"/>
                        </a:lnTo>
                        <a:lnTo>
                          <a:pt x="148" y="153"/>
                        </a:lnTo>
                        <a:lnTo>
                          <a:pt x="147" y="152"/>
                        </a:lnTo>
                        <a:lnTo>
                          <a:pt x="147" y="148"/>
                        </a:lnTo>
                        <a:lnTo>
                          <a:pt x="147" y="147"/>
                        </a:lnTo>
                        <a:lnTo>
                          <a:pt x="145" y="143"/>
                        </a:lnTo>
                        <a:lnTo>
                          <a:pt x="143" y="142"/>
                        </a:lnTo>
                        <a:lnTo>
                          <a:pt x="141" y="138"/>
                        </a:lnTo>
                        <a:lnTo>
                          <a:pt x="141" y="137"/>
                        </a:lnTo>
                        <a:lnTo>
                          <a:pt x="141" y="135"/>
                        </a:lnTo>
                        <a:lnTo>
                          <a:pt x="140" y="133"/>
                        </a:lnTo>
                        <a:lnTo>
                          <a:pt x="138" y="133"/>
                        </a:lnTo>
                        <a:lnTo>
                          <a:pt x="136" y="135"/>
                        </a:lnTo>
                        <a:lnTo>
                          <a:pt x="135" y="133"/>
                        </a:lnTo>
                        <a:lnTo>
                          <a:pt x="133" y="133"/>
                        </a:lnTo>
                        <a:lnTo>
                          <a:pt x="130" y="132"/>
                        </a:lnTo>
                        <a:lnTo>
                          <a:pt x="130" y="130"/>
                        </a:lnTo>
                        <a:lnTo>
                          <a:pt x="130" y="128"/>
                        </a:lnTo>
                        <a:lnTo>
                          <a:pt x="128" y="125"/>
                        </a:lnTo>
                        <a:lnTo>
                          <a:pt x="128" y="123"/>
                        </a:lnTo>
                        <a:lnTo>
                          <a:pt x="126" y="123"/>
                        </a:lnTo>
                        <a:lnTo>
                          <a:pt x="123" y="123"/>
                        </a:lnTo>
                        <a:lnTo>
                          <a:pt x="121" y="123"/>
                        </a:lnTo>
                        <a:lnTo>
                          <a:pt x="121" y="121"/>
                        </a:lnTo>
                        <a:lnTo>
                          <a:pt x="118" y="120"/>
                        </a:lnTo>
                        <a:lnTo>
                          <a:pt x="116" y="120"/>
                        </a:lnTo>
                        <a:lnTo>
                          <a:pt x="114" y="116"/>
                        </a:lnTo>
                        <a:lnTo>
                          <a:pt x="113" y="115"/>
                        </a:lnTo>
                        <a:lnTo>
                          <a:pt x="111" y="111"/>
                        </a:lnTo>
                        <a:lnTo>
                          <a:pt x="109" y="111"/>
                        </a:lnTo>
                        <a:lnTo>
                          <a:pt x="106" y="111"/>
                        </a:lnTo>
                        <a:lnTo>
                          <a:pt x="101" y="111"/>
                        </a:lnTo>
                        <a:lnTo>
                          <a:pt x="99" y="111"/>
                        </a:lnTo>
                        <a:lnTo>
                          <a:pt x="96" y="110"/>
                        </a:lnTo>
                        <a:lnTo>
                          <a:pt x="93" y="106"/>
                        </a:lnTo>
                        <a:lnTo>
                          <a:pt x="89" y="103"/>
                        </a:lnTo>
                        <a:lnTo>
                          <a:pt x="86" y="99"/>
                        </a:lnTo>
                        <a:lnTo>
                          <a:pt x="84" y="98"/>
                        </a:lnTo>
                        <a:lnTo>
                          <a:pt x="81" y="96"/>
                        </a:lnTo>
                        <a:lnTo>
                          <a:pt x="79" y="94"/>
                        </a:lnTo>
                        <a:lnTo>
                          <a:pt x="77" y="91"/>
                        </a:lnTo>
                        <a:lnTo>
                          <a:pt x="74" y="89"/>
                        </a:lnTo>
                        <a:lnTo>
                          <a:pt x="72" y="89"/>
                        </a:lnTo>
                        <a:lnTo>
                          <a:pt x="71" y="91"/>
                        </a:lnTo>
                        <a:lnTo>
                          <a:pt x="69" y="89"/>
                        </a:lnTo>
                        <a:lnTo>
                          <a:pt x="69" y="86"/>
                        </a:lnTo>
                        <a:lnTo>
                          <a:pt x="66" y="84"/>
                        </a:lnTo>
                        <a:lnTo>
                          <a:pt x="64" y="83"/>
                        </a:lnTo>
                        <a:lnTo>
                          <a:pt x="61" y="79"/>
                        </a:lnTo>
                        <a:lnTo>
                          <a:pt x="61" y="76"/>
                        </a:lnTo>
                        <a:lnTo>
                          <a:pt x="61" y="74"/>
                        </a:lnTo>
                        <a:lnTo>
                          <a:pt x="57" y="69"/>
                        </a:lnTo>
                        <a:lnTo>
                          <a:pt x="55" y="66"/>
                        </a:lnTo>
                        <a:lnTo>
                          <a:pt x="55" y="62"/>
                        </a:lnTo>
                        <a:lnTo>
                          <a:pt x="55" y="61"/>
                        </a:lnTo>
                        <a:lnTo>
                          <a:pt x="50" y="59"/>
                        </a:lnTo>
                        <a:lnTo>
                          <a:pt x="47" y="57"/>
                        </a:lnTo>
                        <a:lnTo>
                          <a:pt x="42" y="54"/>
                        </a:lnTo>
                        <a:lnTo>
                          <a:pt x="39" y="52"/>
                        </a:lnTo>
                        <a:lnTo>
                          <a:pt x="35" y="52"/>
                        </a:lnTo>
                        <a:lnTo>
                          <a:pt x="34" y="52"/>
                        </a:lnTo>
                        <a:lnTo>
                          <a:pt x="30" y="54"/>
                        </a:lnTo>
                        <a:lnTo>
                          <a:pt x="29" y="54"/>
                        </a:lnTo>
                        <a:lnTo>
                          <a:pt x="27" y="56"/>
                        </a:lnTo>
                        <a:lnTo>
                          <a:pt x="27" y="57"/>
                        </a:lnTo>
                        <a:lnTo>
                          <a:pt x="25" y="59"/>
                        </a:lnTo>
                        <a:lnTo>
                          <a:pt x="23" y="61"/>
                        </a:lnTo>
                        <a:lnTo>
                          <a:pt x="23" y="62"/>
                        </a:lnTo>
                        <a:lnTo>
                          <a:pt x="22" y="62"/>
                        </a:lnTo>
                        <a:lnTo>
                          <a:pt x="18" y="64"/>
                        </a:lnTo>
                        <a:lnTo>
                          <a:pt x="17" y="64"/>
                        </a:lnTo>
                        <a:lnTo>
                          <a:pt x="13" y="64"/>
                        </a:lnTo>
                        <a:lnTo>
                          <a:pt x="13" y="62"/>
                        </a:lnTo>
                        <a:lnTo>
                          <a:pt x="13" y="61"/>
                        </a:lnTo>
                        <a:lnTo>
                          <a:pt x="13" y="59"/>
                        </a:lnTo>
                        <a:lnTo>
                          <a:pt x="13" y="57"/>
                        </a:lnTo>
                        <a:lnTo>
                          <a:pt x="12" y="57"/>
                        </a:lnTo>
                        <a:lnTo>
                          <a:pt x="8" y="57"/>
                        </a:lnTo>
                        <a:lnTo>
                          <a:pt x="7" y="56"/>
                        </a:lnTo>
                        <a:lnTo>
                          <a:pt x="5" y="54"/>
                        </a:lnTo>
                        <a:lnTo>
                          <a:pt x="3" y="51"/>
                        </a:lnTo>
                        <a:lnTo>
                          <a:pt x="3" y="49"/>
                        </a:lnTo>
                        <a:lnTo>
                          <a:pt x="3" y="46"/>
                        </a:lnTo>
                        <a:lnTo>
                          <a:pt x="3" y="44"/>
                        </a:lnTo>
                        <a:lnTo>
                          <a:pt x="2" y="44"/>
                        </a:lnTo>
                        <a:lnTo>
                          <a:pt x="2" y="42"/>
                        </a:lnTo>
                        <a:lnTo>
                          <a:pt x="0" y="40"/>
                        </a:lnTo>
                        <a:lnTo>
                          <a:pt x="2" y="39"/>
                        </a:lnTo>
                        <a:lnTo>
                          <a:pt x="3" y="37"/>
                        </a:lnTo>
                        <a:lnTo>
                          <a:pt x="5" y="37"/>
                        </a:lnTo>
                        <a:lnTo>
                          <a:pt x="7" y="35"/>
                        </a:lnTo>
                        <a:lnTo>
                          <a:pt x="5" y="34"/>
                        </a:lnTo>
                        <a:lnTo>
                          <a:pt x="3" y="32"/>
                        </a:lnTo>
                        <a:lnTo>
                          <a:pt x="3" y="29"/>
                        </a:lnTo>
                        <a:lnTo>
                          <a:pt x="2" y="27"/>
                        </a:lnTo>
                        <a:lnTo>
                          <a:pt x="2" y="25"/>
                        </a:lnTo>
                        <a:lnTo>
                          <a:pt x="2" y="24"/>
                        </a:lnTo>
                        <a:lnTo>
                          <a:pt x="3" y="24"/>
                        </a:lnTo>
                        <a:lnTo>
                          <a:pt x="5" y="24"/>
                        </a:lnTo>
                        <a:lnTo>
                          <a:pt x="7" y="24"/>
                        </a:lnTo>
                        <a:lnTo>
                          <a:pt x="10" y="24"/>
                        </a:lnTo>
                        <a:lnTo>
                          <a:pt x="12" y="24"/>
                        </a:lnTo>
                        <a:lnTo>
                          <a:pt x="13" y="24"/>
                        </a:lnTo>
                        <a:lnTo>
                          <a:pt x="15" y="22"/>
                        </a:lnTo>
                        <a:lnTo>
                          <a:pt x="18" y="22"/>
                        </a:lnTo>
                        <a:lnTo>
                          <a:pt x="20" y="20"/>
                        </a:lnTo>
                        <a:lnTo>
                          <a:pt x="22" y="19"/>
                        </a:lnTo>
                        <a:lnTo>
                          <a:pt x="22" y="17"/>
                        </a:lnTo>
                        <a:lnTo>
                          <a:pt x="23" y="15"/>
                        </a:lnTo>
                        <a:lnTo>
                          <a:pt x="27" y="13"/>
                        </a:lnTo>
                        <a:lnTo>
                          <a:pt x="27" y="15"/>
                        </a:lnTo>
                        <a:lnTo>
                          <a:pt x="29" y="19"/>
                        </a:lnTo>
                        <a:lnTo>
                          <a:pt x="32" y="20"/>
                        </a:lnTo>
                        <a:lnTo>
                          <a:pt x="34" y="22"/>
                        </a:lnTo>
                        <a:lnTo>
                          <a:pt x="35" y="24"/>
                        </a:lnTo>
                        <a:lnTo>
                          <a:pt x="35" y="22"/>
                        </a:lnTo>
                        <a:lnTo>
                          <a:pt x="37" y="20"/>
                        </a:lnTo>
                        <a:lnTo>
                          <a:pt x="39" y="17"/>
                        </a:lnTo>
                        <a:lnTo>
                          <a:pt x="40" y="15"/>
                        </a:lnTo>
                        <a:lnTo>
                          <a:pt x="40" y="12"/>
                        </a:lnTo>
                        <a:lnTo>
                          <a:pt x="42" y="13"/>
                        </a:lnTo>
                        <a:lnTo>
                          <a:pt x="44" y="15"/>
                        </a:lnTo>
                        <a:lnTo>
                          <a:pt x="47" y="15"/>
                        </a:lnTo>
                        <a:lnTo>
                          <a:pt x="50" y="15"/>
                        </a:lnTo>
                        <a:lnTo>
                          <a:pt x="54" y="15"/>
                        </a:lnTo>
                        <a:lnTo>
                          <a:pt x="52" y="13"/>
                        </a:lnTo>
                        <a:lnTo>
                          <a:pt x="52" y="12"/>
                        </a:lnTo>
                        <a:lnTo>
                          <a:pt x="54" y="10"/>
                        </a:lnTo>
                        <a:lnTo>
                          <a:pt x="55" y="10"/>
                        </a:lnTo>
                        <a:lnTo>
                          <a:pt x="57" y="8"/>
                        </a:lnTo>
                        <a:lnTo>
                          <a:pt x="57" y="7"/>
                        </a:lnTo>
                        <a:lnTo>
                          <a:pt x="59" y="5"/>
                        </a:lnTo>
                        <a:lnTo>
                          <a:pt x="61" y="5"/>
                        </a:lnTo>
                        <a:lnTo>
                          <a:pt x="62" y="5"/>
                        </a:lnTo>
                        <a:lnTo>
                          <a:pt x="66" y="5"/>
                        </a:lnTo>
                        <a:lnTo>
                          <a:pt x="67" y="5"/>
                        </a:lnTo>
                        <a:lnTo>
                          <a:pt x="69" y="3"/>
                        </a:lnTo>
                        <a:lnTo>
                          <a:pt x="71" y="3"/>
                        </a:lnTo>
                        <a:lnTo>
                          <a:pt x="72" y="2"/>
                        </a:lnTo>
                        <a:lnTo>
                          <a:pt x="76" y="2"/>
                        </a:lnTo>
                        <a:lnTo>
                          <a:pt x="79" y="2"/>
                        </a:lnTo>
                        <a:lnTo>
                          <a:pt x="81" y="2"/>
                        </a:lnTo>
                        <a:lnTo>
                          <a:pt x="82" y="0"/>
                        </a:lnTo>
                        <a:lnTo>
                          <a:pt x="84" y="0"/>
                        </a:lnTo>
                        <a:lnTo>
                          <a:pt x="84" y="2"/>
                        </a:lnTo>
                        <a:lnTo>
                          <a:pt x="86" y="3"/>
                        </a:lnTo>
                        <a:lnTo>
                          <a:pt x="86" y="7"/>
                        </a:lnTo>
                        <a:lnTo>
                          <a:pt x="88" y="7"/>
                        </a:lnTo>
                        <a:lnTo>
                          <a:pt x="89" y="8"/>
                        </a:lnTo>
                        <a:lnTo>
                          <a:pt x="91" y="8"/>
                        </a:lnTo>
                        <a:lnTo>
                          <a:pt x="94" y="10"/>
                        </a:lnTo>
                        <a:lnTo>
                          <a:pt x="96" y="10"/>
                        </a:lnTo>
                        <a:lnTo>
                          <a:pt x="99" y="10"/>
                        </a:lnTo>
                        <a:lnTo>
                          <a:pt x="103" y="10"/>
                        </a:lnTo>
                        <a:lnTo>
                          <a:pt x="104" y="12"/>
                        </a:lnTo>
                        <a:lnTo>
                          <a:pt x="106" y="12"/>
                        </a:lnTo>
                        <a:lnTo>
                          <a:pt x="109" y="12"/>
                        </a:lnTo>
                        <a:lnTo>
                          <a:pt x="108" y="12"/>
                        </a:lnTo>
                        <a:lnTo>
                          <a:pt x="108" y="13"/>
                        </a:lnTo>
                        <a:lnTo>
                          <a:pt x="106" y="13"/>
                        </a:lnTo>
                        <a:lnTo>
                          <a:pt x="104" y="17"/>
                        </a:lnTo>
                        <a:lnTo>
                          <a:pt x="106" y="17"/>
                        </a:lnTo>
                        <a:lnTo>
                          <a:pt x="108" y="17"/>
                        </a:lnTo>
                        <a:lnTo>
                          <a:pt x="106" y="19"/>
                        </a:lnTo>
                        <a:lnTo>
                          <a:pt x="106" y="22"/>
                        </a:lnTo>
                        <a:lnTo>
                          <a:pt x="108" y="22"/>
                        </a:lnTo>
                        <a:lnTo>
                          <a:pt x="108" y="24"/>
                        </a:lnTo>
                        <a:lnTo>
                          <a:pt x="108" y="25"/>
                        </a:lnTo>
                        <a:lnTo>
                          <a:pt x="109" y="25"/>
                        </a:lnTo>
                        <a:lnTo>
                          <a:pt x="111" y="25"/>
                        </a:lnTo>
                        <a:lnTo>
                          <a:pt x="111" y="27"/>
                        </a:lnTo>
                        <a:lnTo>
                          <a:pt x="113" y="27"/>
                        </a:lnTo>
                        <a:lnTo>
                          <a:pt x="113" y="29"/>
                        </a:lnTo>
                        <a:lnTo>
                          <a:pt x="113" y="30"/>
                        </a:lnTo>
                        <a:lnTo>
                          <a:pt x="111" y="30"/>
                        </a:lnTo>
                        <a:lnTo>
                          <a:pt x="109" y="3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92" name="Freeform 266">
                    <a:extLst>
                      <a:ext uri="{FF2B5EF4-FFF2-40B4-BE49-F238E27FC236}">
                        <a16:creationId xmlns:a16="http://schemas.microsoft.com/office/drawing/2014/main" id="{4B30093A-CDE6-6F4F-A7B6-AAD67221BB0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5" y="561"/>
                    <a:ext cx="184" cy="174"/>
                  </a:xfrm>
                  <a:custGeom>
                    <a:avLst/>
                    <a:gdLst>
                      <a:gd name="T0" fmla="*/ 104 w 184"/>
                      <a:gd name="T1" fmla="*/ 27 h 174"/>
                      <a:gd name="T2" fmla="*/ 91 w 184"/>
                      <a:gd name="T3" fmla="*/ 32 h 174"/>
                      <a:gd name="T4" fmla="*/ 88 w 184"/>
                      <a:gd name="T5" fmla="*/ 39 h 174"/>
                      <a:gd name="T6" fmla="*/ 88 w 184"/>
                      <a:gd name="T7" fmla="*/ 46 h 174"/>
                      <a:gd name="T8" fmla="*/ 91 w 184"/>
                      <a:gd name="T9" fmla="*/ 57 h 174"/>
                      <a:gd name="T10" fmla="*/ 99 w 184"/>
                      <a:gd name="T11" fmla="*/ 64 h 174"/>
                      <a:gd name="T12" fmla="*/ 106 w 184"/>
                      <a:gd name="T13" fmla="*/ 67 h 174"/>
                      <a:gd name="T14" fmla="*/ 111 w 184"/>
                      <a:gd name="T15" fmla="*/ 78 h 174"/>
                      <a:gd name="T16" fmla="*/ 118 w 184"/>
                      <a:gd name="T17" fmla="*/ 89 h 174"/>
                      <a:gd name="T18" fmla="*/ 125 w 184"/>
                      <a:gd name="T19" fmla="*/ 96 h 174"/>
                      <a:gd name="T20" fmla="*/ 133 w 184"/>
                      <a:gd name="T21" fmla="*/ 99 h 174"/>
                      <a:gd name="T22" fmla="*/ 141 w 184"/>
                      <a:gd name="T23" fmla="*/ 99 h 174"/>
                      <a:gd name="T24" fmla="*/ 148 w 184"/>
                      <a:gd name="T25" fmla="*/ 101 h 174"/>
                      <a:gd name="T26" fmla="*/ 145 w 184"/>
                      <a:gd name="T27" fmla="*/ 108 h 174"/>
                      <a:gd name="T28" fmla="*/ 157 w 184"/>
                      <a:gd name="T29" fmla="*/ 113 h 174"/>
                      <a:gd name="T30" fmla="*/ 174 w 184"/>
                      <a:gd name="T31" fmla="*/ 121 h 174"/>
                      <a:gd name="T32" fmla="*/ 184 w 184"/>
                      <a:gd name="T33" fmla="*/ 132 h 174"/>
                      <a:gd name="T34" fmla="*/ 179 w 184"/>
                      <a:gd name="T35" fmla="*/ 137 h 174"/>
                      <a:gd name="T36" fmla="*/ 165 w 184"/>
                      <a:gd name="T37" fmla="*/ 126 h 174"/>
                      <a:gd name="T38" fmla="*/ 155 w 184"/>
                      <a:gd name="T39" fmla="*/ 135 h 174"/>
                      <a:gd name="T40" fmla="*/ 158 w 184"/>
                      <a:gd name="T41" fmla="*/ 143 h 174"/>
                      <a:gd name="T42" fmla="*/ 163 w 184"/>
                      <a:gd name="T43" fmla="*/ 152 h 174"/>
                      <a:gd name="T44" fmla="*/ 155 w 184"/>
                      <a:gd name="T45" fmla="*/ 157 h 174"/>
                      <a:gd name="T46" fmla="*/ 152 w 184"/>
                      <a:gd name="T47" fmla="*/ 165 h 174"/>
                      <a:gd name="T48" fmla="*/ 147 w 184"/>
                      <a:gd name="T49" fmla="*/ 172 h 174"/>
                      <a:gd name="T50" fmla="*/ 141 w 184"/>
                      <a:gd name="T51" fmla="*/ 174 h 174"/>
                      <a:gd name="T52" fmla="*/ 143 w 184"/>
                      <a:gd name="T53" fmla="*/ 160 h 174"/>
                      <a:gd name="T54" fmla="*/ 147 w 184"/>
                      <a:gd name="T55" fmla="*/ 152 h 174"/>
                      <a:gd name="T56" fmla="*/ 141 w 184"/>
                      <a:gd name="T57" fmla="*/ 138 h 174"/>
                      <a:gd name="T58" fmla="*/ 136 w 184"/>
                      <a:gd name="T59" fmla="*/ 135 h 174"/>
                      <a:gd name="T60" fmla="*/ 130 w 184"/>
                      <a:gd name="T61" fmla="*/ 128 h 174"/>
                      <a:gd name="T62" fmla="*/ 121 w 184"/>
                      <a:gd name="T63" fmla="*/ 123 h 174"/>
                      <a:gd name="T64" fmla="*/ 113 w 184"/>
                      <a:gd name="T65" fmla="*/ 115 h 174"/>
                      <a:gd name="T66" fmla="*/ 99 w 184"/>
                      <a:gd name="T67" fmla="*/ 111 h 174"/>
                      <a:gd name="T68" fmla="*/ 84 w 184"/>
                      <a:gd name="T69" fmla="*/ 98 h 174"/>
                      <a:gd name="T70" fmla="*/ 72 w 184"/>
                      <a:gd name="T71" fmla="*/ 89 h 174"/>
                      <a:gd name="T72" fmla="*/ 64 w 184"/>
                      <a:gd name="T73" fmla="*/ 83 h 174"/>
                      <a:gd name="T74" fmla="*/ 55 w 184"/>
                      <a:gd name="T75" fmla="*/ 66 h 174"/>
                      <a:gd name="T76" fmla="*/ 42 w 184"/>
                      <a:gd name="T77" fmla="*/ 54 h 174"/>
                      <a:gd name="T78" fmla="*/ 29 w 184"/>
                      <a:gd name="T79" fmla="*/ 54 h 174"/>
                      <a:gd name="T80" fmla="*/ 23 w 184"/>
                      <a:gd name="T81" fmla="*/ 62 h 174"/>
                      <a:gd name="T82" fmla="*/ 13 w 184"/>
                      <a:gd name="T83" fmla="*/ 62 h 174"/>
                      <a:gd name="T84" fmla="*/ 8 w 184"/>
                      <a:gd name="T85" fmla="*/ 57 h 174"/>
                      <a:gd name="T86" fmla="*/ 3 w 184"/>
                      <a:gd name="T87" fmla="*/ 46 h 174"/>
                      <a:gd name="T88" fmla="*/ 2 w 184"/>
                      <a:gd name="T89" fmla="*/ 39 h 174"/>
                      <a:gd name="T90" fmla="*/ 3 w 184"/>
                      <a:gd name="T91" fmla="*/ 32 h 174"/>
                      <a:gd name="T92" fmla="*/ 3 w 184"/>
                      <a:gd name="T93" fmla="*/ 24 h 174"/>
                      <a:gd name="T94" fmla="*/ 13 w 184"/>
                      <a:gd name="T95" fmla="*/ 24 h 174"/>
                      <a:gd name="T96" fmla="*/ 22 w 184"/>
                      <a:gd name="T97" fmla="*/ 17 h 174"/>
                      <a:gd name="T98" fmla="*/ 32 w 184"/>
                      <a:gd name="T99" fmla="*/ 20 h 174"/>
                      <a:gd name="T100" fmla="*/ 39 w 184"/>
                      <a:gd name="T101" fmla="*/ 17 h 174"/>
                      <a:gd name="T102" fmla="*/ 47 w 184"/>
                      <a:gd name="T103" fmla="*/ 15 h 174"/>
                      <a:gd name="T104" fmla="*/ 54 w 184"/>
                      <a:gd name="T105" fmla="*/ 10 h 174"/>
                      <a:gd name="T106" fmla="*/ 61 w 184"/>
                      <a:gd name="T107" fmla="*/ 5 h 174"/>
                      <a:gd name="T108" fmla="*/ 71 w 184"/>
                      <a:gd name="T109" fmla="*/ 3 h 174"/>
                      <a:gd name="T110" fmla="*/ 82 w 184"/>
                      <a:gd name="T111" fmla="*/ 0 h 174"/>
                      <a:gd name="T112" fmla="*/ 88 w 184"/>
                      <a:gd name="T113" fmla="*/ 7 h 174"/>
                      <a:gd name="T114" fmla="*/ 99 w 184"/>
                      <a:gd name="T115" fmla="*/ 10 h 174"/>
                      <a:gd name="T116" fmla="*/ 108 w 184"/>
                      <a:gd name="T117" fmla="*/ 12 h 174"/>
                      <a:gd name="T118" fmla="*/ 108 w 184"/>
                      <a:gd name="T119" fmla="*/ 17 h 174"/>
                      <a:gd name="T120" fmla="*/ 108 w 184"/>
                      <a:gd name="T121" fmla="*/ 25 h 174"/>
                      <a:gd name="T122" fmla="*/ 113 w 184"/>
                      <a:gd name="T123" fmla="*/ 29 h 1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184" h="174">
                        <a:moveTo>
                          <a:pt x="109" y="30"/>
                        </a:moveTo>
                        <a:lnTo>
                          <a:pt x="109" y="29"/>
                        </a:lnTo>
                        <a:lnTo>
                          <a:pt x="109" y="27"/>
                        </a:lnTo>
                        <a:lnTo>
                          <a:pt x="108" y="27"/>
                        </a:lnTo>
                        <a:lnTo>
                          <a:pt x="104" y="27"/>
                        </a:lnTo>
                        <a:lnTo>
                          <a:pt x="103" y="27"/>
                        </a:lnTo>
                        <a:lnTo>
                          <a:pt x="101" y="29"/>
                        </a:lnTo>
                        <a:lnTo>
                          <a:pt x="96" y="30"/>
                        </a:lnTo>
                        <a:lnTo>
                          <a:pt x="93" y="32"/>
                        </a:lnTo>
                        <a:lnTo>
                          <a:pt x="91" y="32"/>
                        </a:lnTo>
                        <a:lnTo>
                          <a:pt x="89" y="32"/>
                        </a:lnTo>
                        <a:lnTo>
                          <a:pt x="88" y="34"/>
                        </a:lnTo>
                        <a:lnTo>
                          <a:pt x="86" y="35"/>
                        </a:lnTo>
                        <a:lnTo>
                          <a:pt x="88" y="37"/>
                        </a:lnTo>
                        <a:lnTo>
                          <a:pt x="88" y="39"/>
                        </a:lnTo>
                        <a:lnTo>
                          <a:pt x="89" y="39"/>
                        </a:lnTo>
                        <a:lnTo>
                          <a:pt x="91" y="40"/>
                        </a:lnTo>
                        <a:lnTo>
                          <a:pt x="89" y="42"/>
                        </a:lnTo>
                        <a:lnTo>
                          <a:pt x="88" y="44"/>
                        </a:lnTo>
                        <a:lnTo>
                          <a:pt x="88" y="46"/>
                        </a:lnTo>
                        <a:lnTo>
                          <a:pt x="88" y="49"/>
                        </a:lnTo>
                        <a:lnTo>
                          <a:pt x="88" y="51"/>
                        </a:lnTo>
                        <a:lnTo>
                          <a:pt x="88" y="52"/>
                        </a:lnTo>
                        <a:lnTo>
                          <a:pt x="89" y="56"/>
                        </a:lnTo>
                        <a:lnTo>
                          <a:pt x="91" y="57"/>
                        </a:lnTo>
                        <a:lnTo>
                          <a:pt x="93" y="59"/>
                        </a:lnTo>
                        <a:lnTo>
                          <a:pt x="93" y="61"/>
                        </a:lnTo>
                        <a:lnTo>
                          <a:pt x="96" y="61"/>
                        </a:lnTo>
                        <a:lnTo>
                          <a:pt x="98" y="62"/>
                        </a:lnTo>
                        <a:lnTo>
                          <a:pt x="99" y="64"/>
                        </a:lnTo>
                        <a:lnTo>
                          <a:pt x="101" y="64"/>
                        </a:lnTo>
                        <a:lnTo>
                          <a:pt x="103" y="66"/>
                        </a:lnTo>
                        <a:lnTo>
                          <a:pt x="104" y="66"/>
                        </a:lnTo>
                        <a:lnTo>
                          <a:pt x="104" y="67"/>
                        </a:lnTo>
                        <a:lnTo>
                          <a:pt x="106" y="67"/>
                        </a:lnTo>
                        <a:lnTo>
                          <a:pt x="108" y="67"/>
                        </a:lnTo>
                        <a:lnTo>
                          <a:pt x="108" y="69"/>
                        </a:lnTo>
                        <a:lnTo>
                          <a:pt x="109" y="71"/>
                        </a:lnTo>
                        <a:lnTo>
                          <a:pt x="109" y="74"/>
                        </a:lnTo>
                        <a:lnTo>
                          <a:pt x="111" y="78"/>
                        </a:lnTo>
                        <a:lnTo>
                          <a:pt x="113" y="79"/>
                        </a:lnTo>
                        <a:lnTo>
                          <a:pt x="113" y="81"/>
                        </a:lnTo>
                        <a:lnTo>
                          <a:pt x="114" y="83"/>
                        </a:lnTo>
                        <a:lnTo>
                          <a:pt x="116" y="86"/>
                        </a:lnTo>
                        <a:lnTo>
                          <a:pt x="118" y="89"/>
                        </a:lnTo>
                        <a:lnTo>
                          <a:pt x="120" y="91"/>
                        </a:lnTo>
                        <a:lnTo>
                          <a:pt x="123" y="93"/>
                        </a:lnTo>
                        <a:lnTo>
                          <a:pt x="123" y="94"/>
                        </a:lnTo>
                        <a:lnTo>
                          <a:pt x="125" y="94"/>
                        </a:lnTo>
                        <a:lnTo>
                          <a:pt x="125" y="96"/>
                        </a:lnTo>
                        <a:lnTo>
                          <a:pt x="126" y="96"/>
                        </a:lnTo>
                        <a:lnTo>
                          <a:pt x="128" y="98"/>
                        </a:lnTo>
                        <a:lnTo>
                          <a:pt x="130" y="98"/>
                        </a:lnTo>
                        <a:lnTo>
                          <a:pt x="133" y="101"/>
                        </a:lnTo>
                        <a:lnTo>
                          <a:pt x="133" y="99"/>
                        </a:lnTo>
                        <a:lnTo>
                          <a:pt x="136" y="99"/>
                        </a:lnTo>
                        <a:lnTo>
                          <a:pt x="140" y="99"/>
                        </a:lnTo>
                        <a:lnTo>
                          <a:pt x="141" y="99"/>
                        </a:lnTo>
                        <a:lnTo>
                          <a:pt x="145" y="99"/>
                        </a:lnTo>
                        <a:lnTo>
                          <a:pt x="141" y="99"/>
                        </a:lnTo>
                        <a:lnTo>
                          <a:pt x="143" y="99"/>
                        </a:lnTo>
                        <a:lnTo>
                          <a:pt x="145" y="98"/>
                        </a:lnTo>
                        <a:lnTo>
                          <a:pt x="147" y="98"/>
                        </a:lnTo>
                        <a:lnTo>
                          <a:pt x="147" y="99"/>
                        </a:lnTo>
                        <a:lnTo>
                          <a:pt x="148" y="101"/>
                        </a:lnTo>
                        <a:lnTo>
                          <a:pt x="148" y="103"/>
                        </a:lnTo>
                        <a:lnTo>
                          <a:pt x="145" y="105"/>
                        </a:lnTo>
                        <a:lnTo>
                          <a:pt x="143" y="106"/>
                        </a:lnTo>
                        <a:lnTo>
                          <a:pt x="143" y="108"/>
                        </a:lnTo>
                        <a:lnTo>
                          <a:pt x="145" y="108"/>
                        </a:lnTo>
                        <a:lnTo>
                          <a:pt x="147" y="108"/>
                        </a:lnTo>
                        <a:lnTo>
                          <a:pt x="148" y="110"/>
                        </a:lnTo>
                        <a:lnTo>
                          <a:pt x="150" y="110"/>
                        </a:lnTo>
                        <a:lnTo>
                          <a:pt x="153" y="111"/>
                        </a:lnTo>
                        <a:lnTo>
                          <a:pt x="157" y="113"/>
                        </a:lnTo>
                        <a:lnTo>
                          <a:pt x="160" y="115"/>
                        </a:lnTo>
                        <a:lnTo>
                          <a:pt x="163" y="116"/>
                        </a:lnTo>
                        <a:lnTo>
                          <a:pt x="165" y="118"/>
                        </a:lnTo>
                        <a:lnTo>
                          <a:pt x="168" y="120"/>
                        </a:lnTo>
                        <a:lnTo>
                          <a:pt x="174" y="121"/>
                        </a:lnTo>
                        <a:lnTo>
                          <a:pt x="175" y="121"/>
                        </a:lnTo>
                        <a:lnTo>
                          <a:pt x="177" y="123"/>
                        </a:lnTo>
                        <a:lnTo>
                          <a:pt x="179" y="126"/>
                        </a:lnTo>
                        <a:lnTo>
                          <a:pt x="182" y="128"/>
                        </a:lnTo>
                        <a:lnTo>
                          <a:pt x="184" y="132"/>
                        </a:lnTo>
                        <a:lnTo>
                          <a:pt x="184" y="133"/>
                        </a:lnTo>
                        <a:lnTo>
                          <a:pt x="184" y="135"/>
                        </a:lnTo>
                        <a:lnTo>
                          <a:pt x="182" y="137"/>
                        </a:lnTo>
                        <a:lnTo>
                          <a:pt x="182" y="138"/>
                        </a:lnTo>
                        <a:lnTo>
                          <a:pt x="179" y="137"/>
                        </a:lnTo>
                        <a:lnTo>
                          <a:pt x="177" y="133"/>
                        </a:lnTo>
                        <a:lnTo>
                          <a:pt x="175" y="132"/>
                        </a:lnTo>
                        <a:lnTo>
                          <a:pt x="174" y="130"/>
                        </a:lnTo>
                        <a:lnTo>
                          <a:pt x="168" y="128"/>
                        </a:lnTo>
                        <a:lnTo>
                          <a:pt x="165" y="126"/>
                        </a:lnTo>
                        <a:lnTo>
                          <a:pt x="163" y="125"/>
                        </a:lnTo>
                        <a:lnTo>
                          <a:pt x="162" y="126"/>
                        </a:lnTo>
                        <a:lnTo>
                          <a:pt x="158" y="130"/>
                        </a:lnTo>
                        <a:lnTo>
                          <a:pt x="155" y="132"/>
                        </a:lnTo>
                        <a:lnTo>
                          <a:pt x="155" y="135"/>
                        </a:lnTo>
                        <a:lnTo>
                          <a:pt x="153" y="137"/>
                        </a:lnTo>
                        <a:lnTo>
                          <a:pt x="153" y="140"/>
                        </a:lnTo>
                        <a:lnTo>
                          <a:pt x="155" y="140"/>
                        </a:lnTo>
                        <a:lnTo>
                          <a:pt x="157" y="142"/>
                        </a:lnTo>
                        <a:lnTo>
                          <a:pt x="158" y="143"/>
                        </a:lnTo>
                        <a:lnTo>
                          <a:pt x="162" y="143"/>
                        </a:lnTo>
                        <a:lnTo>
                          <a:pt x="162" y="145"/>
                        </a:lnTo>
                        <a:lnTo>
                          <a:pt x="162" y="148"/>
                        </a:lnTo>
                        <a:lnTo>
                          <a:pt x="163" y="150"/>
                        </a:lnTo>
                        <a:lnTo>
                          <a:pt x="163" y="152"/>
                        </a:lnTo>
                        <a:lnTo>
                          <a:pt x="163" y="153"/>
                        </a:lnTo>
                        <a:lnTo>
                          <a:pt x="162" y="153"/>
                        </a:lnTo>
                        <a:lnTo>
                          <a:pt x="160" y="153"/>
                        </a:lnTo>
                        <a:lnTo>
                          <a:pt x="158" y="155"/>
                        </a:lnTo>
                        <a:lnTo>
                          <a:pt x="155" y="157"/>
                        </a:lnTo>
                        <a:lnTo>
                          <a:pt x="155" y="158"/>
                        </a:lnTo>
                        <a:lnTo>
                          <a:pt x="155" y="160"/>
                        </a:lnTo>
                        <a:lnTo>
                          <a:pt x="155" y="164"/>
                        </a:lnTo>
                        <a:lnTo>
                          <a:pt x="153" y="165"/>
                        </a:lnTo>
                        <a:lnTo>
                          <a:pt x="152" y="165"/>
                        </a:lnTo>
                        <a:lnTo>
                          <a:pt x="150" y="167"/>
                        </a:lnTo>
                        <a:lnTo>
                          <a:pt x="150" y="169"/>
                        </a:lnTo>
                        <a:lnTo>
                          <a:pt x="148" y="169"/>
                        </a:lnTo>
                        <a:lnTo>
                          <a:pt x="148" y="170"/>
                        </a:lnTo>
                        <a:lnTo>
                          <a:pt x="147" y="172"/>
                        </a:lnTo>
                        <a:lnTo>
                          <a:pt x="147" y="174"/>
                        </a:lnTo>
                        <a:lnTo>
                          <a:pt x="143" y="174"/>
                        </a:lnTo>
                        <a:lnTo>
                          <a:pt x="141" y="174"/>
                        </a:lnTo>
                        <a:lnTo>
                          <a:pt x="141" y="172"/>
                        </a:lnTo>
                        <a:lnTo>
                          <a:pt x="141" y="174"/>
                        </a:lnTo>
                        <a:lnTo>
                          <a:pt x="141" y="170"/>
                        </a:lnTo>
                        <a:lnTo>
                          <a:pt x="141" y="169"/>
                        </a:lnTo>
                        <a:lnTo>
                          <a:pt x="141" y="165"/>
                        </a:lnTo>
                        <a:lnTo>
                          <a:pt x="143" y="162"/>
                        </a:lnTo>
                        <a:lnTo>
                          <a:pt x="143" y="160"/>
                        </a:lnTo>
                        <a:lnTo>
                          <a:pt x="145" y="158"/>
                        </a:lnTo>
                        <a:lnTo>
                          <a:pt x="150" y="157"/>
                        </a:lnTo>
                        <a:lnTo>
                          <a:pt x="148" y="155"/>
                        </a:lnTo>
                        <a:lnTo>
                          <a:pt x="148" y="153"/>
                        </a:lnTo>
                        <a:lnTo>
                          <a:pt x="147" y="152"/>
                        </a:lnTo>
                        <a:lnTo>
                          <a:pt x="147" y="148"/>
                        </a:lnTo>
                        <a:lnTo>
                          <a:pt x="147" y="147"/>
                        </a:lnTo>
                        <a:lnTo>
                          <a:pt x="145" y="143"/>
                        </a:lnTo>
                        <a:lnTo>
                          <a:pt x="143" y="142"/>
                        </a:lnTo>
                        <a:lnTo>
                          <a:pt x="141" y="138"/>
                        </a:lnTo>
                        <a:lnTo>
                          <a:pt x="141" y="137"/>
                        </a:lnTo>
                        <a:lnTo>
                          <a:pt x="141" y="135"/>
                        </a:lnTo>
                        <a:lnTo>
                          <a:pt x="140" y="133"/>
                        </a:lnTo>
                        <a:lnTo>
                          <a:pt x="138" y="133"/>
                        </a:lnTo>
                        <a:lnTo>
                          <a:pt x="136" y="135"/>
                        </a:lnTo>
                        <a:lnTo>
                          <a:pt x="135" y="133"/>
                        </a:lnTo>
                        <a:lnTo>
                          <a:pt x="133" y="133"/>
                        </a:lnTo>
                        <a:lnTo>
                          <a:pt x="130" y="132"/>
                        </a:lnTo>
                        <a:lnTo>
                          <a:pt x="130" y="130"/>
                        </a:lnTo>
                        <a:lnTo>
                          <a:pt x="130" y="128"/>
                        </a:lnTo>
                        <a:lnTo>
                          <a:pt x="128" y="125"/>
                        </a:lnTo>
                        <a:lnTo>
                          <a:pt x="128" y="123"/>
                        </a:lnTo>
                        <a:lnTo>
                          <a:pt x="126" y="123"/>
                        </a:lnTo>
                        <a:lnTo>
                          <a:pt x="123" y="123"/>
                        </a:lnTo>
                        <a:lnTo>
                          <a:pt x="121" y="123"/>
                        </a:lnTo>
                        <a:lnTo>
                          <a:pt x="121" y="121"/>
                        </a:lnTo>
                        <a:lnTo>
                          <a:pt x="118" y="120"/>
                        </a:lnTo>
                        <a:lnTo>
                          <a:pt x="116" y="120"/>
                        </a:lnTo>
                        <a:lnTo>
                          <a:pt x="114" y="116"/>
                        </a:lnTo>
                        <a:lnTo>
                          <a:pt x="113" y="115"/>
                        </a:lnTo>
                        <a:lnTo>
                          <a:pt x="111" y="111"/>
                        </a:lnTo>
                        <a:lnTo>
                          <a:pt x="109" y="111"/>
                        </a:lnTo>
                        <a:lnTo>
                          <a:pt x="106" y="111"/>
                        </a:lnTo>
                        <a:lnTo>
                          <a:pt x="101" y="111"/>
                        </a:lnTo>
                        <a:lnTo>
                          <a:pt x="99" y="111"/>
                        </a:lnTo>
                        <a:lnTo>
                          <a:pt x="96" y="110"/>
                        </a:lnTo>
                        <a:lnTo>
                          <a:pt x="93" y="106"/>
                        </a:lnTo>
                        <a:lnTo>
                          <a:pt x="89" y="103"/>
                        </a:lnTo>
                        <a:lnTo>
                          <a:pt x="86" y="99"/>
                        </a:lnTo>
                        <a:lnTo>
                          <a:pt x="84" y="98"/>
                        </a:lnTo>
                        <a:lnTo>
                          <a:pt x="81" y="96"/>
                        </a:lnTo>
                        <a:lnTo>
                          <a:pt x="79" y="94"/>
                        </a:lnTo>
                        <a:lnTo>
                          <a:pt x="77" y="91"/>
                        </a:lnTo>
                        <a:lnTo>
                          <a:pt x="74" y="89"/>
                        </a:lnTo>
                        <a:lnTo>
                          <a:pt x="72" y="89"/>
                        </a:lnTo>
                        <a:lnTo>
                          <a:pt x="71" y="91"/>
                        </a:lnTo>
                        <a:lnTo>
                          <a:pt x="69" y="89"/>
                        </a:lnTo>
                        <a:lnTo>
                          <a:pt x="69" y="86"/>
                        </a:lnTo>
                        <a:lnTo>
                          <a:pt x="66" y="84"/>
                        </a:lnTo>
                        <a:lnTo>
                          <a:pt x="64" y="83"/>
                        </a:lnTo>
                        <a:lnTo>
                          <a:pt x="61" y="79"/>
                        </a:lnTo>
                        <a:lnTo>
                          <a:pt x="61" y="76"/>
                        </a:lnTo>
                        <a:lnTo>
                          <a:pt x="61" y="74"/>
                        </a:lnTo>
                        <a:lnTo>
                          <a:pt x="57" y="69"/>
                        </a:lnTo>
                        <a:lnTo>
                          <a:pt x="55" y="66"/>
                        </a:lnTo>
                        <a:lnTo>
                          <a:pt x="55" y="62"/>
                        </a:lnTo>
                        <a:lnTo>
                          <a:pt x="55" y="61"/>
                        </a:lnTo>
                        <a:lnTo>
                          <a:pt x="50" y="59"/>
                        </a:lnTo>
                        <a:lnTo>
                          <a:pt x="47" y="57"/>
                        </a:lnTo>
                        <a:lnTo>
                          <a:pt x="42" y="54"/>
                        </a:lnTo>
                        <a:lnTo>
                          <a:pt x="39" y="52"/>
                        </a:lnTo>
                        <a:lnTo>
                          <a:pt x="35" y="52"/>
                        </a:lnTo>
                        <a:lnTo>
                          <a:pt x="34" y="52"/>
                        </a:lnTo>
                        <a:lnTo>
                          <a:pt x="30" y="54"/>
                        </a:lnTo>
                        <a:lnTo>
                          <a:pt x="29" y="54"/>
                        </a:lnTo>
                        <a:lnTo>
                          <a:pt x="27" y="56"/>
                        </a:lnTo>
                        <a:lnTo>
                          <a:pt x="27" y="57"/>
                        </a:lnTo>
                        <a:lnTo>
                          <a:pt x="25" y="59"/>
                        </a:lnTo>
                        <a:lnTo>
                          <a:pt x="23" y="61"/>
                        </a:lnTo>
                        <a:lnTo>
                          <a:pt x="23" y="62"/>
                        </a:lnTo>
                        <a:lnTo>
                          <a:pt x="22" y="62"/>
                        </a:lnTo>
                        <a:lnTo>
                          <a:pt x="18" y="64"/>
                        </a:lnTo>
                        <a:lnTo>
                          <a:pt x="17" y="64"/>
                        </a:lnTo>
                        <a:lnTo>
                          <a:pt x="13" y="64"/>
                        </a:lnTo>
                        <a:lnTo>
                          <a:pt x="13" y="62"/>
                        </a:lnTo>
                        <a:lnTo>
                          <a:pt x="13" y="61"/>
                        </a:lnTo>
                        <a:lnTo>
                          <a:pt x="13" y="59"/>
                        </a:lnTo>
                        <a:lnTo>
                          <a:pt x="13" y="57"/>
                        </a:lnTo>
                        <a:lnTo>
                          <a:pt x="12" y="57"/>
                        </a:lnTo>
                        <a:lnTo>
                          <a:pt x="8" y="57"/>
                        </a:lnTo>
                        <a:lnTo>
                          <a:pt x="7" y="56"/>
                        </a:lnTo>
                        <a:lnTo>
                          <a:pt x="5" y="54"/>
                        </a:lnTo>
                        <a:lnTo>
                          <a:pt x="3" y="51"/>
                        </a:lnTo>
                        <a:lnTo>
                          <a:pt x="3" y="49"/>
                        </a:lnTo>
                        <a:lnTo>
                          <a:pt x="3" y="46"/>
                        </a:lnTo>
                        <a:lnTo>
                          <a:pt x="3" y="44"/>
                        </a:lnTo>
                        <a:lnTo>
                          <a:pt x="2" y="44"/>
                        </a:lnTo>
                        <a:lnTo>
                          <a:pt x="2" y="42"/>
                        </a:lnTo>
                        <a:lnTo>
                          <a:pt x="0" y="40"/>
                        </a:lnTo>
                        <a:lnTo>
                          <a:pt x="2" y="39"/>
                        </a:lnTo>
                        <a:lnTo>
                          <a:pt x="3" y="37"/>
                        </a:lnTo>
                        <a:lnTo>
                          <a:pt x="5" y="37"/>
                        </a:lnTo>
                        <a:lnTo>
                          <a:pt x="7" y="35"/>
                        </a:lnTo>
                        <a:lnTo>
                          <a:pt x="5" y="34"/>
                        </a:lnTo>
                        <a:lnTo>
                          <a:pt x="3" y="32"/>
                        </a:lnTo>
                        <a:lnTo>
                          <a:pt x="3" y="29"/>
                        </a:lnTo>
                        <a:lnTo>
                          <a:pt x="2" y="27"/>
                        </a:lnTo>
                        <a:lnTo>
                          <a:pt x="2" y="25"/>
                        </a:lnTo>
                        <a:lnTo>
                          <a:pt x="2" y="24"/>
                        </a:lnTo>
                        <a:lnTo>
                          <a:pt x="3" y="24"/>
                        </a:lnTo>
                        <a:lnTo>
                          <a:pt x="5" y="24"/>
                        </a:lnTo>
                        <a:lnTo>
                          <a:pt x="7" y="24"/>
                        </a:lnTo>
                        <a:lnTo>
                          <a:pt x="10" y="24"/>
                        </a:lnTo>
                        <a:lnTo>
                          <a:pt x="12" y="24"/>
                        </a:lnTo>
                        <a:lnTo>
                          <a:pt x="13" y="24"/>
                        </a:lnTo>
                        <a:lnTo>
                          <a:pt x="15" y="22"/>
                        </a:lnTo>
                        <a:lnTo>
                          <a:pt x="18" y="22"/>
                        </a:lnTo>
                        <a:lnTo>
                          <a:pt x="20" y="20"/>
                        </a:lnTo>
                        <a:lnTo>
                          <a:pt x="22" y="19"/>
                        </a:lnTo>
                        <a:lnTo>
                          <a:pt x="22" y="17"/>
                        </a:lnTo>
                        <a:lnTo>
                          <a:pt x="23" y="15"/>
                        </a:lnTo>
                        <a:lnTo>
                          <a:pt x="27" y="13"/>
                        </a:lnTo>
                        <a:lnTo>
                          <a:pt x="27" y="15"/>
                        </a:lnTo>
                        <a:lnTo>
                          <a:pt x="29" y="19"/>
                        </a:lnTo>
                        <a:lnTo>
                          <a:pt x="32" y="20"/>
                        </a:lnTo>
                        <a:lnTo>
                          <a:pt x="34" y="22"/>
                        </a:lnTo>
                        <a:lnTo>
                          <a:pt x="35" y="24"/>
                        </a:lnTo>
                        <a:lnTo>
                          <a:pt x="35" y="22"/>
                        </a:lnTo>
                        <a:lnTo>
                          <a:pt x="37" y="20"/>
                        </a:lnTo>
                        <a:lnTo>
                          <a:pt x="39" y="17"/>
                        </a:lnTo>
                        <a:lnTo>
                          <a:pt x="40" y="15"/>
                        </a:lnTo>
                        <a:lnTo>
                          <a:pt x="40" y="12"/>
                        </a:lnTo>
                        <a:lnTo>
                          <a:pt x="42" y="13"/>
                        </a:lnTo>
                        <a:lnTo>
                          <a:pt x="44" y="15"/>
                        </a:lnTo>
                        <a:lnTo>
                          <a:pt x="47" y="15"/>
                        </a:lnTo>
                        <a:lnTo>
                          <a:pt x="50" y="15"/>
                        </a:lnTo>
                        <a:lnTo>
                          <a:pt x="54" y="15"/>
                        </a:lnTo>
                        <a:lnTo>
                          <a:pt x="52" y="13"/>
                        </a:lnTo>
                        <a:lnTo>
                          <a:pt x="52" y="12"/>
                        </a:lnTo>
                        <a:lnTo>
                          <a:pt x="54" y="10"/>
                        </a:lnTo>
                        <a:lnTo>
                          <a:pt x="55" y="10"/>
                        </a:lnTo>
                        <a:lnTo>
                          <a:pt x="57" y="8"/>
                        </a:lnTo>
                        <a:lnTo>
                          <a:pt x="57" y="7"/>
                        </a:lnTo>
                        <a:lnTo>
                          <a:pt x="59" y="5"/>
                        </a:lnTo>
                        <a:lnTo>
                          <a:pt x="61" y="5"/>
                        </a:lnTo>
                        <a:lnTo>
                          <a:pt x="62" y="5"/>
                        </a:lnTo>
                        <a:lnTo>
                          <a:pt x="66" y="5"/>
                        </a:lnTo>
                        <a:lnTo>
                          <a:pt x="67" y="5"/>
                        </a:lnTo>
                        <a:lnTo>
                          <a:pt x="69" y="3"/>
                        </a:lnTo>
                        <a:lnTo>
                          <a:pt x="71" y="3"/>
                        </a:lnTo>
                        <a:lnTo>
                          <a:pt x="72" y="2"/>
                        </a:lnTo>
                        <a:lnTo>
                          <a:pt x="76" y="2"/>
                        </a:lnTo>
                        <a:lnTo>
                          <a:pt x="79" y="2"/>
                        </a:lnTo>
                        <a:lnTo>
                          <a:pt x="81" y="2"/>
                        </a:lnTo>
                        <a:lnTo>
                          <a:pt x="82" y="0"/>
                        </a:lnTo>
                        <a:lnTo>
                          <a:pt x="84" y="0"/>
                        </a:lnTo>
                        <a:lnTo>
                          <a:pt x="84" y="2"/>
                        </a:lnTo>
                        <a:lnTo>
                          <a:pt x="86" y="3"/>
                        </a:lnTo>
                        <a:lnTo>
                          <a:pt x="86" y="7"/>
                        </a:lnTo>
                        <a:lnTo>
                          <a:pt x="88" y="7"/>
                        </a:lnTo>
                        <a:lnTo>
                          <a:pt x="89" y="8"/>
                        </a:lnTo>
                        <a:lnTo>
                          <a:pt x="91" y="8"/>
                        </a:lnTo>
                        <a:lnTo>
                          <a:pt x="94" y="10"/>
                        </a:lnTo>
                        <a:lnTo>
                          <a:pt x="96" y="10"/>
                        </a:lnTo>
                        <a:lnTo>
                          <a:pt x="99" y="10"/>
                        </a:lnTo>
                        <a:lnTo>
                          <a:pt x="103" y="10"/>
                        </a:lnTo>
                        <a:lnTo>
                          <a:pt x="104" y="12"/>
                        </a:lnTo>
                        <a:lnTo>
                          <a:pt x="106" y="12"/>
                        </a:lnTo>
                        <a:lnTo>
                          <a:pt x="109" y="12"/>
                        </a:lnTo>
                        <a:lnTo>
                          <a:pt x="108" y="12"/>
                        </a:lnTo>
                        <a:lnTo>
                          <a:pt x="108" y="13"/>
                        </a:lnTo>
                        <a:lnTo>
                          <a:pt x="106" y="13"/>
                        </a:lnTo>
                        <a:lnTo>
                          <a:pt x="104" y="17"/>
                        </a:lnTo>
                        <a:lnTo>
                          <a:pt x="106" y="17"/>
                        </a:lnTo>
                        <a:lnTo>
                          <a:pt x="108" y="17"/>
                        </a:lnTo>
                        <a:lnTo>
                          <a:pt x="106" y="19"/>
                        </a:lnTo>
                        <a:lnTo>
                          <a:pt x="106" y="22"/>
                        </a:lnTo>
                        <a:lnTo>
                          <a:pt x="108" y="22"/>
                        </a:lnTo>
                        <a:lnTo>
                          <a:pt x="108" y="24"/>
                        </a:lnTo>
                        <a:lnTo>
                          <a:pt x="108" y="25"/>
                        </a:lnTo>
                        <a:lnTo>
                          <a:pt x="109" y="25"/>
                        </a:lnTo>
                        <a:lnTo>
                          <a:pt x="111" y="25"/>
                        </a:lnTo>
                        <a:lnTo>
                          <a:pt x="111" y="27"/>
                        </a:lnTo>
                        <a:lnTo>
                          <a:pt x="113" y="27"/>
                        </a:lnTo>
                        <a:lnTo>
                          <a:pt x="113" y="29"/>
                        </a:lnTo>
                        <a:lnTo>
                          <a:pt x="113" y="30"/>
                        </a:lnTo>
                        <a:lnTo>
                          <a:pt x="111" y="30"/>
                        </a:lnTo>
                        <a:lnTo>
                          <a:pt x="109" y="3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85" name="Group 1884">
                  <a:extLst>
                    <a:ext uri="{FF2B5EF4-FFF2-40B4-BE49-F238E27FC236}">
                      <a16:creationId xmlns:a16="http://schemas.microsoft.com/office/drawing/2014/main" id="{662885D0-2EA6-7548-8913-5EC475C56066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56" y="728"/>
                  <a:ext cx="49" cy="29"/>
                  <a:chOff x="356" y="728"/>
                  <a:chExt cx="49" cy="29"/>
                </a:xfrm>
              </p:grpSpPr>
              <p:sp>
                <p:nvSpPr>
                  <p:cNvPr id="1889" name="Freeform 263">
                    <a:extLst>
                      <a:ext uri="{FF2B5EF4-FFF2-40B4-BE49-F238E27FC236}">
                        <a16:creationId xmlns:a16="http://schemas.microsoft.com/office/drawing/2014/main" id="{68F7D9EB-AFB2-8A4F-912E-FDB6C965C71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6" y="728"/>
                    <a:ext cx="49" cy="29"/>
                  </a:xfrm>
                  <a:custGeom>
                    <a:avLst/>
                    <a:gdLst>
                      <a:gd name="T0" fmla="*/ 47 w 49"/>
                      <a:gd name="T1" fmla="*/ 0 h 29"/>
                      <a:gd name="T2" fmla="*/ 44 w 49"/>
                      <a:gd name="T3" fmla="*/ 0 h 29"/>
                      <a:gd name="T4" fmla="*/ 42 w 49"/>
                      <a:gd name="T5" fmla="*/ 2 h 29"/>
                      <a:gd name="T6" fmla="*/ 40 w 49"/>
                      <a:gd name="T7" fmla="*/ 2 h 29"/>
                      <a:gd name="T8" fmla="*/ 37 w 49"/>
                      <a:gd name="T9" fmla="*/ 2 h 29"/>
                      <a:gd name="T10" fmla="*/ 34 w 49"/>
                      <a:gd name="T11" fmla="*/ 3 h 29"/>
                      <a:gd name="T12" fmla="*/ 32 w 49"/>
                      <a:gd name="T13" fmla="*/ 3 h 29"/>
                      <a:gd name="T14" fmla="*/ 30 w 49"/>
                      <a:gd name="T15" fmla="*/ 3 h 29"/>
                      <a:gd name="T16" fmla="*/ 29 w 49"/>
                      <a:gd name="T17" fmla="*/ 3 h 29"/>
                      <a:gd name="T18" fmla="*/ 25 w 49"/>
                      <a:gd name="T19" fmla="*/ 3 h 29"/>
                      <a:gd name="T20" fmla="*/ 23 w 49"/>
                      <a:gd name="T21" fmla="*/ 5 h 29"/>
                      <a:gd name="T22" fmla="*/ 20 w 49"/>
                      <a:gd name="T23" fmla="*/ 5 h 29"/>
                      <a:gd name="T24" fmla="*/ 18 w 49"/>
                      <a:gd name="T25" fmla="*/ 5 h 29"/>
                      <a:gd name="T26" fmla="*/ 17 w 49"/>
                      <a:gd name="T27" fmla="*/ 3 h 29"/>
                      <a:gd name="T28" fmla="*/ 15 w 49"/>
                      <a:gd name="T29" fmla="*/ 2 h 29"/>
                      <a:gd name="T30" fmla="*/ 13 w 49"/>
                      <a:gd name="T31" fmla="*/ 2 h 29"/>
                      <a:gd name="T32" fmla="*/ 12 w 49"/>
                      <a:gd name="T33" fmla="*/ 0 h 29"/>
                      <a:gd name="T34" fmla="*/ 8 w 49"/>
                      <a:gd name="T35" fmla="*/ 2 h 29"/>
                      <a:gd name="T36" fmla="*/ 7 w 49"/>
                      <a:gd name="T37" fmla="*/ 3 h 29"/>
                      <a:gd name="T38" fmla="*/ 5 w 49"/>
                      <a:gd name="T39" fmla="*/ 3 h 29"/>
                      <a:gd name="T40" fmla="*/ 3 w 49"/>
                      <a:gd name="T41" fmla="*/ 2 h 29"/>
                      <a:gd name="T42" fmla="*/ 2 w 49"/>
                      <a:gd name="T43" fmla="*/ 2 h 29"/>
                      <a:gd name="T44" fmla="*/ 2 w 49"/>
                      <a:gd name="T45" fmla="*/ 3 h 29"/>
                      <a:gd name="T46" fmla="*/ 0 w 49"/>
                      <a:gd name="T47" fmla="*/ 3 h 29"/>
                      <a:gd name="T48" fmla="*/ 0 w 49"/>
                      <a:gd name="T49" fmla="*/ 7 h 29"/>
                      <a:gd name="T50" fmla="*/ 0 w 49"/>
                      <a:gd name="T51" fmla="*/ 10 h 29"/>
                      <a:gd name="T52" fmla="*/ 2 w 49"/>
                      <a:gd name="T53" fmla="*/ 12 h 29"/>
                      <a:gd name="T54" fmla="*/ 5 w 49"/>
                      <a:gd name="T55" fmla="*/ 12 h 29"/>
                      <a:gd name="T56" fmla="*/ 7 w 49"/>
                      <a:gd name="T57" fmla="*/ 13 h 29"/>
                      <a:gd name="T58" fmla="*/ 10 w 49"/>
                      <a:gd name="T59" fmla="*/ 13 h 29"/>
                      <a:gd name="T60" fmla="*/ 13 w 49"/>
                      <a:gd name="T61" fmla="*/ 17 h 29"/>
                      <a:gd name="T62" fmla="*/ 17 w 49"/>
                      <a:gd name="T63" fmla="*/ 18 h 29"/>
                      <a:gd name="T64" fmla="*/ 18 w 49"/>
                      <a:gd name="T65" fmla="*/ 20 h 29"/>
                      <a:gd name="T66" fmla="*/ 22 w 49"/>
                      <a:gd name="T67" fmla="*/ 20 h 29"/>
                      <a:gd name="T68" fmla="*/ 23 w 49"/>
                      <a:gd name="T69" fmla="*/ 22 h 29"/>
                      <a:gd name="T70" fmla="*/ 29 w 49"/>
                      <a:gd name="T71" fmla="*/ 22 h 29"/>
                      <a:gd name="T72" fmla="*/ 30 w 49"/>
                      <a:gd name="T73" fmla="*/ 25 h 29"/>
                      <a:gd name="T74" fmla="*/ 34 w 49"/>
                      <a:gd name="T75" fmla="*/ 27 h 29"/>
                      <a:gd name="T76" fmla="*/ 37 w 49"/>
                      <a:gd name="T77" fmla="*/ 29 h 29"/>
                      <a:gd name="T78" fmla="*/ 39 w 49"/>
                      <a:gd name="T79" fmla="*/ 29 h 29"/>
                      <a:gd name="T80" fmla="*/ 40 w 49"/>
                      <a:gd name="T81" fmla="*/ 29 h 29"/>
                      <a:gd name="T82" fmla="*/ 42 w 49"/>
                      <a:gd name="T83" fmla="*/ 27 h 29"/>
                      <a:gd name="T84" fmla="*/ 42 w 49"/>
                      <a:gd name="T85" fmla="*/ 24 h 29"/>
                      <a:gd name="T86" fmla="*/ 44 w 49"/>
                      <a:gd name="T87" fmla="*/ 22 h 29"/>
                      <a:gd name="T88" fmla="*/ 42 w 49"/>
                      <a:gd name="T89" fmla="*/ 20 h 29"/>
                      <a:gd name="T90" fmla="*/ 42 w 49"/>
                      <a:gd name="T91" fmla="*/ 18 h 29"/>
                      <a:gd name="T92" fmla="*/ 42 w 49"/>
                      <a:gd name="T93" fmla="*/ 17 h 29"/>
                      <a:gd name="T94" fmla="*/ 40 w 49"/>
                      <a:gd name="T95" fmla="*/ 17 h 29"/>
                      <a:gd name="T96" fmla="*/ 40 w 49"/>
                      <a:gd name="T97" fmla="*/ 15 h 29"/>
                      <a:gd name="T98" fmla="*/ 42 w 49"/>
                      <a:gd name="T99" fmla="*/ 12 h 29"/>
                      <a:gd name="T100" fmla="*/ 44 w 49"/>
                      <a:gd name="T101" fmla="*/ 8 h 29"/>
                      <a:gd name="T102" fmla="*/ 45 w 49"/>
                      <a:gd name="T103" fmla="*/ 5 h 29"/>
                      <a:gd name="T104" fmla="*/ 47 w 49"/>
                      <a:gd name="T105" fmla="*/ 3 h 29"/>
                      <a:gd name="T106" fmla="*/ 47 w 49"/>
                      <a:gd name="T107" fmla="*/ 0 h 29"/>
                      <a:gd name="T108" fmla="*/ 49 w 49"/>
                      <a:gd name="T109" fmla="*/ 0 h 29"/>
                      <a:gd name="T110" fmla="*/ 47 w 49"/>
                      <a:gd name="T1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49" h="29">
                        <a:moveTo>
                          <a:pt x="47" y="0"/>
                        </a:moveTo>
                        <a:lnTo>
                          <a:pt x="44" y="0"/>
                        </a:lnTo>
                        <a:lnTo>
                          <a:pt x="42" y="2"/>
                        </a:lnTo>
                        <a:lnTo>
                          <a:pt x="40" y="2"/>
                        </a:lnTo>
                        <a:lnTo>
                          <a:pt x="37" y="2"/>
                        </a:lnTo>
                        <a:lnTo>
                          <a:pt x="34" y="3"/>
                        </a:lnTo>
                        <a:lnTo>
                          <a:pt x="32" y="3"/>
                        </a:lnTo>
                        <a:lnTo>
                          <a:pt x="30" y="3"/>
                        </a:lnTo>
                        <a:lnTo>
                          <a:pt x="29" y="3"/>
                        </a:lnTo>
                        <a:lnTo>
                          <a:pt x="25" y="3"/>
                        </a:lnTo>
                        <a:lnTo>
                          <a:pt x="23" y="5"/>
                        </a:lnTo>
                        <a:lnTo>
                          <a:pt x="20" y="5"/>
                        </a:lnTo>
                        <a:lnTo>
                          <a:pt x="18" y="5"/>
                        </a:lnTo>
                        <a:lnTo>
                          <a:pt x="17" y="3"/>
                        </a:lnTo>
                        <a:lnTo>
                          <a:pt x="15" y="2"/>
                        </a:lnTo>
                        <a:lnTo>
                          <a:pt x="13" y="2"/>
                        </a:lnTo>
                        <a:lnTo>
                          <a:pt x="12" y="0"/>
                        </a:lnTo>
                        <a:lnTo>
                          <a:pt x="8" y="2"/>
                        </a:lnTo>
                        <a:lnTo>
                          <a:pt x="7" y="3"/>
                        </a:lnTo>
                        <a:lnTo>
                          <a:pt x="5" y="3"/>
                        </a:lnTo>
                        <a:lnTo>
                          <a:pt x="3" y="2"/>
                        </a:lnTo>
                        <a:lnTo>
                          <a:pt x="2" y="2"/>
                        </a:lnTo>
                        <a:lnTo>
                          <a:pt x="2" y="3"/>
                        </a:lnTo>
                        <a:lnTo>
                          <a:pt x="0" y="3"/>
                        </a:lnTo>
                        <a:lnTo>
                          <a:pt x="0" y="7"/>
                        </a:lnTo>
                        <a:lnTo>
                          <a:pt x="0" y="10"/>
                        </a:lnTo>
                        <a:lnTo>
                          <a:pt x="2" y="12"/>
                        </a:lnTo>
                        <a:lnTo>
                          <a:pt x="5" y="12"/>
                        </a:lnTo>
                        <a:lnTo>
                          <a:pt x="7" y="13"/>
                        </a:lnTo>
                        <a:lnTo>
                          <a:pt x="10" y="13"/>
                        </a:lnTo>
                        <a:lnTo>
                          <a:pt x="13" y="17"/>
                        </a:lnTo>
                        <a:lnTo>
                          <a:pt x="17" y="18"/>
                        </a:lnTo>
                        <a:lnTo>
                          <a:pt x="18" y="20"/>
                        </a:lnTo>
                        <a:lnTo>
                          <a:pt x="22" y="20"/>
                        </a:lnTo>
                        <a:lnTo>
                          <a:pt x="23" y="22"/>
                        </a:lnTo>
                        <a:lnTo>
                          <a:pt x="29" y="22"/>
                        </a:lnTo>
                        <a:lnTo>
                          <a:pt x="30" y="25"/>
                        </a:lnTo>
                        <a:lnTo>
                          <a:pt x="34" y="27"/>
                        </a:lnTo>
                        <a:lnTo>
                          <a:pt x="37" y="29"/>
                        </a:lnTo>
                        <a:lnTo>
                          <a:pt x="39" y="29"/>
                        </a:lnTo>
                        <a:lnTo>
                          <a:pt x="40" y="29"/>
                        </a:lnTo>
                        <a:lnTo>
                          <a:pt x="42" y="27"/>
                        </a:lnTo>
                        <a:lnTo>
                          <a:pt x="42" y="24"/>
                        </a:lnTo>
                        <a:lnTo>
                          <a:pt x="44" y="22"/>
                        </a:lnTo>
                        <a:lnTo>
                          <a:pt x="42" y="20"/>
                        </a:lnTo>
                        <a:lnTo>
                          <a:pt x="42" y="18"/>
                        </a:lnTo>
                        <a:lnTo>
                          <a:pt x="42" y="17"/>
                        </a:lnTo>
                        <a:lnTo>
                          <a:pt x="40" y="17"/>
                        </a:lnTo>
                        <a:lnTo>
                          <a:pt x="40" y="15"/>
                        </a:lnTo>
                        <a:lnTo>
                          <a:pt x="42" y="12"/>
                        </a:lnTo>
                        <a:lnTo>
                          <a:pt x="44" y="8"/>
                        </a:lnTo>
                        <a:lnTo>
                          <a:pt x="45" y="5"/>
                        </a:lnTo>
                        <a:lnTo>
                          <a:pt x="47" y="3"/>
                        </a:lnTo>
                        <a:lnTo>
                          <a:pt x="47" y="0"/>
                        </a:lnTo>
                        <a:lnTo>
                          <a:pt x="49" y="0"/>
                        </a:lnTo>
                        <a:lnTo>
                          <a:pt x="47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90" name="Freeform 264">
                    <a:extLst>
                      <a:ext uri="{FF2B5EF4-FFF2-40B4-BE49-F238E27FC236}">
                        <a16:creationId xmlns:a16="http://schemas.microsoft.com/office/drawing/2014/main" id="{9F3F9F4E-54EA-F145-AC70-B3FEF5896CB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6" y="728"/>
                    <a:ext cx="49" cy="29"/>
                  </a:xfrm>
                  <a:custGeom>
                    <a:avLst/>
                    <a:gdLst>
                      <a:gd name="T0" fmla="*/ 47 w 49"/>
                      <a:gd name="T1" fmla="*/ 0 h 29"/>
                      <a:gd name="T2" fmla="*/ 44 w 49"/>
                      <a:gd name="T3" fmla="*/ 0 h 29"/>
                      <a:gd name="T4" fmla="*/ 42 w 49"/>
                      <a:gd name="T5" fmla="*/ 2 h 29"/>
                      <a:gd name="T6" fmla="*/ 40 w 49"/>
                      <a:gd name="T7" fmla="*/ 2 h 29"/>
                      <a:gd name="T8" fmla="*/ 37 w 49"/>
                      <a:gd name="T9" fmla="*/ 2 h 29"/>
                      <a:gd name="T10" fmla="*/ 34 w 49"/>
                      <a:gd name="T11" fmla="*/ 3 h 29"/>
                      <a:gd name="T12" fmla="*/ 32 w 49"/>
                      <a:gd name="T13" fmla="*/ 3 h 29"/>
                      <a:gd name="T14" fmla="*/ 30 w 49"/>
                      <a:gd name="T15" fmla="*/ 3 h 29"/>
                      <a:gd name="T16" fmla="*/ 29 w 49"/>
                      <a:gd name="T17" fmla="*/ 3 h 29"/>
                      <a:gd name="T18" fmla="*/ 25 w 49"/>
                      <a:gd name="T19" fmla="*/ 3 h 29"/>
                      <a:gd name="T20" fmla="*/ 23 w 49"/>
                      <a:gd name="T21" fmla="*/ 5 h 29"/>
                      <a:gd name="T22" fmla="*/ 20 w 49"/>
                      <a:gd name="T23" fmla="*/ 5 h 29"/>
                      <a:gd name="T24" fmla="*/ 18 w 49"/>
                      <a:gd name="T25" fmla="*/ 5 h 29"/>
                      <a:gd name="T26" fmla="*/ 17 w 49"/>
                      <a:gd name="T27" fmla="*/ 3 h 29"/>
                      <a:gd name="T28" fmla="*/ 15 w 49"/>
                      <a:gd name="T29" fmla="*/ 2 h 29"/>
                      <a:gd name="T30" fmla="*/ 13 w 49"/>
                      <a:gd name="T31" fmla="*/ 2 h 29"/>
                      <a:gd name="T32" fmla="*/ 12 w 49"/>
                      <a:gd name="T33" fmla="*/ 0 h 29"/>
                      <a:gd name="T34" fmla="*/ 8 w 49"/>
                      <a:gd name="T35" fmla="*/ 2 h 29"/>
                      <a:gd name="T36" fmla="*/ 7 w 49"/>
                      <a:gd name="T37" fmla="*/ 3 h 29"/>
                      <a:gd name="T38" fmla="*/ 5 w 49"/>
                      <a:gd name="T39" fmla="*/ 3 h 29"/>
                      <a:gd name="T40" fmla="*/ 3 w 49"/>
                      <a:gd name="T41" fmla="*/ 2 h 29"/>
                      <a:gd name="T42" fmla="*/ 2 w 49"/>
                      <a:gd name="T43" fmla="*/ 2 h 29"/>
                      <a:gd name="T44" fmla="*/ 2 w 49"/>
                      <a:gd name="T45" fmla="*/ 3 h 29"/>
                      <a:gd name="T46" fmla="*/ 0 w 49"/>
                      <a:gd name="T47" fmla="*/ 3 h 29"/>
                      <a:gd name="T48" fmla="*/ 0 w 49"/>
                      <a:gd name="T49" fmla="*/ 7 h 29"/>
                      <a:gd name="T50" fmla="*/ 0 w 49"/>
                      <a:gd name="T51" fmla="*/ 10 h 29"/>
                      <a:gd name="T52" fmla="*/ 2 w 49"/>
                      <a:gd name="T53" fmla="*/ 12 h 29"/>
                      <a:gd name="T54" fmla="*/ 5 w 49"/>
                      <a:gd name="T55" fmla="*/ 12 h 29"/>
                      <a:gd name="T56" fmla="*/ 7 w 49"/>
                      <a:gd name="T57" fmla="*/ 13 h 29"/>
                      <a:gd name="T58" fmla="*/ 10 w 49"/>
                      <a:gd name="T59" fmla="*/ 13 h 29"/>
                      <a:gd name="T60" fmla="*/ 13 w 49"/>
                      <a:gd name="T61" fmla="*/ 17 h 29"/>
                      <a:gd name="T62" fmla="*/ 17 w 49"/>
                      <a:gd name="T63" fmla="*/ 18 h 29"/>
                      <a:gd name="T64" fmla="*/ 18 w 49"/>
                      <a:gd name="T65" fmla="*/ 20 h 29"/>
                      <a:gd name="T66" fmla="*/ 22 w 49"/>
                      <a:gd name="T67" fmla="*/ 20 h 29"/>
                      <a:gd name="T68" fmla="*/ 23 w 49"/>
                      <a:gd name="T69" fmla="*/ 22 h 29"/>
                      <a:gd name="T70" fmla="*/ 29 w 49"/>
                      <a:gd name="T71" fmla="*/ 22 h 29"/>
                      <a:gd name="T72" fmla="*/ 30 w 49"/>
                      <a:gd name="T73" fmla="*/ 25 h 29"/>
                      <a:gd name="T74" fmla="*/ 34 w 49"/>
                      <a:gd name="T75" fmla="*/ 27 h 29"/>
                      <a:gd name="T76" fmla="*/ 37 w 49"/>
                      <a:gd name="T77" fmla="*/ 29 h 29"/>
                      <a:gd name="T78" fmla="*/ 39 w 49"/>
                      <a:gd name="T79" fmla="*/ 29 h 29"/>
                      <a:gd name="T80" fmla="*/ 40 w 49"/>
                      <a:gd name="T81" fmla="*/ 29 h 29"/>
                      <a:gd name="T82" fmla="*/ 42 w 49"/>
                      <a:gd name="T83" fmla="*/ 27 h 29"/>
                      <a:gd name="T84" fmla="*/ 42 w 49"/>
                      <a:gd name="T85" fmla="*/ 24 h 29"/>
                      <a:gd name="T86" fmla="*/ 44 w 49"/>
                      <a:gd name="T87" fmla="*/ 22 h 29"/>
                      <a:gd name="T88" fmla="*/ 42 w 49"/>
                      <a:gd name="T89" fmla="*/ 20 h 29"/>
                      <a:gd name="T90" fmla="*/ 42 w 49"/>
                      <a:gd name="T91" fmla="*/ 18 h 29"/>
                      <a:gd name="T92" fmla="*/ 42 w 49"/>
                      <a:gd name="T93" fmla="*/ 17 h 29"/>
                      <a:gd name="T94" fmla="*/ 40 w 49"/>
                      <a:gd name="T95" fmla="*/ 17 h 29"/>
                      <a:gd name="T96" fmla="*/ 40 w 49"/>
                      <a:gd name="T97" fmla="*/ 15 h 29"/>
                      <a:gd name="T98" fmla="*/ 42 w 49"/>
                      <a:gd name="T99" fmla="*/ 12 h 29"/>
                      <a:gd name="T100" fmla="*/ 44 w 49"/>
                      <a:gd name="T101" fmla="*/ 8 h 29"/>
                      <a:gd name="T102" fmla="*/ 45 w 49"/>
                      <a:gd name="T103" fmla="*/ 5 h 29"/>
                      <a:gd name="T104" fmla="*/ 47 w 49"/>
                      <a:gd name="T105" fmla="*/ 3 h 29"/>
                      <a:gd name="T106" fmla="*/ 47 w 49"/>
                      <a:gd name="T107" fmla="*/ 0 h 29"/>
                      <a:gd name="T108" fmla="*/ 49 w 49"/>
                      <a:gd name="T109" fmla="*/ 0 h 29"/>
                      <a:gd name="T110" fmla="*/ 47 w 49"/>
                      <a:gd name="T1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49" h="29">
                        <a:moveTo>
                          <a:pt x="47" y="0"/>
                        </a:moveTo>
                        <a:lnTo>
                          <a:pt x="44" y="0"/>
                        </a:lnTo>
                        <a:lnTo>
                          <a:pt x="42" y="2"/>
                        </a:lnTo>
                        <a:lnTo>
                          <a:pt x="40" y="2"/>
                        </a:lnTo>
                        <a:lnTo>
                          <a:pt x="37" y="2"/>
                        </a:lnTo>
                        <a:lnTo>
                          <a:pt x="34" y="3"/>
                        </a:lnTo>
                        <a:lnTo>
                          <a:pt x="32" y="3"/>
                        </a:lnTo>
                        <a:lnTo>
                          <a:pt x="30" y="3"/>
                        </a:lnTo>
                        <a:lnTo>
                          <a:pt x="29" y="3"/>
                        </a:lnTo>
                        <a:lnTo>
                          <a:pt x="25" y="3"/>
                        </a:lnTo>
                        <a:lnTo>
                          <a:pt x="23" y="5"/>
                        </a:lnTo>
                        <a:lnTo>
                          <a:pt x="20" y="5"/>
                        </a:lnTo>
                        <a:lnTo>
                          <a:pt x="18" y="5"/>
                        </a:lnTo>
                        <a:lnTo>
                          <a:pt x="17" y="3"/>
                        </a:lnTo>
                        <a:lnTo>
                          <a:pt x="15" y="2"/>
                        </a:lnTo>
                        <a:lnTo>
                          <a:pt x="13" y="2"/>
                        </a:lnTo>
                        <a:lnTo>
                          <a:pt x="12" y="0"/>
                        </a:lnTo>
                        <a:lnTo>
                          <a:pt x="8" y="2"/>
                        </a:lnTo>
                        <a:lnTo>
                          <a:pt x="7" y="3"/>
                        </a:lnTo>
                        <a:lnTo>
                          <a:pt x="5" y="3"/>
                        </a:lnTo>
                        <a:lnTo>
                          <a:pt x="3" y="2"/>
                        </a:lnTo>
                        <a:lnTo>
                          <a:pt x="2" y="2"/>
                        </a:lnTo>
                        <a:lnTo>
                          <a:pt x="2" y="3"/>
                        </a:lnTo>
                        <a:lnTo>
                          <a:pt x="0" y="3"/>
                        </a:lnTo>
                        <a:lnTo>
                          <a:pt x="0" y="7"/>
                        </a:lnTo>
                        <a:lnTo>
                          <a:pt x="0" y="10"/>
                        </a:lnTo>
                        <a:lnTo>
                          <a:pt x="2" y="12"/>
                        </a:lnTo>
                        <a:lnTo>
                          <a:pt x="5" y="12"/>
                        </a:lnTo>
                        <a:lnTo>
                          <a:pt x="7" y="13"/>
                        </a:lnTo>
                        <a:lnTo>
                          <a:pt x="10" y="13"/>
                        </a:lnTo>
                        <a:lnTo>
                          <a:pt x="13" y="17"/>
                        </a:lnTo>
                        <a:lnTo>
                          <a:pt x="17" y="18"/>
                        </a:lnTo>
                        <a:lnTo>
                          <a:pt x="18" y="20"/>
                        </a:lnTo>
                        <a:lnTo>
                          <a:pt x="22" y="20"/>
                        </a:lnTo>
                        <a:lnTo>
                          <a:pt x="23" y="22"/>
                        </a:lnTo>
                        <a:lnTo>
                          <a:pt x="29" y="22"/>
                        </a:lnTo>
                        <a:lnTo>
                          <a:pt x="30" y="25"/>
                        </a:lnTo>
                        <a:lnTo>
                          <a:pt x="34" y="27"/>
                        </a:lnTo>
                        <a:lnTo>
                          <a:pt x="37" y="29"/>
                        </a:lnTo>
                        <a:lnTo>
                          <a:pt x="39" y="29"/>
                        </a:lnTo>
                        <a:lnTo>
                          <a:pt x="40" y="29"/>
                        </a:lnTo>
                        <a:lnTo>
                          <a:pt x="42" y="27"/>
                        </a:lnTo>
                        <a:lnTo>
                          <a:pt x="42" y="24"/>
                        </a:lnTo>
                        <a:lnTo>
                          <a:pt x="44" y="22"/>
                        </a:lnTo>
                        <a:lnTo>
                          <a:pt x="42" y="20"/>
                        </a:lnTo>
                        <a:lnTo>
                          <a:pt x="42" y="18"/>
                        </a:lnTo>
                        <a:lnTo>
                          <a:pt x="42" y="17"/>
                        </a:lnTo>
                        <a:lnTo>
                          <a:pt x="40" y="17"/>
                        </a:lnTo>
                        <a:lnTo>
                          <a:pt x="40" y="15"/>
                        </a:lnTo>
                        <a:lnTo>
                          <a:pt x="42" y="12"/>
                        </a:lnTo>
                        <a:lnTo>
                          <a:pt x="44" y="8"/>
                        </a:lnTo>
                        <a:lnTo>
                          <a:pt x="45" y="5"/>
                        </a:lnTo>
                        <a:lnTo>
                          <a:pt x="47" y="3"/>
                        </a:lnTo>
                        <a:lnTo>
                          <a:pt x="47" y="0"/>
                        </a:lnTo>
                        <a:lnTo>
                          <a:pt x="49" y="0"/>
                        </a:lnTo>
                        <a:lnTo>
                          <a:pt x="47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86" name="Group 1885">
                  <a:extLst>
                    <a:ext uri="{FF2B5EF4-FFF2-40B4-BE49-F238E27FC236}">
                      <a16:creationId xmlns:a16="http://schemas.microsoft.com/office/drawing/2014/main" id="{FE1AC772-DB01-6C41-9880-10F42B2B4B0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88" y="672"/>
                  <a:ext cx="24" cy="44"/>
                  <a:chOff x="288" y="672"/>
                  <a:chExt cx="24" cy="44"/>
                </a:xfrm>
              </p:grpSpPr>
              <p:sp>
                <p:nvSpPr>
                  <p:cNvPr id="1887" name="Freeform 261">
                    <a:extLst>
                      <a:ext uri="{FF2B5EF4-FFF2-40B4-BE49-F238E27FC236}">
                        <a16:creationId xmlns:a16="http://schemas.microsoft.com/office/drawing/2014/main" id="{26F0A146-6657-E840-874A-7BF4A476D64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8" y="672"/>
                    <a:ext cx="24" cy="44"/>
                  </a:xfrm>
                  <a:custGeom>
                    <a:avLst/>
                    <a:gdLst>
                      <a:gd name="T0" fmla="*/ 16 w 24"/>
                      <a:gd name="T1" fmla="*/ 2 h 44"/>
                      <a:gd name="T2" fmla="*/ 14 w 24"/>
                      <a:gd name="T3" fmla="*/ 2 h 44"/>
                      <a:gd name="T4" fmla="*/ 12 w 24"/>
                      <a:gd name="T5" fmla="*/ 4 h 44"/>
                      <a:gd name="T6" fmla="*/ 11 w 24"/>
                      <a:gd name="T7" fmla="*/ 5 h 44"/>
                      <a:gd name="T8" fmla="*/ 9 w 24"/>
                      <a:gd name="T9" fmla="*/ 7 h 44"/>
                      <a:gd name="T10" fmla="*/ 7 w 24"/>
                      <a:gd name="T11" fmla="*/ 9 h 44"/>
                      <a:gd name="T12" fmla="*/ 4 w 24"/>
                      <a:gd name="T13" fmla="*/ 9 h 44"/>
                      <a:gd name="T14" fmla="*/ 2 w 24"/>
                      <a:gd name="T15" fmla="*/ 7 h 44"/>
                      <a:gd name="T16" fmla="*/ 0 w 24"/>
                      <a:gd name="T17" fmla="*/ 7 h 44"/>
                      <a:gd name="T18" fmla="*/ 0 w 24"/>
                      <a:gd name="T19" fmla="*/ 9 h 44"/>
                      <a:gd name="T20" fmla="*/ 0 w 24"/>
                      <a:gd name="T21" fmla="*/ 10 h 44"/>
                      <a:gd name="T22" fmla="*/ 0 w 24"/>
                      <a:gd name="T23" fmla="*/ 12 h 44"/>
                      <a:gd name="T24" fmla="*/ 2 w 24"/>
                      <a:gd name="T25" fmla="*/ 14 h 44"/>
                      <a:gd name="T26" fmla="*/ 4 w 24"/>
                      <a:gd name="T27" fmla="*/ 14 h 44"/>
                      <a:gd name="T28" fmla="*/ 4 w 24"/>
                      <a:gd name="T29" fmla="*/ 15 h 44"/>
                      <a:gd name="T30" fmla="*/ 6 w 24"/>
                      <a:gd name="T31" fmla="*/ 19 h 44"/>
                      <a:gd name="T32" fmla="*/ 6 w 24"/>
                      <a:gd name="T33" fmla="*/ 21 h 44"/>
                      <a:gd name="T34" fmla="*/ 6 w 24"/>
                      <a:gd name="T35" fmla="*/ 22 h 44"/>
                      <a:gd name="T36" fmla="*/ 6 w 24"/>
                      <a:gd name="T37" fmla="*/ 26 h 44"/>
                      <a:gd name="T38" fmla="*/ 6 w 24"/>
                      <a:gd name="T39" fmla="*/ 27 h 44"/>
                      <a:gd name="T40" fmla="*/ 6 w 24"/>
                      <a:gd name="T41" fmla="*/ 29 h 44"/>
                      <a:gd name="T42" fmla="*/ 4 w 24"/>
                      <a:gd name="T43" fmla="*/ 31 h 44"/>
                      <a:gd name="T44" fmla="*/ 4 w 24"/>
                      <a:gd name="T45" fmla="*/ 32 h 44"/>
                      <a:gd name="T46" fmla="*/ 4 w 24"/>
                      <a:gd name="T47" fmla="*/ 34 h 44"/>
                      <a:gd name="T48" fmla="*/ 6 w 24"/>
                      <a:gd name="T49" fmla="*/ 36 h 44"/>
                      <a:gd name="T50" fmla="*/ 6 w 24"/>
                      <a:gd name="T51" fmla="*/ 37 h 44"/>
                      <a:gd name="T52" fmla="*/ 6 w 24"/>
                      <a:gd name="T53" fmla="*/ 39 h 44"/>
                      <a:gd name="T54" fmla="*/ 7 w 24"/>
                      <a:gd name="T55" fmla="*/ 41 h 44"/>
                      <a:gd name="T56" fmla="*/ 7 w 24"/>
                      <a:gd name="T57" fmla="*/ 42 h 44"/>
                      <a:gd name="T58" fmla="*/ 9 w 24"/>
                      <a:gd name="T59" fmla="*/ 44 h 44"/>
                      <a:gd name="T60" fmla="*/ 11 w 24"/>
                      <a:gd name="T61" fmla="*/ 44 h 44"/>
                      <a:gd name="T62" fmla="*/ 12 w 24"/>
                      <a:gd name="T63" fmla="*/ 44 h 44"/>
                      <a:gd name="T64" fmla="*/ 14 w 24"/>
                      <a:gd name="T65" fmla="*/ 42 h 44"/>
                      <a:gd name="T66" fmla="*/ 16 w 24"/>
                      <a:gd name="T67" fmla="*/ 41 h 44"/>
                      <a:gd name="T68" fmla="*/ 17 w 24"/>
                      <a:gd name="T69" fmla="*/ 39 h 44"/>
                      <a:gd name="T70" fmla="*/ 19 w 24"/>
                      <a:gd name="T71" fmla="*/ 39 h 44"/>
                      <a:gd name="T72" fmla="*/ 21 w 24"/>
                      <a:gd name="T73" fmla="*/ 39 h 44"/>
                      <a:gd name="T74" fmla="*/ 22 w 24"/>
                      <a:gd name="T75" fmla="*/ 39 h 44"/>
                      <a:gd name="T76" fmla="*/ 22 w 24"/>
                      <a:gd name="T77" fmla="*/ 37 h 44"/>
                      <a:gd name="T78" fmla="*/ 24 w 24"/>
                      <a:gd name="T79" fmla="*/ 36 h 44"/>
                      <a:gd name="T80" fmla="*/ 24 w 24"/>
                      <a:gd name="T81" fmla="*/ 34 h 44"/>
                      <a:gd name="T82" fmla="*/ 24 w 24"/>
                      <a:gd name="T83" fmla="*/ 31 h 44"/>
                      <a:gd name="T84" fmla="*/ 24 w 24"/>
                      <a:gd name="T85" fmla="*/ 29 h 44"/>
                      <a:gd name="T86" fmla="*/ 24 w 24"/>
                      <a:gd name="T87" fmla="*/ 24 h 44"/>
                      <a:gd name="T88" fmla="*/ 24 w 24"/>
                      <a:gd name="T89" fmla="*/ 22 h 44"/>
                      <a:gd name="T90" fmla="*/ 24 w 24"/>
                      <a:gd name="T91" fmla="*/ 21 h 44"/>
                      <a:gd name="T92" fmla="*/ 24 w 24"/>
                      <a:gd name="T93" fmla="*/ 19 h 44"/>
                      <a:gd name="T94" fmla="*/ 24 w 24"/>
                      <a:gd name="T95" fmla="*/ 15 h 44"/>
                      <a:gd name="T96" fmla="*/ 24 w 24"/>
                      <a:gd name="T97" fmla="*/ 10 h 44"/>
                      <a:gd name="T98" fmla="*/ 22 w 24"/>
                      <a:gd name="T99" fmla="*/ 7 h 44"/>
                      <a:gd name="T100" fmla="*/ 22 w 24"/>
                      <a:gd name="T101" fmla="*/ 5 h 44"/>
                      <a:gd name="T102" fmla="*/ 21 w 24"/>
                      <a:gd name="T103" fmla="*/ 4 h 44"/>
                      <a:gd name="T104" fmla="*/ 21 w 24"/>
                      <a:gd name="T105" fmla="*/ 2 h 44"/>
                      <a:gd name="T106" fmla="*/ 19 w 24"/>
                      <a:gd name="T107" fmla="*/ 2 h 44"/>
                      <a:gd name="T108" fmla="*/ 17 w 24"/>
                      <a:gd name="T109" fmla="*/ 0 h 44"/>
                      <a:gd name="T110" fmla="*/ 16 w 24"/>
                      <a:gd name="T111" fmla="*/ 0 h 44"/>
                      <a:gd name="T112" fmla="*/ 16 w 24"/>
                      <a:gd name="T113" fmla="*/ 2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24" h="44">
                        <a:moveTo>
                          <a:pt x="16" y="2"/>
                        </a:moveTo>
                        <a:lnTo>
                          <a:pt x="14" y="2"/>
                        </a:lnTo>
                        <a:lnTo>
                          <a:pt x="12" y="4"/>
                        </a:lnTo>
                        <a:lnTo>
                          <a:pt x="11" y="5"/>
                        </a:lnTo>
                        <a:lnTo>
                          <a:pt x="9" y="7"/>
                        </a:lnTo>
                        <a:lnTo>
                          <a:pt x="7" y="9"/>
                        </a:lnTo>
                        <a:lnTo>
                          <a:pt x="4" y="9"/>
                        </a:lnTo>
                        <a:lnTo>
                          <a:pt x="2" y="7"/>
                        </a:lnTo>
                        <a:lnTo>
                          <a:pt x="0" y="7"/>
                        </a:lnTo>
                        <a:lnTo>
                          <a:pt x="0" y="9"/>
                        </a:lnTo>
                        <a:lnTo>
                          <a:pt x="0" y="10"/>
                        </a:lnTo>
                        <a:lnTo>
                          <a:pt x="0" y="12"/>
                        </a:lnTo>
                        <a:lnTo>
                          <a:pt x="2" y="14"/>
                        </a:lnTo>
                        <a:lnTo>
                          <a:pt x="4" y="14"/>
                        </a:lnTo>
                        <a:lnTo>
                          <a:pt x="4" y="15"/>
                        </a:lnTo>
                        <a:lnTo>
                          <a:pt x="6" y="19"/>
                        </a:lnTo>
                        <a:lnTo>
                          <a:pt x="6" y="21"/>
                        </a:lnTo>
                        <a:lnTo>
                          <a:pt x="6" y="22"/>
                        </a:lnTo>
                        <a:lnTo>
                          <a:pt x="6" y="26"/>
                        </a:lnTo>
                        <a:lnTo>
                          <a:pt x="6" y="27"/>
                        </a:lnTo>
                        <a:lnTo>
                          <a:pt x="6" y="29"/>
                        </a:lnTo>
                        <a:lnTo>
                          <a:pt x="4" y="31"/>
                        </a:lnTo>
                        <a:lnTo>
                          <a:pt x="4" y="32"/>
                        </a:lnTo>
                        <a:lnTo>
                          <a:pt x="4" y="34"/>
                        </a:lnTo>
                        <a:lnTo>
                          <a:pt x="6" y="36"/>
                        </a:lnTo>
                        <a:lnTo>
                          <a:pt x="6" y="37"/>
                        </a:lnTo>
                        <a:lnTo>
                          <a:pt x="6" y="39"/>
                        </a:lnTo>
                        <a:lnTo>
                          <a:pt x="7" y="41"/>
                        </a:lnTo>
                        <a:lnTo>
                          <a:pt x="7" y="42"/>
                        </a:lnTo>
                        <a:lnTo>
                          <a:pt x="9" y="44"/>
                        </a:lnTo>
                        <a:lnTo>
                          <a:pt x="11" y="44"/>
                        </a:lnTo>
                        <a:lnTo>
                          <a:pt x="12" y="44"/>
                        </a:lnTo>
                        <a:lnTo>
                          <a:pt x="14" y="42"/>
                        </a:lnTo>
                        <a:lnTo>
                          <a:pt x="16" y="41"/>
                        </a:lnTo>
                        <a:lnTo>
                          <a:pt x="17" y="39"/>
                        </a:lnTo>
                        <a:lnTo>
                          <a:pt x="19" y="39"/>
                        </a:lnTo>
                        <a:lnTo>
                          <a:pt x="21" y="39"/>
                        </a:lnTo>
                        <a:lnTo>
                          <a:pt x="22" y="39"/>
                        </a:lnTo>
                        <a:lnTo>
                          <a:pt x="22" y="37"/>
                        </a:lnTo>
                        <a:lnTo>
                          <a:pt x="24" y="36"/>
                        </a:lnTo>
                        <a:lnTo>
                          <a:pt x="24" y="34"/>
                        </a:lnTo>
                        <a:lnTo>
                          <a:pt x="24" y="31"/>
                        </a:lnTo>
                        <a:lnTo>
                          <a:pt x="24" y="29"/>
                        </a:lnTo>
                        <a:lnTo>
                          <a:pt x="24" y="24"/>
                        </a:lnTo>
                        <a:lnTo>
                          <a:pt x="24" y="22"/>
                        </a:lnTo>
                        <a:lnTo>
                          <a:pt x="24" y="21"/>
                        </a:lnTo>
                        <a:lnTo>
                          <a:pt x="24" y="19"/>
                        </a:lnTo>
                        <a:lnTo>
                          <a:pt x="24" y="15"/>
                        </a:lnTo>
                        <a:lnTo>
                          <a:pt x="24" y="10"/>
                        </a:lnTo>
                        <a:lnTo>
                          <a:pt x="22" y="7"/>
                        </a:lnTo>
                        <a:lnTo>
                          <a:pt x="22" y="5"/>
                        </a:lnTo>
                        <a:lnTo>
                          <a:pt x="21" y="4"/>
                        </a:lnTo>
                        <a:lnTo>
                          <a:pt x="21" y="2"/>
                        </a:lnTo>
                        <a:lnTo>
                          <a:pt x="19" y="2"/>
                        </a:lnTo>
                        <a:lnTo>
                          <a:pt x="17" y="0"/>
                        </a:lnTo>
                        <a:lnTo>
                          <a:pt x="16" y="0"/>
                        </a:lnTo>
                        <a:lnTo>
                          <a:pt x="16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88" name="Freeform 262">
                    <a:extLst>
                      <a:ext uri="{FF2B5EF4-FFF2-40B4-BE49-F238E27FC236}">
                        <a16:creationId xmlns:a16="http://schemas.microsoft.com/office/drawing/2014/main" id="{2ABFB626-03CB-8A46-B45E-574A606FE7C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8" y="672"/>
                    <a:ext cx="24" cy="44"/>
                  </a:xfrm>
                  <a:custGeom>
                    <a:avLst/>
                    <a:gdLst>
                      <a:gd name="T0" fmla="*/ 16 w 24"/>
                      <a:gd name="T1" fmla="*/ 2 h 44"/>
                      <a:gd name="T2" fmla="*/ 14 w 24"/>
                      <a:gd name="T3" fmla="*/ 2 h 44"/>
                      <a:gd name="T4" fmla="*/ 12 w 24"/>
                      <a:gd name="T5" fmla="*/ 4 h 44"/>
                      <a:gd name="T6" fmla="*/ 11 w 24"/>
                      <a:gd name="T7" fmla="*/ 5 h 44"/>
                      <a:gd name="T8" fmla="*/ 9 w 24"/>
                      <a:gd name="T9" fmla="*/ 7 h 44"/>
                      <a:gd name="T10" fmla="*/ 7 w 24"/>
                      <a:gd name="T11" fmla="*/ 9 h 44"/>
                      <a:gd name="T12" fmla="*/ 4 w 24"/>
                      <a:gd name="T13" fmla="*/ 9 h 44"/>
                      <a:gd name="T14" fmla="*/ 2 w 24"/>
                      <a:gd name="T15" fmla="*/ 7 h 44"/>
                      <a:gd name="T16" fmla="*/ 0 w 24"/>
                      <a:gd name="T17" fmla="*/ 7 h 44"/>
                      <a:gd name="T18" fmla="*/ 0 w 24"/>
                      <a:gd name="T19" fmla="*/ 9 h 44"/>
                      <a:gd name="T20" fmla="*/ 0 w 24"/>
                      <a:gd name="T21" fmla="*/ 10 h 44"/>
                      <a:gd name="T22" fmla="*/ 0 w 24"/>
                      <a:gd name="T23" fmla="*/ 12 h 44"/>
                      <a:gd name="T24" fmla="*/ 2 w 24"/>
                      <a:gd name="T25" fmla="*/ 14 h 44"/>
                      <a:gd name="T26" fmla="*/ 4 w 24"/>
                      <a:gd name="T27" fmla="*/ 14 h 44"/>
                      <a:gd name="T28" fmla="*/ 4 w 24"/>
                      <a:gd name="T29" fmla="*/ 15 h 44"/>
                      <a:gd name="T30" fmla="*/ 6 w 24"/>
                      <a:gd name="T31" fmla="*/ 19 h 44"/>
                      <a:gd name="T32" fmla="*/ 6 w 24"/>
                      <a:gd name="T33" fmla="*/ 21 h 44"/>
                      <a:gd name="T34" fmla="*/ 6 w 24"/>
                      <a:gd name="T35" fmla="*/ 22 h 44"/>
                      <a:gd name="T36" fmla="*/ 6 w 24"/>
                      <a:gd name="T37" fmla="*/ 26 h 44"/>
                      <a:gd name="T38" fmla="*/ 6 w 24"/>
                      <a:gd name="T39" fmla="*/ 27 h 44"/>
                      <a:gd name="T40" fmla="*/ 6 w 24"/>
                      <a:gd name="T41" fmla="*/ 29 h 44"/>
                      <a:gd name="T42" fmla="*/ 4 w 24"/>
                      <a:gd name="T43" fmla="*/ 31 h 44"/>
                      <a:gd name="T44" fmla="*/ 4 w 24"/>
                      <a:gd name="T45" fmla="*/ 32 h 44"/>
                      <a:gd name="T46" fmla="*/ 4 w 24"/>
                      <a:gd name="T47" fmla="*/ 34 h 44"/>
                      <a:gd name="T48" fmla="*/ 6 w 24"/>
                      <a:gd name="T49" fmla="*/ 36 h 44"/>
                      <a:gd name="T50" fmla="*/ 6 w 24"/>
                      <a:gd name="T51" fmla="*/ 37 h 44"/>
                      <a:gd name="T52" fmla="*/ 6 w 24"/>
                      <a:gd name="T53" fmla="*/ 39 h 44"/>
                      <a:gd name="T54" fmla="*/ 7 w 24"/>
                      <a:gd name="T55" fmla="*/ 41 h 44"/>
                      <a:gd name="T56" fmla="*/ 7 w 24"/>
                      <a:gd name="T57" fmla="*/ 42 h 44"/>
                      <a:gd name="T58" fmla="*/ 9 w 24"/>
                      <a:gd name="T59" fmla="*/ 44 h 44"/>
                      <a:gd name="T60" fmla="*/ 11 w 24"/>
                      <a:gd name="T61" fmla="*/ 44 h 44"/>
                      <a:gd name="T62" fmla="*/ 12 w 24"/>
                      <a:gd name="T63" fmla="*/ 44 h 44"/>
                      <a:gd name="T64" fmla="*/ 14 w 24"/>
                      <a:gd name="T65" fmla="*/ 42 h 44"/>
                      <a:gd name="T66" fmla="*/ 16 w 24"/>
                      <a:gd name="T67" fmla="*/ 41 h 44"/>
                      <a:gd name="T68" fmla="*/ 17 w 24"/>
                      <a:gd name="T69" fmla="*/ 39 h 44"/>
                      <a:gd name="T70" fmla="*/ 19 w 24"/>
                      <a:gd name="T71" fmla="*/ 39 h 44"/>
                      <a:gd name="T72" fmla="*/ 21 w 24"/>
                      <a:gd name="T73" fmla="*/ 39 h 44"/>
                      <a:gd name="T74" fmla="*/ 22 w 24"/>
                      <a:gd name="T75" fmla="*/ 39 h 44"/>
                      <a:gd name="T76" fmla="*/ 22 w 24"/>
                      <a:gd name="T77" fmla="*/ 37 h 44"/>
                      <a:gd name="T78" fmla="*/ 24 w 24"/>
                      <a:gd name="T79" fmla="*/ 36 h 44"/>
                      <a:gd name="T80" fmla="*/ 24 w 24"/>
                      <a:gd name="T81" fmla="*/ 34 h 44"/>
                      <a:gd name="T82" fmla="*/ 24 w 24"/>
                      <a:gd name="T83" fmla="*/ 31 h 44"/>
                      <a:gd name="T84" fmla="*/ 24 w 24"/>
                      <a:gd name="T85" fmla="*/ 29 h 44"/>
                      <a:gd name="T86" fmla="*/ 24 w 24"/>
                      <a:gd name="T87" fmla="*/ 24 h 44"/>
                      <a:gd name="T88" fmla="*/ 24 w 24"/>
                      <a:gd name="T89" fmla="*/ 22 h 44"/>
                      <a:gd name="T90" fmla="*/ 24 w 24"/>
                      <a:gd name="T91" fmla="*/ 21 h 44"/>
                      <a:gd name="T92" fmla="*/ 24 w 24"/>
                      <a:gd name="T93" fmla="*/ 19 h 44"/>
                      <a:gd name="T94" fmla="*/ 24 w 24"/>
                      <a:gd name="T95" fmla="*/ 15 h 44"/>
                      <a:gd name="T96" fmla="*/ 24 w 24"/>
                      <a:gd name="T97" fmla="*/ 10 h 44"/>
                      <a:gd name="T98" fmla="*/ 22 w 24"/>
                      <a:gd name="T99" fmla="*/ 7 h 44"/>
                      <a:gd name="T100" fmla="*/ 22 w 24"/>
                      <a:gd name="T101" fmla="*/ 5 h 44"/>
                      <a:gd name="T102" fmla="*/ 21 w 24"/>
                      <a:gd name="T103" fmla="*/ 4 h 44"/>
                      <a:gd name="T104" fmla="*/ 21 w 24"/>
                      <a:gd name="T105" fmla="*/ 2 h 44"/>
                      <a:gd name="T106" fmla="*/ 19 w 24"/>
                      <a:gd name="T107" fmla="*/ 2 h 44"/>
                      <a:gd name="T108" fmla="*/ 17 w 24"/>
                      <a:gd name="T109" fmla="*/ 0 h 44"/>
                      <a:gd name="T110" fmla="*/ 16 w 24"/>
                      <a:gd name="T111" fmla="*/ 0 h 44"/>
                      <a:gd name="T112" fmla="*/ 16 w 24"/>
                      <a:gd name="T113" fmla="*/ 2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24" h="44">
                        <a:moveTo>
                          <a:pt x="16" y="2"/>
                        </a:moveTo>
                        <a:lnTo>
                          <a:pt x="14" y="2"/>
                        </a:lnTo>
                        <a:lnTo>
                          <a:pt x="12" y="4"/>
                        </a:lnTo>
                        <a:lnTo>
                          <a:pt x="11" y="5"/>
                        </a:lnTo>
                        <a:lnTo>
                          <a:pt x="9" y="7"/>
                        </a:lnTo>
                        <a:lnTo>
                          <a:pt x="7" y="9"/>
                        </a:lnTo>
                        <a:lnTo>
                          <a:pt x="4" y="9"/>
                        </a:lnTo>
                        <a:lnTo>
                          <a:pt x="2" y="7"/>
                        </a:lnTo>
                        <a:lnTo>
                          <a:pt x="0" y="7"/>
                        </a:lnTo>
                        <a:lnTo>
                          <a:pt x="0" y="9"/>
                        </a:lnTo>
                        <a:lnTo>
                          <a:pt x="0" y="10"/>
                        </a:lnTo>
                        <a:lnTo>
                          <a:pt x="0" y="12"/>
                        </a:lnTo>
                        <a:lnTo>
                          <a:pt x="2" y="14"/>
                        </a:lnTo>
                        <a:lnTo>
                          <a:pt x="4" y="14"/>
                        </a:lnTo>
                        <a:lnTo>
                          <a:pt x="4" y="15"/>
                        </a:lnTo>
                        <a:lnTo>
                          <a:pt x="6" y="19"/>
                        </a:lnTo>
                        <a:lnTo>
                          <a:pt x="6" y="21"/>
                        </a:lnTo>
                        <a:lnTo>
                          <a:pt x="6" y="22"/>
                        </a:lnTo>
                        <a:lnTo>
                          <a:pt x="6" y="26"/>
                        </a:lnTo>
                        <a:lnTo>
                          <a:pt x="6" y="27"/>
                        </a:lnTo>
                        <a:lnTo>
                          <a:pt x="6" y="29"/>
                        </a:lnTo>
                        <a:lnTo>
                          <a:pt x="4" y="31"/>
                        </a:lnTo>
                        <a:lnTo>
                          <a:pt x="4" y="32"/>
                        </a:lnTo>
                        <a:lnTo>
                          <a:pt x="4" y="34"/>
                        </a:lnTo>
                        <a:lnTo>
                          <a:pt x="6" y="36"/>
                        </a:lnTo>
                        <a:lnTo>
                          <a:pt x="6" y="37"/>
                        </a:lnTo>
                        <a:lnTo>
                          <a:pt x="6" y="39"/>
                        </a:lnTo>
                        <a:lnTo>
                          <a:pt x="7" y="41"/>
                        </a:lnTo>
                        <a:lnTo>
                          <a:pt x="7" y="42"/>
                        </a:lnTo>
                        <a:lnTo>
                          <a:pt x="9" y="44"/>
                        </a:lnTo>
                        <a:lnTo>
                          <a:pt x="11" y="44"/>
                        </a:lnTo>
                        <a:lnTo>
                          <a:pt x="12" y="44"/>
                        </a:lnTo>
                        <a:lnTo>
                          <a:pt x="14" y="42"/>
                        </a:lnTo>
                        <a:lnTo>
                          <a:pt x="16" y="41"/>
                        </a:lnTo>
                        <a:lnTo>
                          <a:pt x="17" y="39"/>
                        </a:lnTo>
                        <a:lnTo>
                          <a:pt x="19" y="39"/>
                        </a:lnTo>
                        <a:lnTo>
                          <a:pt x="21" y="39"/>
                        </a:lnTo>
                        <a:lnTo>
                          <a:pt x="22" y="39"/>
                        </a:lnTo>
                        <a:lnTo>
                          <a:pt x="22" y="37"/>
                        </a:lnTo>
                        <a:lnTo>
                          <a:pt x="24" y="36"/>
                        </a:lnTo>
                        <a:lnTo>
                          <a:pt x="24" y="34"/>
                        </a:lnTo>
                        <a:lnTo>
                          <a:pt x="24" y="31"/>
                        </a:lnTo>
                        <a:lnTo>
                          <a:pt x="24" y="29"/>
                        </a:lnTo>
                        <a:lnTo>
                          <a:pt x="24" y="24"/>
                        </a:lnTo>
                        <a:lnTo>
                          <a:pt x="24" y="22"/>
                        </a:lnTo>
                        <a:lnTo>
                          <a:pt x="24" y="21"/>
                        </a:lnTo>
                        <a:lnTo>
                          <a:pt x="24" y="19"/>
                        </a:lnTo>
                        <a:lnTo>
                          <a:pt x="24" y="15"/>
                        </a:lnTo>
                        <a:lnTo>
                          <a:pt x="24" y="10"/>
                        </a:lnTo>
                        <a:lnTo>
                          <a:pt x="22" y="7"/>
                        </a:lnTo>
                        <a:lnTo>
                          <a:pt x="22" y="5"/>
                        </a:lnTo>
                        <a:lnTo>
                          <a:pt x="21" y="4"/>
                        </a:lnTo>
                        <a:lnTo>
                          <a:pt x="21" y="2"/>
                        </a:lnTo>
                        <a:lnTo>
                          <a:pt x="19" y="2"/>
                        </a:lnTo>
                        <a:lnTo>
                          <a:pt x="17" y="0"/>
                        </a:lnTo>
                        <a:lnTo>
                          <a:pt x="16" y="0"/>
                        </a:lnTo>
                        <a:lnTo>
                          <a:pt x="16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654" name="Group 1653">
                <a:extLst>
                  <a:ext uri="{FF2B5EF4-FFF2-40B4-BE49-F238E27FC236}">
                    <a16:creationId xmlns:a16="http://schemas.microsoft.com/office/drawing/2014/main" id="{DC843F12-B39A-7446-96C0-598BDB87CFC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81" y="325"/>
                <a:ext cx="118" cy="56"/>
                <a:chOff x="481" y="325"/>
                <a:chExt cx="118" cy="56"/>
              </a:xfrm>
            </p:grpSpPr>
            <p:sp>
              <p:nvSpPr>
                <p:cNvPr id="1882" name="Freeform 256">
                  <a:extLst>
                    <a:ext uri="{FF2B5EF4-FFF2-40B4-BE49-F238E27FC236}">
                      <a16:creationId xmlns:a16="http://schemas.microsoft.com/office/drawing/2014/main" id="{3C872DF3-69E0-EA49-815C-CAE8F4C5A6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" y="325"/>
                  <a:ext cx="118" cy="56"/>
                </a:xfrm>
                <a:custGeom>
                  <a:avLst/>
                  <a:gdLst>
                    <a:gd name="T0" fmla="*/ 103 w 118"/>
                    <a:gd name="T1" fmla="*/ 10 h 56"/>
                    <a:gd name="T2" fmla="*/ 97 w 118"/>
                    <a:gd name="T3" fmla="*/ 12 h 56"/>
                    <a:gd name="T4" fmla="*/ 87 w 118"/>
                    <a:gd name="T5" fmla="*/ 12 h 56"/>
                    <a:gd name="T6" fmla="*/ 81 w 118"/>
                    <a:gd name="T7" fmla="*/ 5 h 56"/>
                    <a:gd name="T8" fmla="*/ 72 w 118"/>
                    <a:gd name="T9" fmla="*/ 3 h 56"/>
                    <a:gd name="T10" fmla="*/ 67 w 118"/>
                    <a:gd name="T11" fmla="*/ 2 h 56"/>
                    <a:gd name="T12" fmla="*/ 59 w 118"/>
                    <a:gd name="T13" fmla="*/ 5 h 56"/>
                    <a:gd name="T14" fmla="*/ 52 w 118"/>
                    <a:gd name="T15" fmla="*/ 7 h 56"/>
                    <a:gd name="T16" fmla="*/ 54 w 118"/>
                    <a:gd name="T17" fmla="*/ 13 h 56"/>
                    <a:gd name="T18" fmla="*/ 52 w 118"/>
                    <a:gd name="T19" fmla="*/ 22 h 56"/>
                    <a:gd name="T20" fmla="*/ 52 w 118"/>
                    <a:gd name="T21" fmla="*/ 29 h 56"/>
                    <a:gd name="T22" fmla="*/ 45 w 118"/>
                    <a:gd name="T23" fmla="*/ 27 h 56"/>
                    <a:gd name="T24" fmla="*/ 37 w 118"/>
                    <a:gd name="T25" fmla="*/ 24 h 56"/>
                    <a:gd name="T26" fmla="*/ 30 w 118"/>
                    <a:gd name="T27" fmla="*/ 19 h 56"/>
                    <a:gd name="T28" fmla="*/ 28 w 118"/>
                    <a:gd name="T29" fmla="*/ 13 h 56"/>
                    <a:gd name="T30" fmla="*/ 20 w 118"/>
                    <a:gd name="T31" fmla="*/ 10 h 56"/>
                    <a:gd name="T32" fmla="*/ 11 w 118"/>
                    <a:gd name="T33" fmla="*/ 13 h 56"/>
                    <a:gd name="T34" fmla="*/ 5 w 118"/>
                    <a:gd name="T35" fmla="*/ 20 h 56"/>
                    <a:gd name="T36" fmla="*/ 5 w 118"/>
                    <a:gd name="T37" fmla="*/ 27 h 56"/>
                    <a:gd name="T38" fmla="*/ 0 w 118"/>
                    <a:gd name="T39" fmla="*/ 35 h 56"/>
                    <a:gd name="T40" fmla="*/ 1 w 118"/>
                    <a:gd name="T41" fmla="*/ 42 h 56"/>
                    <a:gd name="T42" fmla="*/ 0 w 118"/>
                    <a:gd name="T43" fmla="*/ 47 h 56"/>
                    <a:gd name="T44" fmla="*/ 5 w 118"/>
                    <a:gd name="T45" fmla="*/ 47 h 56"/>
                    <a:gd name="T46" fmla="*/ 11 w 118"/>
                    <a:gd name="T47" fmla="*/ 42 h 56"/>
                    <a:gd name="T48" fmla="*/ 18 w 118"/>
                    <a:gd name="T49" fmla="*/ 39 h 56"/>
                    <a:gd name="T50" fmla="*/ 25 w 118"/>
                    <a:gd name="T51" fmla="*/ 39 h 56"/>
                    <a:gd name="T52" fmla="*/ 33 w 118"/>
                    <a:gd name="T53" fmla="*/ 39 h 56"/>
                    <a:gd name="T54" fmla="*/ 40 w 118"/>
                    <a:gd name="T55" fmla="*/ 39 h 56"/>
                    <a:gd name="T56" fmla="*/ 50 w 118"/>
                    <a:gd name="T57" fmla="*/ 39 h 56"/>
                    <a:gd name="T58" fmla="*/ 60 w 118"/>
                    <a:gd name="T59" fmla="*/ 37 h 56"/>
                    <a:gd name="T60" fmla="*/ 65 w 118"/>
                    <a:gd name="T61" fmla="*/ 39 h 56"/>
                    <a:gd name="T62" fmla="*/ 67 w 118"/>
                    <a:gd name="T63" fmla="*/ 44 h 56"/>
                    <a:gd name="T64" fmla="*/ 72 w 118"/>
                    <a:gd name="T65" fmla="*/ 46 h 56"/>
                    <a:gd name="T66" fmla="*/ 77 w 118"/>
                    <a:gd name="T67" fmla="*/ 49 h 56"/>
                    <a:gd name="T68" fmla="*/ 84 w 118"/>
                    <a:gd name="T69" fmla="*/ 52 h 56"/>
                    <a:gd name="T70" fmla="*/ 89 w 118"/>
                    <a:gd name="T71" fmla="*/ 56 h 56"/>
                    <a:gd name="T72" fmla="*/ 96 w 118"/>
                    <a:gd name="T73" fmla="*/ 54 h 56"/>
                    <a:gd name="T74" fmla="*/ 103 w 118"/>
                    <a:gd name="T75" fmla="*/ 56 h 56"/>
                    <a:gd name="T76" fmla="*/ 109 w 118"/>
                    <a:gd name="T77" fmla="*/ 52 h 56"/>
                    <a:gd name="T78" fmla="*/ 113 w 118"/>
                    <a:gd name="T79" fmla="*/ 47 h 56"/>
                    <a:gd name="T80" fmla="*/ 118 w 118"/>
                    <a:gd name="T81" fmla="*/ 46 h 56"/>
                    <a:gd name="T82" fmla="*/ 116 w 118"/>
                    <a:gd name="T83" fmla="*/ 37 h 56"/>
                    <a:gd name="T84" fmla="*/ 111 w 118"/>
                    <a:gd name="T85" fmla="*/ 30 h 56"/>
                    <a:gd name="T86" fmla="*/ 111 w 118"/>
                    <a:gd name="T87" fmla="*/ 24 h 56"/>
                    <a:gd name="T88" fmla="*/ 109 w 118"/>
                    <a:gd name="T89" fmla="*/ 22 h 56"/>
                    <a:gd name="T90" fmla="*/ 109 w 118"/>
                    <a:gd name="T91" fmla="*/ 17 h 56"/>
                    <a:gd name="T92" fmla="*/ 104 w 118"/>
                    <a:gd name="T93" fmla="*/ 15 h 56"/>
                    <a:gd name="T94" fmla="*/ 104 w 118"/>
                    <a:gd name="T95" fmla="*/ 12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18" h="56">
                      <a:moveTo>
                        <a:pt x="106" y="12"/>
                      </a:moveTo>
                      <a:lnTo>
                        <a:pt x="104" y="12"/>
                      </a:lnTo>
                      <a:lnTo>
                        <a:pt x="104" y="10"/>
                      </a:lnTo>
                      <a:lnTo>
                        <a:pt x="103" y="10"/>
                      </a:lnTo>
                      <a:lnTo>
                        <a:pt x="101" y="10"/>
                      </a:lnTo>
                      <a:lnTo>
                        <a:pt x="99" y="10"/>
                      </a:lnTo>
                      <a:lnTo>
                        <a:pt x="99" y="12"/>
                      </a:lnTo>
                      <a:lnTo>
                        <a:pt x="97" y="12"/>
                      </a:lnTo>
                      <a:lnTo>
                        <a:pt x="96" y="12"/>
                      </a:lnTo>
                      <a:lnTo>
                        <a:pt x="92" y="12"/>
                      </a:lnTo>
                      <a:lnTo>
                        <a:pt x="89" y="12"/>
                      </a:lnTo>
                      <a:lnTo>
                        <a:pt x="87" y="12"/>
                      </a:lnTo>
                      <a:lnTo>
                        <a:pt x="86" y="10"/>
                      </a:lnTo>
                      <a:lnTo>
                        <a:pt x="82" y="8"/>
                      </a:lnTo>
                      <a:lnTo>
                        <a:pt x="82" y="7"/>
                      </a:lnTo>
                      <a:lnTo>
                        <a:pt x="81" y="5"/>
                      </a:lnTo>
                      <a:lnTo>
                        <a:pt x="77" y="5"/>
                      </a:lnTo>
                      <a:lnTo>
                        <a:pt x="76" y="3"/>
                      </a:lnTo>
                      <a:lnTo>
                        <a:pt x="74" y="3"/>
                      </a:lnTo>
                      <a:lnTo>
                        <a:pt x="72" y="3"/>
                      </a:lnTo>
                      <a:lnTo>
                        <a:pt x="72" y="2"/>
                      </a:lnTo>
                      <a:lnTo>
                        <a:pt x="70" y="2"/>
                      </a:lnTo>
                      <a:lnTo>
                        <a:pt x="70" y="0"/>
                      </a:lnTo>
                      <a:lnTo>
                        <a:pt x="67" y="2"/>
                      </a:lnTo>
                      <a:lnTo>
                        <a:pt x="65" y="2"/>
                      </a:lnTo>
                      <a:lnTo>
                        <a:pt x="64" y="3"/>
                      </a:lnTo>
                      <a:lnTo>
                        <a:pt x="62" y="5"/>
                      </a:lnTo>
                      <a:lnTo>
                        <a:pt x="59" y="5"/>
                      </a:lnTo>
                      <a:lnTo>
                        <a:pt x="57" y="5"/>
                      </a:lnTo>
                      <a:lnTo>
                        <a:pt x="55" y="7"/>
                      </a:lnTo>
                      <a:lnTo>
                        <a:pt x="54" y="7"/>
                      </a:lnTo>
                      <a:lnTo>
                        <a:pt x="52" y="7"/>
                      </a:lnTo>
                      <a:lnTo>
                        <a:pt x="52" y="8"/>
                      </a:lnTo>
                      <a:lnTo>
                        <a:pt x="52" y="10"/>
                      </a:lnTo>
                      <a:lnTo>
                        <a:pt x="54" y="12"/>
                      </a:lnTo>
                      <a:lnTo>
                        <a:pt x="54" y="13"/>
                      </a:lnTo>
                      <a:lnTo>
                        <a:pt x="54" y="15"/>
                      </a:lnTo>
                      <a:lnTo>
                        <a:pt x="52" y="17"/>
                      </a:lnTo>
                      <a:lnTo>
                        <a:pt x="52" y="19"/>
                      </a:lnTo>
                      <a:lnTo>
                        <a:pt x="52" y="22"/>
                      </a:lnTo>
                      <a:lnTo>
                        <a:pt x="52" y="25"/>
                      </a:lnTo>
                      <a:lnTo>
                        <a:pt x="50" y="27"/>
                      </a:lnTo>
                      <a:lnTo>
                        <a:pt x="50" y="29"/>
                      </a:lnTo>
                      <a:lnTo>
                        <a:pt x="52" y="29"/>
                      </a:lnTo>
                      <a:lnTo>
                        <a:pt x="50" y="29"/>
                      </a:lnTo>
                      <a:lnTo>
                        <a:pt x="49" y="27"/>
                      </a:lnTo>
                      <a:lnTo>
                        <a:pt x="47" y="27"/>
                      </a:lnTo>
                      <a:lnTo>
                        <a:pt x="45" y="27"/>
                      </a:lnTo>
                      <a:lnTo>
                        <a:pt x="42" y="27"/>
                      </a:lnTo>
                      <a:lnTo>
                        <a:pt x="40" y="25"/>
                      </a:lnTo>
                      <a:lnTo>
                        <a:pt x="38" y="25"/>
                      </a:lnTo>
                      <a:lnTo>
                        <a:pt x="37" y="24"/>
                      </a:lnTo>
                      <a:lnTo>
                        <a:pt x="37" y="22"/>
                      </a:lnTo>
                      <a:lnTo>
                        <a:pt x="35" y="22"/>
                      </a:lnTo>
                      <a:lnTo>
                        <a:pt x="32" y="20"/>
                      </a:lnTo>
                      <a:lnTo>
                        <a:pt x="30" y="19"/>
                      </a:lnTo>
                      <a:lnTo>
                        <a:pt x="30" y="17"/>
                      </a:lnTo>
                      <a:lnTo>
                        <a:pt x="30" y="15"/>
                      </a:lnTo>
                      <a:lnTo>
                        <a:pt x="28" y="15"/>
                      </a:lnTo>
                      <a:lnTo>
                        <a:pt x="28" y="13"/>
                      </a:lnTo>
                      <a:lnTo>
                        <a:pt x="27" y="13"/>
                      </a:lnTo>
                      <a:lnTo>
                        <a:pt x="25" y="12"/>
                      </a:lnTo>
                      <a:lnTo>
                        <a:pt x="23" y="10"/>
                      </a:lnTo>
                      <a:lnTo>
                        <a:pt x="20" y="10"/>
                      </a:lnTo>
                      <a:lnTo>
                        <a:pt x="17" y="12"/>
                      </a:lnTo>
                      <a:lnTo>
                        <a:pt x="15" y="12"/>
                      </a:lnTo>
                      <a:lnTo>
                        <a:pt x="13" y="12"/>
                      </a:lnTo>
                      <a:lnTo>
                        <a:pt x="11" y="13"/>
                      </a:lnTo>
                      <a:lnTo>
                        <a:pt x="10" y="15"/>
                      </a:lnTo>
                      <a:lnTo>
                        <a:pt x="8" y="17"/>
                      </a:lnTo>
                      <a:lnTo>
                        <a:pt x="6" y="19"/>
                      </a:lnTo>
                      <a:lnTo>
                        <a:pt x="5" y="20"/>
                      </a:lnTo>
                      <a:lnTo>
                        <a:pt x="5" y="22"/>
                      </a:lnTo>
                      <a:lnTo>
                        <a:pt x="5" y="24"/>
                      </a:lnTo>
                      <a:lnTo>
                        <a:pt x="5" y="25"/>
                      </a:lnTo>
                      <a:lnTo>
                        <a:pt x="5" y="27"/>
                      </a:lnTo>
                      <a:lnTo>
                        <a:pt x="3" y="29"/>
                      </a:lnTo>
                      <a:lnTo>
                        <a:pt x="1" y="30"/>
                      </a:lnTo>
                      <a:lnTo>
                        <a:pt x="1" y="32"/>
                      </a:lnTo>
                      <a:lnTo>
                        <a:pt x="0" y="35"/>
                      </a:lnTo>
                      <a:lnTo>
                        <a:pt x="0" y="37"/>
                      </a:lnTo>
                      <a:lnTo>
                        <a:pt x="0" y="39"/>
                      </a:lnTo>
                      <a:lnTo>
                        <a:pt x="1" y="40"/>
                      </a:lnTo>
                      <a:lnTo>
                        <a:pt x="1" y="42"/>
                      </a:lnTo>
                      <a:lnTo>
                        <a:pt x="0" y="42"/>
                      </a:lnTo>
                      <a:lnTo>
                        <a:pt x="0" y="44"/>
                      </a:lnTo>
                      <a:lnTo>
                        <a:pt x="0" y="46"/>
                      </a:lnTo>
                      <a:lnTo>
                        <a:pt x="0" y="47"/>
                      </a:lnTo>
                      <a:lnTo>
                        <a:pt x="1" y="47"/>
                      </a:lnTo>
                      <a:lnTo>
                        <a:pt x="1" y="49"/>
                      </a:lnTo>
                      <a:lnTo>
                        <a:pt x="3" y="47"/>
                      </a:lnTo>
                      <a:lnTo>
                        <a:pt x="5" y="47"/>
                      </a:lnTo>
                      <a:lnTo>
                        <a:pt x="6" y="46"/>
                      </a:lnTo>
                      <a:lnTo>
                        <a:pt x="8" y="44"/>
                      </a:lnTo>
                      <a:lnTo>
                        <a:pt x="10" y="42"/>
                      </a:lnTo>
                      <a:lnTo>
                        <a:pt x="11" y="42"/>
                      </a:lnTo>
                      <a:lnTo>
                        <a:pt x="11" y="40"/>
                      </a:lnTo>
                      <a:lnTo>
                        <a:pt x="13" y="40"/>
                      </a:lnTo>
                      <a:lnTo>
                        <a:pt x="17" y="40"/>
                      </a:lnTo>
                      <a:lnTo>
                        <a:pt x="18" y="39"/>
                      </a:lnTo>
                      <a:lnTo>
                        <a:pt x="20" y="37"/>
                      </a:lnTo>
                      <a:lnTo>
                        <a:pt x="22" y="37"/>
                      </a:lnTo>
                      <a:lnTo>
                        <a:pt x="23" y="37"/>
                      </a:lnTo>
                      <a:lnTo>
                        <a:pt x="25" y="39"/>
                      </a:lnTo>
                      <a:lnTo>
                        <a:pt x="27" y="39"/>
                      </a:lnTo>
                      <a:lnTo>
                        <a:pt x="28" y="40"/>
                      </a:lnTo>
                      <a:lnTo>
                        <a:pt x="30" y="39"/>
                      </a:lnTo>
                      <a:lnTo>
                        <a:pt x="33" y="39"/>
                      </a:lnTo>
                      <a:lnTo>
                        <a:pt x="35" y="39"/>
                      </a:lnTo>
                      <a:lnTo>
                        <a:pt x="37" y="39"/>
                      </a:lnTo>
                      <a:lnTo>
                        <a:pt x="38" y="39"/>
                      </a:lnTo>
                      <a:lnTo>
                        <a:pt x="40" y="39"/>
                      </a:lnTo>
                      <a:lnTo>
                        <a:pt x="42" y="39"/>
                      </a:lnTo>
                      <a:lnTo>
                        <a:pt x="45" y="39"/>
                      </a:lnTo>
                      <a:lnTo>
                        <a:pt x="49" y="39"/>
                      </a:lnTo>
                      <a:lnTo>
                        <a:pt x="50" y="39"/>
                      </a:lnTo>
                      <a:lnTo>
                        <a:pt x="52" y="39"/>
                      </a:lnTo>
                      <a:lnTo>
                        <a:pt x="55" y="39"/>
                      </a:lnTo>
                      <a:lnTo>
                        <a:pt x="57" y="39"/>
                      </a:lnTo>
                      <a:lnTo>
                        <a:pt x="60" y="37"/>
                      </a:lnTo>
                      <a:lnTo>
                        <a:pt x="62" y="37"/>
                      </a:lnTo>
                      <a:lnTo>
                        <a:pt x="64" y="37"/>
                      </a:lnTo>
                      <a:lnTo>
                        <a:pt x="65" y="37"/>
                      </a:lnTo>
                      <a:lnTo>
                        <a:pt x="65" y="39"/>
                      </a:lnTo>
                      <a:lnTo>
                        <a:pt x="65" y="40"/>
                      </a:lnTo>
                      <a:lnTo>
                        <a:pt x="65" y="42"/>
                      </a:lnTo>
                      <a:lnTo>
                        <a:pt x="65" y="44"/>
                      </a:lnTo>
                      <a:lnTo>
                        <a:pt x="67" y="44"/>
                      </a:lnTo>
                      <a:lnTo>
                        <a:pt x="67" y="46"/>
                      </a:lnTo>
                      <a:lnTo>
                        <a:pt x="69" y="46"/>
                      </a:lnTo>
                      <a:lnTo>
                        <a:pt x="70" y="46"/>
                      </a:lnTo>
                      <a:lnTo>
                        <a:pt x="72" y="46"/>
                      </a:lnTo>
                      <a:lnTo>
                        <a:pt x="74" y="46"/>
                      </a:lnTo>
                      <a:lnTo>
                        <a:pt x="76" y="47"/>
                      </a:lnTo>
                      <a:lnTo>
                        <a:pt x="77" y="47"/>
                      </a:lnTo>
                      <a:lnTo>
                        <a:pt x="77" y="49"/>
                      </a:lnTo>
                      <a:lnTo>
                        <a:pt x="79" y="49"/>
                      </a:lnTo>
                      <a:lnTo>
                        <a:pt x="81" y="51"/>
                      </a:lnTo>
                      <a:lnTo>
                        <a:pt x="82" y="52"/>
                      </a:lnTo>
                      <a:lnTo>
                        <a:pt x="84" y="52"/>
                      </a:lnTo>
                      <a:lnTo>
                        <a:pt x="84" y="54"/>
                      </a:lnTo>
                      <a:lnTo>
                        <a:pt x="86" y="54"/>
                      </a:lnTo>
                      <a:lnTo>
                        <a:pt x="87" y="56"/>
                      </a:lnTo>
                      <a:lnTo>
                        <a:pt x="89" y="56"/>
                      </a:lnTo>
                      <a:lnTo>
                        <a:pt x="91" y="56"/>
                      </a:lnTo>
                      <a:lnTo>
                        <a:pt x="92" y="56"/>
                      </a:lnTo>
                      <a:lnTo>
                        <a:pt x="94" y="56"/>
                      </a:lnTo>
                      <a:lnTo>
                        <a:pt x="96" y="54"/>
                      </a:lnTo>
                      <a:lnTo>
                        <a:pt x="97" y="54"/>
                      </a:lnTo>
                      <a:lnTo>
                        <a:pt x="99" y="54"/>
                      </a:lnTo>
                      <a:lnTo>
                        <a:pt x="101" y="54"/>
                      </a:lnTo>
                      <a:lnTo>
                        <a:pt x="103" y="56"/>
                      </a:lnTo>
                      <a:lnTo>
                        <a:pt x="106" y="56"/>
                      </a:lnTo>
                      <a:lnTo>
                        <a:pt x="108" y="54"/>
                      </a:lnTo>
                      <a:lnTo>
                        <a:pt x="109" y="54"/>
                      </a:lnTo>
                      <a:lnTo>
                        <a:pt x="109" y="52"/>
                      </a:lnTo>
                      <a:lnTo>
                        <a:pt x="109" y="51"/>
                      </a:lnTo>
                      <a:lnTo>
                        <a:pt x="109" y="49"/>
                      </a:lnTo>
                      <a:lnTo>
                        <a:pt x="109" y="47"/>
                      </a:lnTo>
                      <a:lnTo>
                        <a:pt x="113" y="47"/>
                      </a:lnTo>
                      <a:lnTo>
                        <a:pt x="114" y="47"/>
                      </a:lnTo>
                      <a:lnTo>
                        <a:pt x="116" y="47"/>
                      </a:lnTo>
                      <a:lnTo>
                        <a:pt x="118" y="47"/>
                      </a:lnTo>
                      <a:lnTo>
                        <a:pt x="118" y="46"/>
                      </a:lnTo>
                      <a:lnTo>
                        <a:pt x="118" y="44"/>
                      </a:lnTo>
                      <a:lnTo>
                        <a:pt x="116" y="42"/>
                      </a:lnTo>
                      <a:lnTo>
                        <a:pt x="116" y="40"/>
                      </a:lnTo>
                      <a:lnTo>
                        <a:pt x="116" y="37"/>
                      </a:lnTo>
                      <a:lnTo>
                        <a:pt x="114" y="35"/>
                      </a:lnTo>
                      <a:lnTo>
                        <a:pt x="113" y="34"/>
                      </a:lnTo>
                      <a:lnTo>
                        <a:pt x="113" y="32"/>
                      </a:lnTo>
                      <a:lnTo>
                        <a:pt x="111" y="30"/>
                      </a:lnTo>
                      <a:lnTo>
                        <a:pt x="109" y="29"/>
                      </a:lnTo>
                      <a:lnTo>
                        <a:pt x="109" y="27"/>
                      </a:lnTo>
                      <a:lnTo>
                        <a:pt x="111" y="25"/>
                      </a:lnTo>
                      <a:lnTo>
                        <a:pt x="111" y="24"/>
                      </a:lnTo>
                      <a:lnTo>
                        <a:pt x="113" y="24"/>
                      </a:lnTo>
                      <a:lnTo>
                        <a:pt x="113" y="22"/>
                      </a:lnTo>
                      <a:lnTo>
                        <a:pt x="111" y="22"/>
                      </a:lnTo>
                      <a:lnTo>
                        <a:pt x="109" y="22"/>
                      </a:lnTo>
                      <a:lnTo>
                        <a:pt x="109" y="20"/>
                      </a:lnTo>
                      <a:lnTo>
                        <a:pt x="109" y="19"/>
                      </a:lnTo>
                      <a:lnTo>
                        <a:pt x="111" y="17"/>
                      </a:lnTo>
                      <a:lnTo>
                        <a:pt x="109" y="17"/>
                      </a:lnTo>
                      <a:lnTo>
                        <a:pt x="108" y="17"/>
                      </a:lnTo>
                      <a:lnTo>
                        <a:pt x="106" y="17"/>
                      </a:lnTo>
                      <a:lnTo>
                        <a:pt x="106" y="15"/>
                      </a:lnTo>
                      <a:lnTo>
                        <a:pt x="104" y="15"/>
                      </a:lnTo>
                      <a:lnTo>
                        <a:pt x="103" y="15"/>
                      </a:lnTo>
                      <a:lnTo>
                        <a:pt x="103" y="13"/>
                      </a:lnTo>
                      <a:lnTo>
                        <a:pt x="104" y="13"/>
                      </a:lnTo>
                      <a:lnTo>
                        <a:pt x="104" y="12"/>
                      </a:lnTo>
                      <a:lnTo>
                        <a:pt x="106" y="1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83" name="Freeform 257">
                  <a:extLst>
                    <a:ext uri="{FF2B5EF4-FFF2-40B4-BE49-F238E27FC236}">
                      <a16:creationId xmlns:a16="http://schemas.microsoft.com/office/drawing/2014/main" id="{27B79AA0-E8BD-3C49-82B9-2CF12110C3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" y="325"/>
                  <a:ext cx="118" cy="56"/>
                </a:xfrm>
                <a:custGeom>
                  <a:avLst/>
                  <a:gdLst>
                    <a:gd name="T0" fmla="*/ 103 w 118"/>
                    <a:gd name="T1" fmla="*/ 10 h 56"/>
                    <a:gd name="T2" fmla="*/ 97 w 118"/>
                    <a:gd name="T3" fmla="*/ 12 h 56"/>
                    <a:gd name="T4" fmla="*/ 87 w 118"/>
                    <a:gd name="T5" fmla="*/ 12 h 56"/>
                    <a:gd name="T6" fmla="*/ 81 w 118"/>
                    <a:gd name="T7" fmla="*/ 5 h 56"/>
                    <a:gd name="T8" fmla="*/ 72 w 118"/>
                    <a:gd name="T9" fmla="*/ 3 h 56"/>
                    <a:gd name="T10" fmla="*/ 67 w 118"/>
                    <a:gd name="T11" fmla="*/ 2 h 56"/>
                    <a:gd name="T12" fmla="*/ 59 w 118"/>
                    <a:gd name="T13" fmla="*/ 5 h 56"/>
                    <a:gd name="T14" fmla="*/ 52 w 118"/>
                    <a:gd name="T15" fmla="*/ 7 h 56"/>
                    <a:gd name="T16" fmla="*/ 54 w 118"/>
                    <a:gd name="T17" fmla="*/ 13 h 56"/>
                    <a:gd name="T18" fmla="*/ 52 w 118"/>
                    <a:gd name="T19" fmla="*/ 22 h 56"/>
                    <a:gd name="T20" fmla="*/ 52 w 118"/>
                    <a:gd name="T21" fmla="*/ 29 h 56"/>
                    <a:gd name="T22" fmla="*/ 45 w 118"/>
                    <a:gd name="T23" fmla="*/ 27 h 56"/>
                    <a:gd name="T24" fmla="*/ 37 w 118"/>
                    <a:gd name="T25" fmla="*/ 24 h 56"/>
                    <a:gd name="T26" fmla="*/ 30 w 118"/>
                    <a:gd name="T27" fmla="*/ 19 h 56"/>
                    <a:gd name="T28" fmla="*/ 28 w 118"/>
                    <a:gd name="T29" fmla="*/ 13 h 56"/>
                    <a:gd name="T30" fmla="*/ 20 w 118"/>
                    <a:gd name="T31" fmla="*/ 10 h 56"/>
                    <a:gd name="T32" fmla="*/ 11 w 118"/>
                    <a:gd name="T33" fmla="*/ 13 h 56"/>
                    <a:gd name="T34" fmla="*/ 5 w 118"/>
                    <a:gd name="T35" fmla="*/ 20 h 56"/>
                    <a:gd name="T36" fmla="*/ 5 w 118"/>
                    <a:gd name="T37" fmla="*/ 27 h 56"/>
                    <a:gd name="T38" fmla="*/ 0 w 118"/>
                    <a:gd name="T39" fmla="*/ 35 h 56"/>
                    <a:gd name="T40" fmla="*/ 1 w 118"/>
                    <a:gd name="T41" fmla="*/ 42 h 56"/>
                    <a:gd name="T42" fmla="*/ 0 w 118"/>
                    <a:gd name="T43" fmla="*/ 47 h 56"/>
                    <a:gd name="T44" fmla="*/ 5 w 118"/>
                    <a:gd name="T45" fmla="*/ 47 h 56"/>
                    <a:gd name="T46" fmla="*/ 11 w 118"/>
                    <a:gd name="T47" fmla="*/ 42 h 56"/>
                    <a:gd name="T48" fmla="*/ 18 w 118"/>
                    <a:gd name="T49" fmla="*/ 39 h 56"/>
                    <a:gd name="T50" fmla="*/ 25 w 118"/>
                    <a:gd name="T51" fmla="*/ 39 h 56"/>
                    <a:gd name="T52" fmla="*/ 33 w 118"/>
                    <a:gd name="T53" fmla="*/ 39 h 56"/>
                    <a:gd name="T54" fmla="*/ 40 w 118"/>
                    <a:gd name="T55" fmla="*/ 39 h 56"/>
                    <a:gd name="T56" fmla="*/ 50 w 118"/>
                    <a:gd name="T57" fmla="*/ 39 h 56"/>
                    <a:gd name="T58" fmla="*/ 60 w 118"/>
                    <a:gd name="T59" fmla="*/ 37 h 56"/>
                    <a:gd name="T60" fmla="*/ 65 w 118"/>
                    <a:gd name="T61" fmla="*/ 39 h 56"/>
                    <a:gd name="T62" fmla="*/ 67 w 118"/>
                    <a:gd name="T63" fmla="*/ 44 h 56"/>
                    <a:gd name="T64" fmla="*/ 72 w 118"/>
                    <a:gd name="T65" fmla="*/ 46 h 56"/>
                    <a:gd name="T66" fmla="*/ 77 w 118"/>
                    <a:gd name="T67" fmla="*/ 49 h 56"/>
                    <a:gd name="T68" fmla="*/ 84 w 118"/>
                    <a:gd name="T69" fmla="*/ 52 h 56"/>
                    <a:gd name="T70" fmla="*/ 89 w 118"/>
                    <a:gd name="T71" fmla="*/ 56 h 56"/>
                    <a:gd name="T72" fmla="*/ 96 w 118"/>
                    <a:gd name="T73" fmla="*/ 54 h 56"/>
                    <a:gd name="T74" fmla="*/ 103 w 118"/>
                    <a:gd name="T75" fmla="*/ 56 h 56"/>
                    <a:gd name="T76" fmla="*/ 109 w 118"/>
                    <a:gd name="T77" fmla="*/ 52 h 56"/>
                    <a:gd name="T78" fmla="*/ 113 w 118"/>
                    <a:gd name="T79" fmla="*/ 47 h 56"/>
                    <a:gd name="T80" fmla="*/ 118 w 118"/>
                    <a:gd name="T81" fmla="*/ 46 h 56"/>
                    <a:gd name="T82" fmla="*/ 116 w 118"/>
                    <a:gd name="T83" fmla="*/ 37 h 56"/>
                    <a:gd name="T84" fmla="*/ 111 w 118"/>
                    <a:gd name="T85" fmla="*/ 30 h 56"/>
                    <a:gd name="T86" fmla="*/ 111 w 118"/>
                    <a:gd name="T87" fmla="*/ 24 h 56"/>
                    <a:gd name="T88" fmla="*/ 109 w 118"/>
                    <a:gd name="T89" fmla="*/ 22 h 56"/>
                    <a:gd name="T90" fmla="*/ 109 w 118"/>
                    <a:gd name="T91" fmla="*/ 17 h 56"/>
                    <a:gd name="T92" fmla="*/ 104 w 118"/>
                    <a:gd name="T93" fmla="*/ 15 h 56"/>
                    <a:gd name="T94" fmla="*/ 104 w 118"/>
                    <a:gd name="T95" fmla="*/ 12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18" h="56">
                      <a:moveTo>
                        <a:pt x="106" y="12"/>
                      </a:moveTo>
                      <a:lnTo>
                        <a:pt x="104" y="12"/>
                      </a:lnTo>
                      <a:lnTo>
                        <a:pt x="104" y="10"/>
                      </a:lnTo>
                      <a:lnTo>
                        <a:pt x="103" y="10"/>
                      </a:lnTo>
                      <a:lnTo>
                        <a:pt x="101" y="10"/>
                      </a:lnTo>
                      <a:lnTo>
                        <a:pt x="99" y="10"/>
                      </a:lnTo>
                      <a:lnTo>
                        <a:pt x="99" y="12"/>
                      </a:lnTo>
                      <a:lnTo>
                        <a:pt x="97" y="12"/>
                      </a:lnTo>
                      <a:lnTo>
                        <a:pt x="96" y="12"/>
                      </a:lnTo>
                      <a:lnTo>
                        <a:pt x="92" y="12"/>
                      </a:lnTo>
                      <a:lnTo>
                        <a:pt x="89" y="12"/>
                      </a:lnTo>
                      <a:lnTo>
                        <a:pt x="87" y="12"/>
                      </a:lnTo>
                      <a:lnTo>
                        <a:pt x="86" y="10"/>
                      </a:lnTo>
                      <a:lnTo>
                        <a:pt x="82" y="8"/>
                      </a:lnTo>
                      <a:lnTo>
                        <a:pt x="82" y="7"/>
                      </a:lnTo>
                      <a:lnTo>
                        <a:pt x="81" y="5"/>
                      </a:lnTo>
                      <a:lnTo>
                        <a:pt x="77" y="5"/>
                      </a:lnTo>
                      <a:lnTo>
                        <a:pt x="76" y="3"/>
                      </a:lnTo>
                      <a:lnTo>
                        <a:pt x="74" y="3"/>
                      </a:lnTo>
                      <a:lnTo>
                        <a:pt x="72" y="3"/>
                      </a:lnTo>
                      <a:lnTo>
                        <a:pt x="72" y="2"/>
                      </a:lnTo>
                      <a:lnTo>
                        <a:pt x="70" y="2"/>
                      </a:lnTo>
                      <a:lnTo>
                        <a:pt x="70" y="0"/>
                      </a:lnTo>
                      <a:lnTo>
                        <a:pt x="67" y="2"/>
                      </a:lnTo>
                      <a:lnTo>
                        <a:pt x="65" y="2"/>
                      </a:lnTo>
                      <a:lnTo>
                        <a:pt x="64" y="3"/>
                      </a:lnTo>
                      <a:lnTo>
                        <a:pt x="62" y="5"/>
                      </a:lnTo>
                      <a:lnTo>
                        <a:pt x="59" y="5"/>
                      </a:lnTo>
                      <a:lnTo>
                        <a:pt x="57" y="5"/>
                      </a:lnTo>
                      <a:lnTo>
                        <a:pt x="55" y="7"/>
                      </a:lnTo>
                      <a:lnTo>
                        <a:pt x="54" y="7"/>
                      </a:lnTo>
                      <a:lnTo>
                        <a:pt x="52" y="7"/>
                      </a:lnTo>
                      <a:lnTo>
                        <a:pt x="52" y="8"/>
                      </a:lnTo>
                      <a:lnTo>
                        <a:pt x="52" y="10"/>
                      </a:lnTo>
                      <a:lnTo>
                        <a:pt x="54" y="12"/>
                      </a:lnTo>
                      <a:lnTo>
                        <a:pt x="54" y="13"/>
                      </a:lnTo>
                      <a:lnTo>
                        <a:pt x="54" y="15"/>
                      </a:lnTo>
                      <a:lnTo>
                        <a:pt x="52" y="17"/>
                      </a:lnTo>
                      <a:lnTo>
                        <a:pt x="52" y="19"/>
                      </a:lnTo>
                      <a:lnTo>
                        <a:pt x="52" y="22"/>
                      </a:lnTo>
                      <a:lnTo>
                        <a:pt x="52" y="25"/>
                      </a:lnTo>
                      <a:lnTo>
                        <a:pt x="50" y="27"/>
                      </a:lnTo>
                      <a:lnTo>
                        <a:pt x="50" y="29"/>
                      </a:lnTo>
                      <a:lnTo>
                        <a:pt x="52" y="29"/>
                      </a:lnTo>
                      <a:lnTo>
                        <a:pt x="50" y="29"/>
                      </a:lnTo>
                      <a:lnTo>
                        <a:pt x="49" y="27"/>
                      </a:lnTo>
                      <a:lnTo>
                        <a:pt x="47" y="27"/>
                      </a:lnTo>
                      <a:lnTo>
                        <a:pt x="45" y="27"/>
                      </a:lnTo>
                      <a:lnTo>
                        <a:pt x="42" y="27"/>
                      </a:lnTo>
                      <a:lnTo>
                        <a:pt x="40" y="25"/>
                      </a:lnTo>
                      <a:lnTo>
                        <a:pt x="38" y="25"/>
                      </a:lnTo>
                      <a:lnTo>
                        <a:pt x="37" y="24"/>
                      </a:lnTo>
                      <a:lnTo>
                        <a:pt x="37" y="22"/>
                      </a:lnTo>
                      <a:lnTo>
                        <a:pt x="35" y="22"/>
                      </a:lnTo>
                      <a:lnTo>
                        <a:pt x="32" y="20"/>
                      </a:lnTo>
                      <a:lnTo>
                        <a:pt x="30" y="19"/>
                      </a:lnTo>
                      <a:lnTo>
                        <a:pt x="30" y="17"/>
                      </a:lnTo>
                      <a:lnTo>
                        <a:pt x="30" y="15"/>
                      </a:lnTo>
                      <a:lnTo>
                        <a:pt x="28" y="15"/>
                      </a:lnTo>
                      <a:lnTo>
                        <a:pt x="28" y="13"/>
                      </a:lnTo>
                      <a:lnTo>
                        <a:pt x="27" y="13"/>
                      </a:lnTo>
                      <a:lnTo>
                        <a:pt x="25" y="12"/>
                      </a:lnTo>
                      <a:lnTo>
                        <a:pt x="23" y="10"/>
                      </a:lnTo>
                      <a:lnTo>
                        <a:pt x="20" y="10"/>
                      </a:lnTo>
                      <a:lnTo>
                        <a:pt x="17" y="12"/>
                      </a:lnTo>
                      <a:lnTo>
                        <a:pt x="15" y="12"/>
                      </a:lnTo>
                      <a:lnTo>
                        <a:pt x="13" y="12"/>
                      </a:lnTo>
                      <a:lnTo>
                        <a:pt x="11" y="13"/>
                      </a:lnTo>
                      <a:lnTo>
                        <a:pt x="10" y="15"/>
                      </a:lnTo>
                      <a:lnTo>
                        <a:pt x="8" y="17"/>
                      </a:lnTo>
                      <a:lnTo>
                        <a:pt x="6" y="19"/>
                      </a:lnTo>
                      <a:lnTo>
                        <a:pt x="5" y="20"/>
                      </a:lnTo>
                      <a:lnTo>
                        <a:pt x="5" y="22"/>
                      </a:lnTo>
                      <a:lnTo>
                        <a:pt x="5" y="24"/>
                      </a:lnTo>
                      <a:lnTo>
                        <a:pt x="5" y="25"/>
                      </a:lnTo>
                      <a:lnTo>
                        <a:pt x="5" y="27"/>
                      </a:lnTo>
                      <a:lnTo>
                        <a:pt x="3" y="29"/>
                      </a:lnTo>
                      <a:lnTo>
                        <a:pt x="1" y="30"/>
                      </a:lnTo>
                      <a:lnTo>
                        <a:pt x="1" y="32"/>
                      </a:lnTo>
                      <a:lnTo>
                        <a:pt x="0" y="35"/>
                      </a:lnTo>
                      <a:lnTo>
                        <a:pt x="0" y="37"/>
                      </a:lnTo>
                      <a:lnTo>
                        <a:pt x="0" y="39"/>
                      </a:lnTo>
                      <a:lnTo>
                        <a:pt x="1" y="40"/>
                      </a:lnTo>
                      <a:lnTo>
                        <a:pt x="1" y="42"/>
                      </a:lnTo>
                      <a:lnTo>
                        <a:pt x="0" y="42"/>
                      </a:lnTo>
                      <a:lnTo>
                        <a:pt x="0" y="44"/>
                      </a:lnTo>
                      <a:lnTo>
                        <a:pt x="0" y="46"/>
                      </a:lnTo>
                      <a:lnTo>
                        <a:pt x="0" y="47"/>
                      </a:lnTo>
                      <a:lnTo>
                        <a:pt x="1" y="47"/>
                      </a:lnTo>
                      <a:lnTo>
                        <a:pt x="1" y="49"/>
                      </a:lnTo>
                      <a:lnTo>
                        <a:pt x="3" y="47"/>
                      </a:lnTo>
                      <a:lnTo>
                        <a:pt x="5" y="47"/>
                      </a:lnTo>
                      <a:lnTo>
                        <a:pt x="6" y="46"/>
                      </a:lnTo>
                      <a:lnTo>
                        <a:pt x="8" y="44"/>
                      </a:lnTo>
                      <a:lnTo>
                        <a:pt x="10" y="42"/>
                      </a:lnTo>
                      <a:lnTo>
                        <a:pt x="11" y="42"/>
                      </a:lnTo>
                      <a:lnTo>
                        <a:pt x="11" y="40"/>
                      </a:lnTo>
                      <a:lnTo>
                        <a:pt x="13" y="40"/>
                      </a:lnTo>
                      <a:lnTo>
                        <a:pt x="17" y="40"/>
                      </a:lnTo>
                      <a:lnTo>
                        <a:pt x="18" y="39"/>
                      </a:lnTo>
                      <a:lnTo>
                        <a:pt x="20" y="37"/>
                      </a:lnTo>
                      <a:lnTo>
                        <a:pt x="22" y="37"/>
                      </a:lnTo>
                      <a:lnTo>
                        <a:pt x="23" y="37"/>
                      </a:lnTo>
                      <a:lnTo>
                        <a:pt x="25" y="39"/>
                      </a:lnTo>
                      <a:lnTo>
                        <a:pt x="27" y="39"/>
                      </a:lnTo>
                      <a:lnTo>
                        <a:pt x="28" y="40"/>
                      </a:lnTo>
                      <a:lnTo>
                        <a:pt x="30" y="39"/>
                      </a:lnTo>
                      <a:lnTo>
                        <a:pt x="33" y="39"/>
                      </a:lnTo>
                      <a:lnTo>
                        <a:pt x="35" y="39"/>
                      </a:lnTo>
                      <a:lnTo>
                        <a:pt x="37" y="39"/>
                      </a:lnTo>
                      <a:lnTo>
                        <a:pt x="38" y="39"/>
                      </a:lnTo>
                      <a:lnTo>
                        <a:pt x="40" y="39"/>
                      </a:lnTo>
                      <a:lnTo>
                        <a:pt x="42" y="39"/>
                      </a:lnTo>
                      <a:lnTo>
                        <a:pt x="45" y="39"/>
                      </a:lnTo>
                      <a:lnTo>
                        <a:pt x="49" y="39"/>
                      </a:lnTo>
                      <a:lnTo>
                        <a:pt x="50" y="39"/>
                      </a:lnTo>
                      <a:lnTo>
                        <a:pt x="52" y="39"/>
                      </a:lnTo>
                      <a:lnTo>
                        <a:pt x="55" y="39"/>
                      </a:lnTo>
                      <a:lnTo>
                        <a:pt x="57" y="39"/>
                      </a:lnTo>
                      <a:lnTo>
                        <a:pt x="60" y="37"/>
                      </a:lnTo>
                      <a:lnTo>
                        <a:pt x="62" y="37"/>
                      </a:lnTo>
                      <a:lnTo>
                        <a:pt x="64" y="37"/>
                      </a:lnTo>
                      <a:lnTo>
                        <a:pt x="65" y="37"/>
                      </a:lnTo>
                      <a:lnTo>
                        <a:pt x="65" y="39"/>
                      </a:lnTo>
                      <a:lnTo>
                        <a:pt x="65" y="40"/>
                      </a:lnTo>
                      <a:lnTo>
                        <a:pt x="65" y="42"/>
                      </a:lnTo>
                      <a:lnTo>
                        <a:pt x="65" y="44"/>
                      </a:lnTo>
                      <a:lnTo>
                        <a:pt x="67" y="44"/>
                      </a:lnTo>
                      <a:lnTo>
                        <a:pt x="67" y="46"/>
                      </a:lnTo>
                      <a:lnTo>
                        <a:pt x="69" y="46"/>
                      </a:lnTo>
                      <a:lnTo>
                        <a:pt x="70" y="46"/>
                      </a:lnTo>
                      <a:lnTo>
                        <a:pt x="72" y="46"/>
                      </a:lnTo>
                      <a:lnTo>
                        <a:pt x="74" y="46"/>
                      </a:lnTo>
                      <a:lnTo>
                        <a:pt x="76" y="47"/>
                      </a:lnTo>
                      <a:lnTo>
                        <a:pt x="77" y="47"/>
                      </a:lnTo>
                      <a:lnTo>
                        <a:pt x="77" y="49"/>
                      </a:lnTo>
                      <a:lnTo>
                        <a:pt x="79" y="49"/>
                      </a:lnTo>
                      <a:lnTo>
                        <a:pt x="81" y="51"/>
                      </a:lnTo>
                      <a:lnTo>
                        <a:pt x="82" y="52"/>
                      </a:lnTo>
                      <a:lnTo>
                        <a:pt x="84" y="52"/>
                      </a:lnTo>
                      <a:lnTo>
                        <a:pt x="84" y="54"/>
                      </a:lnTo>
                      <a:lnTo>
                        <a:pt x="86" y="54"/>
                      </a:lnTo>
                      <a:lnTo>
                        <a:pt x="87" y="56"/>
                      </a:lnTo>
                      <a:lnTo>
                        <a:pt x="89" y="56"/>
                      </a:lnTo>
                      <a:lnTo>
                        <a:pt x="91" y="56"/>
                      </a:lnTo>
                      <a:lnTo>
                        <a:pt x="92" y="56"/>
                      </a:lnTo>
                      <a:lnTo>
                        <a:pt x="94" y="56"/>
                      </a:lnTo>
                      <a:lnTo>
                        <a:pt x="96" y="54"/>
                      </a:lnTo>
                      <a:lnTo>
                        <a:pt x="97" y="54"/>
                      </a:lnTo>
                      <a:lnTo>
                        <a:pt x="99" y="54"/>
                      </a:lnTo>
                      <a:lnTo>
                        <a:pt x="101" y="54"/>
                      </a:lnTo>
                      <a:lnTo>
                        <a:pt x="103" y="56"/>
                      </a:lnTo>
                      <a:lnTo>
                        <a:pt x="106" y="56"/>
                      </a:lnTo>
                      <a:lnTo>
                        <a:pt x="108" y="54"/>
                      </a:lnTo>
                      <a:lnTo>
                        <a:pt x="109" y="54"/>
                      </a:lnTo>
                      <a:lnTo>
                        <a:pt x="109" y="52"/>
                      </a:lnTo>
                      <a:lnTo>
                        <a:pt x="109" y="51"/>
                      </a:lnTo>
                      <a:lnTo>
                        <a:pt x="109" y="49"/>
                      </a:lnTo>
                      <a:lnTo>
                        <a:pt x="109" y="47"/>
                      </a:lnTo>
                      <a:lnTo>
                        <a:pt x="113" y="47"/>
                      </a:lnTo>
                      <a:lnTo>
                        <a:pt x="114" y="47"/>
                      </a:lnTo>
                      <a:lnTo>
                        <a:pt x="116" y="47"/>
                      </a:lnTo>
                      <a:lnTo>
                        <a:pt x="118" y="47"/>
                      </a:lnTo>
                      <a:lnTo>
                        <a:pt x="118" y="46"/>
                      </a:lnTo>
                      <a:lnTo>
                        <a:pt x="118" y="44"/>
                      </a:lnTo>
                      <a:lnTo>
                        <a:pt x="116" y="42"/>
                      </a:lnTo>
                      <a:lnTo>
                        <a:pt x="116" y="40"/>
                      </a:lnTo>
                      <a:lnTo>
                        <a:pt x="116" y="37"/>
                      </a:lnTo>
                      <a:lnTo>
                        <a:pt x="114" y="35"/>
                      </a:lnTo>
                      <a:lnTo>
                        <a:pt x="113" y="34"/>
                      </a:lnTo>
                      <a:lnTo>
                        <a:pt x="113" y="32"/>
                      </a:lnTo>
                      <a:lnTo>
                        <a:pt x="111" y="30"/>
                      </a:lnTo>
                      <a:lnTo>
                        <a:pt x="109" y="29"/>
                      </a:lnTo>
                      <a:lnTo>
                        <a:pt x="109" y="27"/>
                      </a:lnTo>
                      <a:lnTo>
                        <a:pt x="111" y="25"/>
                      </a:lnTo>
                      <a:lnTo>
                        <a:pt x="111" y="24"/>
                      </a:lnTo>
                      <a:lnTo>
                        <a:pt x="113" y="24"/>
                      </a:lnTo>
                      <a:lnTo>
                        <a:pt x="113" y="22"/>
                      </a:lnTo>
                      <a:lnTo>
                        <a:pt x="111" y="22"/>
                      </a:lnTo>
                      <a:lnTo>
                        <a:pt x="109" y="22"/>
                      </a:lnTo>
                      <a:lnTo>
                        <a:pt x="109" y="20"/>
                      </a:lnTo>
                      <a:lnTo>
                        <a:pt x="109" y="19"/>
                      </a:lnTo>
                      <a:lnTo>
                        <a:pt x="111" y="17"/>
                      </a:lnTo>
                      <a:lnTo>
                        <a:pt x="109" y="17"/>
                      </a:lnTo>
                      <a:lnTo>
                        <a:pt x="108" y="17"/>
                      </a:lnTo>
                      <a:lnTo>
                        <a:pt x="106" y="17"/>
                      </a:lnTo>
                      <a:lnTo>
                        <a:pt x="106" y="15"/>
                      </a:lnTo>
                      <a:lnTo>
                        <a:pt x="104" y="15"/>
                      </a:lnTo>
                      <a:lnTo>
                        <a:pt x="103" y="15"/>
                      </a:lnTo>
                      <a:lnTo>
                        <a:pt x="103" y="13"/>
                      </a:lnTo>
                      <a:lnTo>
                        <a:pt x="104" y="13"/>
                      </a:lnTo>
                      <a:lnTo>
                        <a:pt x="104" y="12"/>
                      </a:lnTo>
                      <a:lnTo>
                        <a:pt x="106" y="1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55" name="Group 1654">
                <a:extLst>
                  <a:ext uri="{FF2B5EF4-FFF2-40B4-BE49-F238E27FC236}">
                    <a16:creationId xmlns:a16="http://schemas.microsoft.com/office/drawing/2014/main" id="{5ACC8B5F-FE57-C542-BA61-C5ACE429931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2" y="362"/>
                <a:ext cx="103" cy="57"/>
                <a:chOff x="472" y="362"/>
                <a:chExt cx="103" cy="57"/>
              </a:xfrm>
            </p:grpSpPr>
            <p:sp>
              <p:nvSpPr>
                <p:cNvPr id="1880" name="Freeform 254">
                  <a:extLst>
                    <a:ext uri="{FF2B5EF4-FFF2-40B4-BE49-F238E27FC236}">
                      <a16:creationId xmlns:a16="http://schemas.microsoft.com/office/drawing/2014/main" id="{5668B631-7A9A-C248-B896-194EA127CE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2" y="362"/>
                  <a:ext cx="103" cy="57"/>
                </a:xfrm>
                <a:custGeom>
                  <a:avLst/>
                  <a:gdLst>
                    <a:gd name="T0" fmla="*/ 95 w 103"/>
                    <a:gd name="T1" fmla="*/ 17 h 57"/>
                    <a:gd name="T2" fmla="*/ 91 w 103"/>
                    <a:gd name="T3" fmla="*/ 15 h 57"/>
                    <a:gd name="T4" fmla="*/ 86 w 103"/>
                    <a:gd name="T5" fmla="*/ 12 h 57"/>
                    <a:gd name="T6" fmla="*/ 83 w 103"/>
                    <a:gd name="T7" fmla="*/ 9 h 57"/>
                    <a:gd name="T8" fmla="*/ 78 w 103"/>
                    <a:gd name="T9" fmla="*/ 9 h 57"/>
                    <a:gd name="T10" fmla="*/ 74 w 103"/>
                    <a:gd name="T11" fmla="*/ 7 h 57"/>
                    <a:gd name="T12" fmla="*/ 74 w 103"/>
                    <a:gd name="T13" fmla="*/ 2 h 57"/>
                    <a:gd name="T14" fmla="*/ 71 w 103"/>
                    <a:gd name="T15" fmla="*/ 0 h 57"/>
                    <a:gd name="T16" fmla="*/ 64 w 103"/>
                    <a:gd name="T17" fmla="*/ 2 h 57"/>
                    <a:gd name="T18" fmla="*/ 58 w 103"/>
                    <a:gd name="T19" fmla="*/ 2 h 57"/>
                    <a:gd name="T20" fmla="*/ 49 w 103"/>
                    <a:gd name="T21" fmla="*/ 2 h 57"/>
                    <a:gd name="T22" fmla="*/ 44 w 103"/>
                    <a:gd name="T23" fmla="*/ 2 h 57"/>
                    <a:gd name="T24" fmla="*/ 37 w 103"/>
                    <a:gd name="T25" fmla="*/ 3 h 57"/>
                    <a:gd name="T26" fmla="*/ 32 w 103"/>
                    <a:gd name="T27" fmla="*/ 0 h 57"/>
                    <a:gd name="T28" fmla="*/ 27 w 103"/>
                    <a:gd name="T29" fmla="*/ 2 h 57"/>
                    <a:gd name="T30" fmla="*/ 20 w 103"/>
                    <a:gd name="T31" fmla="*/ 3 h 57"/>
                    <a:gd name="T32" fmla="*/ 17 w 103"/>
                    <a:gd name="T33" fmla="*/ 7 h 57"/>
                    <a:gd name="T34" fmla="*/ 12 w 103"/>
                    <a:gd name="T35" fmla="*/ 10 h 57"/>
                    <a:gd name="T36" fmla="*/ 7 w 103"/>
                    <a:gd name="T37" fmla="*/ 14 h 57"/>
                    <a:gd name="T38" fmla="*/ 4 w 103"/>
                    <a:gd name="T39" fmla="*/ 19 h 57"/>
                    <a:gd name="T40" fmla="*/ 0 w 103"/>
                    <a:gd name="T41" fmla="*/ 24 h 57"/>
                    <a:gd name="T42" fmla="*/ 2 w 103"/>
                    <a:gd name="T43" fmla="*/ 29 h 57"/>
                    <a:gd name="T44" fmla="*/ 0 w 103"/>
                    <a:gd name="T45" fmla="*/ 32 h 57"/>
                    <a:gd name="T46" fmla="*/ 2 w 103"/>
                    <a:gd name="T47" fmla="*/ 37 h 57"/>
                    <a:gd name="T48" fmla="*/ 7 w 103"/>
                    <a:gd name="T49" fmla="*/ 35 h 57"/>
                    <a:gd name="T50" fmla="*/ 14 w 103"/>
                    <a:gd name="T51" fmla="*/ 32 h 57"/>
                    <a:gd name="T52" fmla="*/ 20 w 103"/>
                    <a:gd name="T53" fmla="*/ 32 h 57"/>
                    <a:gd name="T54" fmla="*/ 26 w 103"/>
                    <a:gd name="T55" fmla="*/ 34 h 57"/>
                    <a:gd name="T56" fmla="*/ 39 w 103"/>
                    <a:gd name="T57" fmla="*/ 34 h 57"/>
                    <a:gd name="T58" fmla="*/ 42 w 103"/>
                    <a:gd name="T59" fmla="*/ 37 h 57"/>
                    <a:gd name="T60" fmla="*/ 41 w 103"/>
                    <a:gd name="T61" fmla="*/ 41 h 57"/>
                    <a:gd name="T62" fmla="*/ 41 w 103"/>
                    <a:gd name="T63" fmla="*/ 44 h 57"/>
                    <a:gd name="T64" fmla="*/ 41 w 103"/>
                    <a:gd name="T65" fmla="*/ 49 h 57"/>
                    <a:gd name="T66" fmla="*/ 46 w 103"/>
                    <a:gd name="T67" fmla="*/ 49 h 57"/>
                    <a:gd name="T68" fmla="*/ 51 w 103"/>
                    <a:gd name="T69" fmla="*/ 51 h 57"/>
                    <a:gd name="T70" fmla="*/ 52 w 103"/>
                    <a:gd name="T71" fmla="*/ 56 h 57"/>
                    <a:gd name="T72" fmla="*/ 58 w 103"/>
                    <a:gd name="T73" fmla="*/ 56 h 57"/>
                    <a:gd name="T74" fmla="*/ 63 w 103"/>
                    <a:gd name="T75" fmla="*/ 56 h 57"/>
                    <a:gd name="T76" fmla="*/ 66 w 103"/>
                    <a:gd name="T77" fmla="*/ 54 h 57"/>
                    <a:gd name="T78" fmla="*/ 73 w 103"/>
                    <a:gd name="T79" fmla="*/ 52 h 57"/>
                    <a:gd name="T80" fmla="*/ 81 w 103"/>
                    <a:gd name="T81" fmla="*/ 52 h 57"/>
                    <a:gd name="T82" fmla="*/ 85 w 103"/>
                    <a:gd name="T83" fmla="*/ 47 h 57"/>
                    <a:gd name="T84" fmla="*/ 85 w 103"/>
                    <a:gd name="T85" fmla="*/ 42 h 57"/>
                    <a:gd name="T86" fmla="*/ 86 w 103"/>
                    <a:gd name="T87" fmla="*/ 37 h 57"/>
                    <a:gd name="T88" fmla="*/ 91 w 103"/>
                    <a:gd name="T89" fmla="*/ 34 h 57"/>
                    <a:gd name="T90" fmla="*/ 101 w 103"/>
                    <a:gd name="T91" fmla="*/ 30 h 57"/>
                    <a:gd name="T92" fmla="*/ 101 w 103"/>
                    <a:gd name="T93" fmla="*/ 27 h 57"/>
                    <a:gd name="T94" fmla="*/ 98 w 103"/>
                    <a:gd name="T95" fmla="*/ 25 h 57"/>
                    <a:gd name="T96" fmla="*/ 95 w 103"/>
                    <a:gd name="T97" fmla="*/ 24 h 57"/>
                    <a:gd name="T98" fmla="*/ 96 w 103"/>
                    <a:gd name="T99" fmla="*/ 2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03" h="57">
                      <a:moveTo>
                        <a:pt x="98" y="19"/>
                      </a:moveTo>
                      <a:lnTo>
                        <a:pt x="96" y="19"/>
                      </a:lnTo>
                      <a:lnTo>
                        <a:pt x="95" y="17"/>
                      </a:lnTo>
                      <a:lnTo>
                        <a:pt x="93" y="17"/>
                      </a:lnTo>
                      <a:lnTo>
                        <a:pt x="93" y="15"/>
                      </a:lnTo>
                      <a:lnTo>
                        <a:pt x="91" y="15"/>
                      </a:lnTo>
                      <a:lnTo>
                        <a:pt x="90" y="14"/>
                      </a:lnTo>
                      <a:lnTo>
                        <a:pt x="88" y="12"/>
                      </a:lnTo>
                      <a:lnTo>
                        <a:pt x="86" y="12"/>
                      </a:lnTo>
                      <a:lnTo>
                        <a:pt x="86" y="10"/>
                      </a:lnTo>
                      <a:lnTo>
                        <a:pt x="85" y="10"/>
                      </a:lnTo>
                      <a:lnTo>
                        <a:pt x="83" y="9"/>
                      </a:lnTo>
                      <a:lnTo>
                        <a:pt x="81" y="9"/>
                      </a:lnTo>
                      <a:lnTo>
                        <a:pt x="79" y="9"/>
                      </a:lnTo>
                      <a:lnTo>
                        <a:pt x="78" y="9"/>
                      </a:lnTo>
                      <a:lnTo>
                        <a:pt x="76" y="9"/>
                      </a:lnTo>
                      <a:lnTo>
                        <a:pt x="76" y="7"/>
                      </a:lnTo>
                      <a:lnTo>
                        <a:pt x="74" y="7"/>
                      </a:lnTo>
                      <a:lnTo>
                        <a:pt x="74" y="5"/>
                      </a:lnTo>
                      <a:lnTo>
                        <a:pt x="74" y="3"/>
                      </a:lnTo>
                      <a:lnTo>
                        <a:pt x="74" y="2"/>
                      </a:lnTo>
                      <a:lnTo>
                        <a:pt x="74" y="0"/>
                      </a:lnTo>
                      <a:lnTo>
                        <a:pt x="73" y="0"/>
                      </a:lnTo>
                      <a:lnTo>
                        <a:pt x="71" y="0"/>
                      </a:lnTo>
                      <a:lnTo>
                        <a:pt x="69" y="0"/>
                      </a:lnTo>
                      <a:lnTo>
                        <a:pt x="66" y="2"/>
                      </a:lnTo>
                      <a:lnTo>
                        <a:pt x="64" y="2"/>
                      </a:lnTo>
                      <a:lnTo>
                        <a:pt x="61" y="2"/>
                      </a:lnTo>
                      <a:lnTo>
                        <a:pt x="59" y="2"/>
                      </a:lnTo>
                      <a:lnTo>
                        <a:pt x="58" y="2"/>
                      </a:lnTo>
                      <a:lnTo>
                        <a:pt x="54" y="2"/>
                      </a:lnTo>
                      <a:lnTo>
                        <a:pt x="51" y="2"/>
                      </a:lnTo>
                      <a:lnTo>
                        <a:pt x="49" y="2"/>
                      </a:lnTo>
                      <a:lnTo>
                        <a:pt x="47" y="2"/>
                      </a:lnTo>
                      <a:lnTo>
                        <a:pt x="46" y="2"/>
                      </a:lnTo>
                      <a:lnTo>
                        <a:pt x="44" y="2"/>
                      </a:lnTo>
                      <a:lnTo>
                        <a:pt x="42" y="2"/>
                      </a:lnTo>
                      <a:lnTo>
                        <a:pt x="39" y="2"/>
                      </a:lnTo>
                      <a:lnTo>
                        <a:pt x="37" y="3"/>
                      </a:lnTo>
                      <a:lnTo>
                        <a:pt x="36" y="2"/>
                      </a:lnTo>
                      <a:lnTo>
                        <a:pt x="34" y="2"/>
                      </a:lnTo>
                      <a:lnTo>
                        <a:pt x="32" y="0"/>
                      </a:lnTo>
                      <a:lnTo>
                        <a:pt x="31" y="0"/>
                      </a:lnTo>
                      <a:lnTo>
                        <a:pt x="29" y="0"/>
                      </a:lnTo>
                      <a:lnTo>
                        <a:pt x="27" y="2"/>
                      </a:lnTo>
                      <a:lnTo>
                        <a:pt x="26" y="3"/>
                      </a:lnTo>
                      <a:lnTo>
                        <a:pt x="22" y="3"/>
                      </a:lnTo>
                      <a:lnTo>
                        <a:pt x="20" y="3"/>
                      </a:lnTo>
                      <a:lnTo>
                        <a:pt x="20" y="5"/>
                      </a:lnTo>
                      <a:lnTo>
                        <a:pt x="19" y="5"/>
                      </a:lnTo>
                      <a:lnTo>
                        <a:pt x="17" y="7"/>
                      </a:lnTo>
                      <a:lnTo>
                        <a:pt x="15" y="9"/>
                      </a:lnTo>
                      <a:lnTo>
                        <a:pt x="14" y="10"/>
                      </a:lnTo>
                      <a:lnTo>
                        <a:pt x="12" y="10"/>
                      </a:lnTo>
                      <a:lnTo>
                        <a:pt x="10" y="12"/>
                      </a:lnTo>
                      <a:lnTo>
                        <a:pt x="9" y="12"/>
                      </a:lnTo>
                      <a:lnTo>
                        <a:pt x="7" y="14"/>
                      </a:lnTo>
                      <a:lnTo>
                        <a:pt x="5" y="15"/>
                      </a:lnTo>
                      <a:lnTo>
                        <a:pt x="4" y="17"/>
                      </a:lnTo>
                      <a:lnTo>
                        <a:pt x="4" y="19"/>
                      </a:lnTo>
                      <a:lnTo>
                        <a:pt x="2" y="20"/>
                      </a:lnTo>
                      <a:lnTo>
                        <a:pt x="0" y="22"/>
                      </a:lnTo>
                      <a:lnTo>
                        <a:pt x="0" y="24"/>
                      </a:lnTo>
                      <a:lnTo>
                        <a:pt x="0" y="25"/>
                      </a:lnTo>
                      <a:lnTo>
                        <a:pt x="0" y="27"/>
                      </a:lnTo>
                      <a:lnTo>
                        <a:pt x="2" y="29"/>
                      </a:lnTo>
                      <a:lnTo>
                        <a:pt x="2" y="30"/>
                      </a:lnTo>
                      <a:lnTo>
                        <a:pt x="2" y="32"/>
                      </a:lnTo>
                      <a:lnTo>
                        <a:pt x="0" y="32"/>
                      </a:lnTo>
                      <a:lnTo>
                        <a:pt x="0" y="34"/>
                      </a:lnTo>
                      <a:lnTo>
                        <a:pt x="0" y="35"/>
                      </a:lnTo>
                      <a:lnTo>
                        <a:pt x="2" y="37"/>
                      </a:lnTo>
                      <a:lnTo>
                        <a:pt x="4" y="37"/>
                      </a:lnTo>
                      <a:lnTo>
                        <a:pt x="5" y="37"/>
                      </a:lnTo>
                      <a:lnTo>
                        <a:pt x="7" y="35"/>
                      </a:lnTo>
                      <a:lnTo>
                        <a:pt x="10" y="35"/>
                      </a:lnTo>
                      <a:lnTo>
                        <a:pt x="12" y="34"/>
                      </a:lnTo>
                      <a:lnTo>
                        <a:pt x="14" y="32"/>
                      </a:lnTo>
                      <a:lnTo>
                        <a:pt x="15" y="32"/>
                      </a:lnTo>
                      <a:lnTo>
                        <a:pt x="19" y="32"/>
                      </a:lnTo>
                      <a:lnTo>
                        <a:pt x="20" y="32"/>
                      </a:lnTo>
                      <a:lnTo>
                        <a:pt x="22" y="32"/>
                      </a:lnTo>
                      <a:lnTo>
                        <a:pt x="24" y="34"/>
                      </a:lnTo>
                      <a:lnTo>
                        <a:pt x="26" y="34"/>
                      </a:lnTo>
                      <a:lnTo>
                        <a:pt x="29" y="34"/>
                      </a:lnTo>
                      <a:lnTo>
                        <a:pt x="36" y="34"/>
                      </a:lnTo>
                      <a:lnTo>
                        <a:pt x="39" y="34"/>
                      </a:lnTo>
                      <a:lnTo>
                        <a:pt x="41" y="35"/>
                      </a:lnTo>
                      <a:lnTo>
                        <a:pt x="42" y="35"/>
                      </a:lnTo>
                      <a:lnTo>
                        <a:pt x="42" y="37"/>
                      </a:lnTo>
                      <a:lnTo>
                        <a:pt x="44" y="37"/>
                      </a:lnTo>
                      <a:lnTo>
                        <a:pt x="42" y="39"/>
                      </a:lnTo>
                      <a:lnTo>
                        <a:pt x="41" y="41"/>
                      </a:lnTo>
                      <a:lnTo>
                        <a:pt x="39" y="42"/>
                      </a:lnTo>
                      <a:lnTo>
                        <a:pt x="39" y="44"/>
                      </a:lnTo>
                      <a:lnTo>
                        <a:pt x="41" y="44"/>
                      </a:lnTo>
                      <a:lnTo>
                        <a:pt x="41" y="46"/>
                      </a:lnTo>
                      <a:lnTo>
                        <a:pt x="42" y="47"/>
                      </a:lnTo>
                      <a:lnTo>
                        <a:pt x="41" y="49"/>
                      </a:lnTo>
                      <a:lnTo>
                        <a:pt x="42" y="49"/>
                      </a:lnTo>
                      <a:lnTo>
                        <a:pt x="44" y="49"/>
                      </a:lnTo>
                      <a:lnTo>
                        <a:pt x="46" y="49"/>
                      </a:lnTo>
                      <a:lnTo>
                        <a:pt x="49" y="49"/>
                      </a:lnTo>
                      <a:lnTo>
                        <a:pt x="51" y="49"/>
                      </a:lnTo>
                      <a:lnTo>
                        <a:pt x="51" y="51"/>
                      </a:lnTo>
                      <a:lnTo>
                        <a:pt x="52" y="51"/>
                      </a:lnTo>
                      <a:lnTo>
                        <a:pt x="52" y="52"/>
                      </a:lnTo>
                      <a:lnTo>
                        <a:pt x="52" y="56"/>
                      </a:lnTo>
                      <a:lnTo>
                        <a:pt x="54" y="54"/>
                      </a:lnTo>
                      <a:lnTo>
                        <a:pt x="56" y="54"/>
                      </a:lnTo>
                      <a:lnTo>
                        <a:pt x="58" y="56"/>
                      </a:lnTo>
                      <a:lnTo>
                        <a:pt x="59" y="56"/>
                      </a:lnTo>
                      <a:lnTo>
                        <a:pt x="61" y="57"/>
                      </a:lnTo>
                      <a:lnTo>
                        <a:pt x="63" y="56"/>
                      </a:lnTo>
                      <a:lnTo>
                        <a:pt x="64" y="56"/>
                      </a:lnTo>
                      <a:lnTo>
                        <a:pt x="66" y="56"/>
                      </a:lnTo>
                      <a:lnTo>
                        <a:pt x="66" y="54"/>
                      </a:lnTo>
                      <a:lnTo>
                        <a:pt x="69" y="52"/>
                      </a:lnTo>
                      <a:lnTo>
                        <a:pt x="71" y="52"/>
                      </a:lnTo>
                      <a:lnTo>
                        <a:pt x="73" y="52"/>
                      </a:lnTo>
                      <a:lnTo>
                        <a:pt x="76" y="52"/>
                      </a:lnTo>
                      <a:lnTo>
                        <a:pt x="79" y="52"/>
                      </a:lnTo>
                      <a:lnTo>
                        <a:pt x="81" y="52"/>
                      </a:lnTo>
                      <a:lnTo>
                        <a:pt x="85" y="51"/>
                      </a:lnTo>
                      <a:lnTo>
                        <a:pt x="86" y="49"/>
                      </a:lnTo>
                      <a:lnTo>
                        <a:pt x="85" y="47"/>
                      </a:lnTo>
                      <a:lnTo>
                        <a:pt x="85" y="46"/>
                      </a:lnTo>
                      <a:lnTo>
                        <a:pt x="85" y="44"/>
                      </a:lnTo>
                      <a:lnTo>
                        <a:pt x="85" y="42"/>
                      </a:lnTo>
                      <a:lnTo>
                        <a:pt x="86" y="41"/>
                      </a:lnTo>
                      <a:lnTo>
                        <a:pt x="86" y="39"/>
                      </a:lnTo>
                      <a:lnTo>
                        <a:pt x="86" y="37"/>
                      </a:lnTo>
                      <a:lnTo>
                        <a:pt x="88" y="35"/>
                      </a:lnTo>
                      <a:lnTo>
                        <a:pt x="90" y="34"/>
                      </a:lnTo>
                      <a:lnTo>
                        <a:pt x="91" y="34"/>
                      </a:lnTo>
                      <a:lnTo>
                        <a:pt x="93" y="34"/>
                      </a:lnTo>
                      <a:lnTo>
                        <a:pt x="98" y="32"/>
                      </a:lnTo>
                      <a:lnTo>
                        <a:pt x="101" y="30"/>
                      </a:lnTo>
                      <a:lnTo>
                        <a:pt x="103" y="30"/>
                      </a:lnTo>
                      <a:lnTo>
                        <a:pt x="103" y="29"/>
                      </a:lnTo>
                      <a:lnTo>
                        <a:pt x="101" y="27"/>
                      </a:lnTo>
                      <a:lnTo>
                        <a:pt x="100" y="27"/>
                      </a:lnTo>
                      <a:lnTo>
                        <a:pt x="98" y="27"/>
                      </a:lnTo>
                      <a:lnTo>
                        <a:pt x="98" y="25"/>
                      </a:lnTo>
                      <a:lnTo>
                        <a:pt x="96" y="25"/>
                      </a:lnTo>
                      <a:lnTo>
                        <a:pt x="95" y="25"/>
                      </a:lnTo>
                      <a:lnTo>
                        <a:pt x="95" y="24"/>
                      </a:lnTo>
                      <a:lnTo>
                        <a:pt x="96" y="24"/>
                      </a:lnTo>
                      <a:lnTo>
                        <a:pt x="96" y="22"/>
                      </a:lnTo>
                      <a:lnTo>
                        <a:pt x="96" y="20"/>
                      </a:lnTo>
                      <a:lnTo>
                        <a:pt x="98" y="20"/>
                      </a:lnTo>
                      <a:lnTo>
                        <a:pt x="98" y="19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81" name="Freeform 255">
                  <a:extLst>
                    <a:ext uri="{FF2B5EF4-FFF2-40B4-BE49-F238E27FC236}">
                      <a16:creationId xmlns:a16="http://schemas.microsoft.com/office/drawing/2014/main" id="{B9F4F6DC-81C6-F14A-AC1C-9623DC890C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2" y="362"/>
                  <a:ext cx="103" cy="57"/>
                </a:xfrm>
                <a:custGeom>
                  <a:avLst/>
                  <a:gdLst>
                    <a:gd name="T0" fmla="*/ 95 w 103"/>
                    <a:gd name="T1" fmla="*/ 17 h 57"/>
                    <a:gd name="T2" fmla="*/ 91 w 103"/>
                    <a:gd name="T3" fmla="*/ 15 h 57"/>
                    <a:gd name="T4" fmla="*/ 86 w 103"/>
                    <a:gd name="T5" fmla="*/ 12 h 57"/>
                    <a:gd name="T6" fmla="*/ 83 w 103"/>
                    <a:gd name="T7" fmla="*/ 9 h 57"/>
                    <a:gd name="T8" fmla="*/ 78 w 103"/>
                    <a:gd name="T9" fmla="*/ 9 h 57"/>
                    <a:gd name="T10" fmla="*/ 74 w 103"/>
                    <a:gd name="T11" fmla="*/ 7 h 57"/>
                    <a:gd name="T12" fmla="*/ 74 w 103"/>
                    <a:gd name="T13" fmla="*/ 2 h 57"/>
                    <a:gd name="T14" fmla="*/ 71 w 103"/>
                    <a:gd name="T15" fmla="*/ 0 h 57"/>
                    <a:gd name="T16" fmla="*/ 64 w 103"/>
                    <a:gd name="T17" fmla="*/ 2 h 57"/>
                    <a:gd name="T18" fmla="*/ 58 w 103"/>
                    <a:gd name="T19" fmla="*/ 2 h 57"/>
                    <a:gd name="T20" fmla="*/ 49 w 103"/>
                    <a:gd name="T21" fmla="*/ 2 h 57"/>
                    <a:gd name="T22" fmla="*/ 44 w 103"/>
                    <a:gd name="T23" fmla="*/ 2 h 57"/>
                    <a:gd name="T24" fmla="*/ 37 w 103"/>
                    <a:gd name="T25" fmla="*/ 3 h 57"/>
                    <a:gd name="T26" fmla="*/ 32 w 103"/>
                    <a:gd name="T27" fmla="*/ 0 h 57"/>
                    <a:gd name="T28" fmla="*/ 27 w 103"/>
                    <a:gd name="T29" fmla="*/ 2 h 57"/>
                    <a:gd name="T30" fmla="*/ 20 w 103"/>
                    <a:gd name="T31" fmla="*/ 3 h 57"/>
                    <a:gd name="T32" fmla="*/ 17 w 103"/>
                    <a:gd name="T33" fmla="*/ 7 h 57"/>
                    <a:gd name="T34" fmla="*/ 12 w 103"/>
                    <a:gd name="T35" fmla="*/ 10 h 57"/>
                    <a:gd name="T36" fmla="*/ 7 w 103"/>
                    <a:gd name="T37" fmla="*/ 14 h 57"/>
                    <a:gd name="T38" fmla="*/ 4 w 103"/>
                    <a:gd name="T39" fmla="*/ 19 h 57"/>
                    <a:gd name="T40" fmla="*/ 0 w 103"/>
                    <a:gd name="T41" fmla="*/ 24 h 57"/>
                    <a:gd name="T42" fmla="*/ 2 w 103"/>
                    <a:gd name="T43" fmla="*/ 29 h 57"/>
                    <a:gd name="T44" fmla="*/ 0 w 103"/>
                    <a:gd name="T45" fmla="*/ 32 h 57"/>
                    <a:gd name="T46" fmla="*/ 2 w 103"/>
                    <a:gd name="T47" fmla="*/ 37 h 57"/>
                    <a:gd name="T48" fmla="*/ 7 w 103"/>
                    <a:gd name="T49" fmla="*/ 35 h 57"/>
                    <a:gd name="T50" fmla="*/ 14 w 103"/>
                    <a:gd name="T51" fmla="*/ 32 h 57"/>
                    <a:gd name="T52" fmla="*/ 20 w 103"/>
                    <a:gd name="T53" fmla="*/ 32 h 57"/>
                    <a:gd name="T54" fmla="*/ 26 w 103"/>
                    <a:gd name="T55" fmla="*/ 34 h 57"/>
                    <a:gd name="T56" fmla="*/ 39 w 103"/>
                    <a:gd name="T57" fmla="*/ 34 h 57"/>
                    <a:gd name="T58" fmla="*/ 42 w 103"/>
                    <a:gd name="T59" fmla="*/ 37 h 57"/>
                    <a:gd name="T60" fmla="*/ 41 w 103"/>
                    <a:gd name="T61" fmla="*/ 41 h 57"/>
                    <a:gd name="T62" fmla="*/ 41 w 103"/>
                    <a:gd name="T63" fmla="*/ 44 h 57"/>
                    <a:gd name="T64" fmla="*/ 41 w 103"/>
                    <a:gd name="T65" fmla="*/ 49 h 57"/>
                    <a:gd name="T66" fmla="*/ 46 w 103"/>
                    <a:gd name="T67" fmla="*/ 49 h 57"/>
                    <a:gd name="T68" fmla="*/ 51 w 103"/>
                    <a:gd name="T69" fmla="*/ 51 h 57"/>
                    <a:gd name="T70" fmla="*/ 52 w 103"/>
                    <a:gd name="T71" fmla="*/ 56 h 57"/>
                    <a:gd name="T72" fmla="*/ 58 w 103"/>
                    <a:gd name="T73" fmla="*/ 56 h 57"/>
                    <a:gd name="T74" fmla="*/ 63 w 103"/>
                    <a:gd name="T75" fmla="*/ 56 h 57"/>
                    <a:gd name="T76" fmla="*/ 66 w 103"/>
                    <a:gd name="T77" fmla="*/ 54 h 57"/>
                    <a:gd name="T78" fmla="*/ 73 w 103"/>
                    <a:gd name="T79" fmla="*/ 52 h 57"/>
                    <a:gd name="T80" fmla="*/ 81 w 103"/>
                    <a:gd name="T81" fmla="*/ 52 h 57"/>
                    <a:gd name="T82" fmla="*/ 85 w 103"/>
                    <a:gd name="T83" fmla="*/ 47 h 57"/>
                    <a:gd name="T84" fmla="*/ 85 w 103"/>
                    <a:gd name="T85" fmla="*/ 42 h 57"/>
                    <a:gd name="T86" fmla="*/ 86 w 103"/>
                    <a:gd name="T87" fmla="*/ 37 h 57"/>
                    <a:gd name="T88" fmla="*/ 91 w 103"/>
                    <a:gd name="T89" fmla="*/ 34 h 57"/>
                    <a:gd name="T90" fmla="*/ 101 w 103"/>
                    <a:gd name="T91" fmla="*/ 30 h 57"/>
                    <a:gd name="T92" fmla="*/ 101 w 103"/>
                    <a:gd name="T93" fmla="*/ 27 h 57"/>
                    <a:gd name="T94" fmla="*/ 98 w 103"/>
                    <a:gd name="T95" fmla="*/ 25 h 57"/>
                    <a:gd name="T96" fmla="*/ 95 w 103"/>
                    <a:gd name="T97" fmla="*/ 24 h 57"/>
                    <a:gd name="T98" fmla="*/ 96 w 103"/>
                    <a:gd name="T99" fmla="*/ 2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03" h="57">
                      <a:moveTo>
                        <a:pt x="98" y="19"/>
                      </a:moveTo>
                      <a:lnTo>
                        <a:pt x="96" y="19"/>
                      </a:lnTo>
                      <a:lnTo>
                        <a:pt x="95" y="17"/>
                      </a:lnTo>
                      <a:lnTo>
                        <a:pt x="93" y="17"/>
                      </a:lnTo>
                      <a:lnTo>
                        <a:pt x="93" y="15"/>
                      </a:lnTo>
                      <a:lnTo>
                        <a:pt x="91" y="15"/>
                      </a:lnTo>
                      <a:lnTo>
                        <a:pt x="90" y="14"/>
                      </a:lnTo>
                      <a:lnTo>
                        <a:pt x="88" y="12"/>
                      </a:lnTo>
                      <a:lnTo>
                        <a:pt x="86" y="12"/>
                      </a:lnTo>
                      <a:lnTo>
                        <a:pt x="86" y="10"/>
                      </a:lnTo>
                      <a:lnTo>
                        <a:pt x="85" y="10"/>
                      </a:lnTo>
                      <a:lnTo>
                        <a:pt x="83" y="9"/>
                      </a:lnTo>
                      <a:lnTo>
                        <a:pt x="81" y="9"/>
                      </a:lnTo>
                      <a:lnTo>
                        <a:pt x="79" y="9"/>
                      </a:lnTo>
                      <a:lnTo>
                        <a:pt x="78" y="9"/>
                      </a:lnTo>
                      <a:lnTo>
                        <a:pt x="76" y="9"/>
                      </a:lnTo>
                      <a:lnTo>
                        <a:pt x="76" y="7"/>
                      </a:lnTo>
                      <a:lnTo>
                        <a:pt x="74" y="7"/>
                      </a:lnTo>
                      <a:lnTo>
                        <a:pt x="74" y="5"/>
                      </a:lnTo>
                      <a:lnTo>
                        <a:pt x="74" y="3"/>
                      </a:lnTo>
                      <a:lnTo>
                        <a:pt x="74" y="2"/>
                      </a:lnTo>
                      <a:lnTo>
                        <a:pt x="74" y="0"/>
                      </a:lnTo>
                      <a:lnTo>
                        <a:pt x="73" y="0"/>
                      </a:lnTo>
                      <a:lnTo>
                        <a:pt x="71" y="0"/>
                      </a:lnTo>
                      <a:lnTo>
                        <a:pt x="69" y="0"/>
                      </a:lnTo>
                      <a:lnTo>
                        <a:pt x="66" y="2"/>
                      </a:lnTo>
                      <a:lnTo>
                        <a:pt x="64" y="2"/>
                      </a:lnTo>
                      <a:lnTo>
                        <a:pt x="61" y="2"/>
                      </a:lnTo>
                      <a:lnTo>
                        <a:pt x="59" y="2"/>
                      </a:lnTo>
                      <a:lnTo>
                        <a:pt x="58" y="2"/>
                      </a:lnTo>
                      <a:lnTo>
                        <a:pt x="54" y="2"/>
                      </a:lnTo>
                      <a:lnTo>
                        <a:pt x="51" y="2"/>
                      </a:lnTo>
                      <a:lnTo>
                        <a:pt x="49" y="2"/>
                      </a:lnTo>
                      <a:lnTo>
                        <a:pt x="47" y="2"/>
                      </a:lnTo>
                      <a:lnTo>
                        <a:pt x="46" y="2"/>
                      </a:lnTo>
                      <a:lnTo>
                        <a:pt x="44" y="2"/>
                      </a:lnTo>
                      <a:lnTo>
                        <a:pt x="42" y="2"/>
                      </a:lnTo>
                      <a:lnTo>
                        <a:pt x="39" y="2"/>
                      </a:lnTo>
                      <a:lnTo>
                        <a:pt x="37" y="3"/>
                      </a:lnTo>
                      <a:lnTo>
                        <a:pt x="36" y="2"/>
                      </a:lnTo>
                      <a:lnTo>
                        <a:pt x="34" y="2"/>
                      </a:lnTo>
                      <a:lnTo>
                        <a:pt x="32" y="0"/>
                      </a:lnTo>
                      <a:lnTo>
                        <a:pt x="31" y="0"/>
                      </a:lnTo>
                      <a:lnTo>
                        <a:pt x="29" y="0"/>
                      </a:lnTo>
                      <a:lnTo>
                        <a:pt x="27" y="2"/>
                      </a:lnTo>
                      <a:lnTo>
                        <a:pt x="26" y="3"/>
                      </a:lnTo>
                      <a:lnTo>
                        <a:pt x="22" y="3"/>
                      </a:lnTo>
                      <a:lnTo>
                        <a:pt x="20" y="3"/>
                      </a:lnTo>
                      <a:lnTo>
                        <a:pt x="20" y="5"/>
                      </a:lnTo>
                      <a:lnTo>
                        <a:pt x="19" y="5"/>
                      </a:lnTo>
                      <a:lnTo>
                        <a:pt x="17" y="7"/>
                      </a:lnTo>
                      <a:lnTo>
                        <a:pt x="15" y="9"/>
                      </a:lnTo>
                      <a:lnTo>
                        <a:pt x="14" y="10"/>
                      </a:lnTo>
                      <a:lnTo>
                        <a:pt x="12" y="10"/>
                      </a:lnTo>
                      <a:lnTo>
                        <a:pt x="10" y="12"/>
                      </a:lnTo>
                      <a:lnTo>
                        <a:pt x="9" y="12"/>
                      </a:lnTo>
                      <a:lnTo>
                        <a:pt x="7" y="14"/>
                      </a:lnTo>
                      <a:lnTo>
                        <a:pt x="5" y="15"/>
                      </a:lnTo>
                      <a:lnTo>
                        <a:pt x="4" y="17"/>
                      </a:lnTo>
                      <a:lnTo>
                        <a:pt x="4" y="19"/>
                      </a:lnTo>
                      <a:lnTo>
                        <a:pt x="2" y="20"/>
                      </a:lnTo>
                      <a:lnTo>
                        <a:pt x="0" y="22"/>
                      </a:lnTo>
                      <a:lnTo>
                        <a:pt x="0" y="24"/>
                      </a:lnTo>
                      <a:lnTo>
                        <a:pt x="0" y="25"/>
                      </a:lnTo>
                      <a:lnTo>
                        <a:pt x="0" y="27"/>
                      </a:lnTo>
                      <a:lnTo>
                        <a:pt x="2" y="29"/>
                      </a:lnTo>
                      <a:lnTo>
                        <a:pt x="2" y="30"/>
                      </a:lnTo>
                      <a:lnTo>
                        <a:pt x="2" y="32"/>
                      </a:lnTo>
                      <a:lnTo>
                        <a:pt x="0" y="32"/>
                      </a:lnTo>
                      <a:lnTo>
                        <a:pt x="0" y="34"/>
                      </a:lnTo>
                      <a:lnTo>
                        <a:pt x="0" y="35"/>
                      </a:lnTo>
                      <a:lnTo>
                        <a:pt x="2" y="37"/>
                      </a:lnTo>
                      <a:lnTo>
                        <a:pt x="4" y="37"/>
                      </a:lnTo>
                      <a:lnTo>
                        <a:pt x="5" y="37"/>
                      </a:lnTo>
                      <a:lnTo>
                        <a:pt x="7" y="35"/>
                      </a:lnTo>
                      <a:lnTo>
                        <a:pt x="10" y="35"/>
                      </a:lnTo>
                      <a:lnTo>
                        <a:pt x="12" y="34"/>
                      </a:lnTo>
                      <a:lnTo>
                        <a:pt x="14" y="32"/>
                      </a:lnTo>
                      <a:lnTo>
                        <a:pt x="15" y="32"/>
                      </a:lnTo>
                      <a:lnTo>
                        <a:pt x="19" y="32"/>
                      </a:lnTo>
                      <a:lnTo>
                        <a:pt x="20" y="32"/>
                      </a:lnTo>
                      <a:lnTo>
                        <a:pt x="22" y="32"/>
                      </a:lnTo>
                      <a:lnTo>
                        <a:pt x="24" y="34"/>
                      </a:lnTo>
                      <a:lnTo>
                        <a:pt x="26" y="34"/>
                      </a:lnTo>
                      <a:lnTo>
                        <a:pt x="29" y="34"/>
                      </a:lnTo>
                      <a:lnTo>
                        <a:pt x="36" y="34"/>
                      </a:lnTo>
                      <a:lnTo>
                        <a:pt x="39" y="34"/>
                      </a:lnTo>
                      <a:lnTo>
                        <a:pt x="41" y="35"/>
                      </a:lnTo>
                      <a:lnTo>
                        <a:pt x="42" y="35"/>
                      </a:lnTo>
                      <a:lnTo>
                        <a:pt x="42" y="37"/>
                      </a:lnTo>
                      <a:lnTo>
                        <a:pt x="44" y="37"/>
                      </a:lnTo>
                      <a:lnTo>
                        <a:pt x="42" y="39"/>
                      </a:lnTo>
                      <a:lnTo>
                        <a:pt x="41" y="41"/>
                      </a:lnTo>
                      <a:lnTo>
                        <a:pt x="39" y="42"/>
                      </a:lnTo>
                      <a:lnTo>
                        <a:pt x="39" y="44"/>
                      </a:lnTo>
                      <a:lnTo>
                        <a:pt x="41" y="44"/>
                      </a:lnTo>
                      <a:lnTo>
                        <a:pt x="41" y="46"/>
                      </a:lnTo>
                      <a:lnTo>
                        <a:pt x="42" y="47"/>
                      </a:lnTo>
                      <a:lnTo>
                        <a:pt x="41" y="49"/>
                      </a:lnTo>
                      <a:lnTo>
                        <a:pt x="42" y="49"/>
                      </a:lnTo>
                      <a:lnTo>
                        <a:pt x="44" y="49"/>
                      </a:lnTo>
                      <a:lnTo>
                        <a:pt x="46" y="49"/>
                      </a:lnTo>
                      <a:lnTo>
                        <a:pt x="49" y="49"/>
                      </a:lnTo>
                      <a:lnTo>
                        <a:pt x="51" y="49"/>
                      </a:lnTo>
                      <a:lnTo>
                        <a:pt x="51" y="51"/>
                      </a:lnTo>
                      <a:lnTo>
                        <a:pt x="52" y="51"/>
                      </a:lnTo>
                      <a:lnTo>
                        <a:pt x="52" y="52"/>
                      </a:lnTo>
                      <a:lnTo>
                        <a:pt x="52" y="56"/>
                      </a:lnTo>
                      <a:lnTo>
                        <a:pt x="54" y="54"/>
                      </a:lnTo>
                      <a:lnTo>
                        <a:pt x="56" y="54"/>
                      </a:lnTo>
                      <a:lnTo>
                        <a:pt x="58" y="56"/>
                      </a:lnTo>
                      <a:lnTo>
                        <a:pt x="59" y="56"/>
                      </a:lnTo>
                      <a:lnTo>
                        <a:pt x="61" y="57"/>
                      </a:lnTo>
                      <a:lnTo>
                        <a:pt x="63" y="56"/>
                      </a:lnTo>
                      <a:lnTo>
                        <a:pt x="64" y="56"/>
                      </a:lnTo>
                      <a:lnTo>
                        <a:pt x="66" y="56"/>
                      </a:lnTo>
                      <a:lnTo>
                        <a:pt x="66" y="54"/>
                      </a:lnTo>
                      <a:lnTo>
                        <a:pt x="69" y="52"/>
                      </a:lnTo>
                      <a:lnTo>
                        <a:pt x="71" y="52"/>
                      </a:lnTo>
                      <a:lnTo>
                        <a:pt x="73" y="52"/>
                      </a:lnTo>
                      <a:lnTo>
                        <a:pt x="76" y="52"/>
                      </a:lnTo>
                      <a:lnTo>
                        <a:pt x="79" y="52"/>
                      </a:lnTo>
                      <a:lnTo>
                        <a:pt x="81" y="52"/>
                      </a:lnTo>
                      <a:lnTo>
                        <a:pt x="85" y="51"/>
                      </a:lnTo>
                      <a:lnTo>
                        <a:pt x="86" y="49"/>
                      </a:lnTo>
                      <a:lnTo>
                        <a:pt x="85" y="47"/>
                      </a:lnTo>
                      <a:lnTo>
                        <a:pt x="85" y="46"/>
                      </a:lnTo>
                      <a:lnTo>
                        <a:pt x="85" y="44"/>
                      </a:lnTo>
                      <a:lnTo>
                        <a:pt x="85" y="42"/>
                      </a:lnTo>
                      <a:lnTo>
                        <a:pt x="86" y="41"/>
                      </a:lnTo>
                      <a:lnTo>
                        <a:pt x="86" y="39"/>
                      </a:lnTo>
                      <a:lnTo>
                        <a:pt x="86" y="37"/>
                      </a:lnTo>
                      <a:lnTo>
                        <a:pt x="88" y="35"/>
                      </a:lnTo>
                      <a:lnTo>
                        <a:pt x="90" y="34"/>
                      </a:lnTo>
                      <a:lnTo>
                        <a:pt x="91" y="34"/>
                      </a:lnTo>
                      <a:lnTo>
                        <a:pt x="93" y="34"/>
                      </a:lnTo>
                      <a:lnTo>
                        <a:pt x="98" y="32"/>
                      </a:lnTo>
                      <a:lnTo>
                        <a:pt x="101" y="30"/>
                      </a:lnTo>
                      <a:lnTo>
                        <a:pt x="103" y="30"/>
                      </a:lnTo>
                      <a:lnTo>
                        <a:pt x="103" y="29"/>
                      </a:lnTo>
                      <a:lnTo>
                        <a:pt x="101" y="27"/>
                      </a:lnTo>
                      <a:lnTo>
                        <a:pt x="100" y="27"/>
                      </a:lnTo>
                      <a:lnTo>
                        <a:pt x="98" y="27"/>
                      </a:lnTo>
                      <a:lnTo>
                        <a:pt x="98" y="25"/>
                      </a:lnTo>
                      <a:lnTo>
                        <a:pt x="96" y="25"/>
                      </a:lnTo>
                      <a:lnTo>
                        <a:pt x="95" y="25"/>
                      </a:lnTo>
                      <a:lnTo>
                        <a:pt x="95" y="24"/>
                      </a:lnTo>
                      <a:lnTo>
                        <a:pt x="96" y="24"/>
                      </a:lnTo>
                      <a:lnTo>
                        <a:pt x="96" y="22"/>
                      </a:lnTo>
                      <a:lnTo>
                        <a:pt x="96" y="20"/>
                      </a:lnTo>
                      <a:lnTo>
                        <a:pt x="98" y="20"/>
                      </a:lnTo>
                      <a:lnTo>
                        <a:pt x="98" y="19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56" name="Group 1655">
                <a:extLst>
                  <a:ext uri="{FF2B5EF4-FFF2-40B4-BE49-F238E27FC236}">
                    <a16:creationId xmlns:a16="http://schemas.microsoft.com/office/drawing/2014/main" id="{84C01306-423B-284C-9FC2-69B1847AEB2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48" y="499"/>
                <a:ext cx="12" cy="13"/>
                <a:chOff x="248" y="499"/>
                <a:chExt cx="12" cy="13"/>
              </a:xfrm>
            </p:grpSpPr>
            <p:sp>
              <p:nvSpPr>
                <p:cNvPr id="1878" name="Freeform 252">
                  <a:extLst>
                    <a:ext uri="{FF2B5EF4-FFF2-40B4-BE49-F238E27FC236}">
                      <a16:creationId xmlns:a16="http://schemas.microsoft.com/office/drawing/2014/main" id="{7C202112-9E1A-494A-9A5B-26436B418C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" y="499"/>
                  <a:ext cx="12" cy="13"/>
                </a:xfrm>
                <a:custGeom>
                  <a:avLst/>
                  <a:gdLst>
                    <a:gd name="T0" fmla="*/ 7 w 12"/>
                    <a:gd name="T1" fmla="*/ 0 h 13"/>
                    <a:gd name="T2" fmla="*/ 10 w 12"/>
                    <a:gd name="T3" fmla="*/ 1 h 13"/>
                    <a:gd name="T4" fmla="*/ 8 w 12"/>
                    <a:gd name="T5" fmla="*/ 3 h 13"/>
                    <a:gd name="T6" fmla="*/ 8 w 12"/>
                    <a:gd name="T7" fmla="*/ 5 h 13"/>
                    <a:gd name="T8" fmla="*/ 10 w 12"/>
                    <a:gd name="T9" fmla="*/ 6 h 13"/>
                    <a:gd name="T10" fmla="*/ 12 w 12"/>
                    <a:gd name="T11" fmla="*/ 8 h 13"/>
                    <a:gd name="T12" fmla="*/ 12 w 12"/>
                    <a:gd name="T13" fmla="*/ 11 h 13"/>
                    <a:gd name="T14" fmla="*/ 10 w 12"/>
                    <a:gd name="T15" fmla="*/ 13 h 13"/>
                    <a:gd name="T16" fmla="*/ 8 w 12"/>
                    <a:gd name="T17" fmla="*/ 13 h 13"/>
                    <a:gd name="T18" fmla="*/ 7 w 12"/>
                    <a:gd name="T19" fmla="*/ 13 h 13"/>
                    <a:gd name="T20" fmla="*/ 2 w 12"/>
                    <a:gd name="T21" fmla="*/ 11 h 13"/>
                    <a:gd name="T22" fmla="*/ 2 w 12"/>
                    <a:gd name="T23" fmla="*/ 8 h 13"/>
                    <a:gd name="T24" fmla="*/ 0 w 12"/>
                    <a:gd name="T25" fmla="*/ 6 h 13"/>
                    <a:gd name="T26" fmla="*/ 2 w 12"/>
                    <a:gd name="T27" fmla="*/ 3 h 13"/>
                    <a:gd name="T28" fmla="*/ 5 w 12"/>
                    <a:gd name="T29" fmla="*/ 1 h 13"/>
                    <a:gd name="T30" fmla="*/ 7 w 12"/>
                    <a:gd name="T31" fmla="*/ 1 h 13"/>
                    <a:gd name="T32" fmla="*/ 7 w 12"/>
                    <a:gd name="T33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2" h="13">
                      <a:moveTo>
                        <a:pt x="7" y="0"/>
                      </a:move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8" y="5"/>
                      </a:lnTo>
                      <a:lnTo>
                        <a:pt x="10" y="6"/>
                      </a:lnTo>
                      <a:lnTo>
                        <a:pt x="12" y="8"/>
                      </a:lnTo>
                      <a:lnTo>
                        <a:pt x="12" y="11"/>
                      </a:lnTo>
                      <a:lnTo>
                        <a:pt x="10" y="13"/>
                      </a:lnTo>
                      <a:lnTo>
                        <a:pt x="8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2" y="8"/>
                      </a:lnTo>
                      <a:lnTo>
                        <a:pt x="0" y="6"/>
                      </a:lnTo>
                      <a:lnTo>
                        <a:pt x="2" y="3"/>
                      </a:lnTo>
                      <a:lnTo>
                        <a:pt x="5" y="1"/>
                      </a:lnTo>
                      <a:lnTo>
                        <a:pt x="7" y="1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79" name="Freeform 253">
                  <a:extLst>
                    <a:ext uri="{FF2B5EF4-FFF2-40B4-BE49-F238E27FC236}">
                      <a16:creationId xmlns:a16="http://schemas.microsoft.com/office/drawing/2014/main" id="{79F2A4F8-61E1-C747-9422-60840D0CC3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" y="499"/>
                  <a:ext cx="12" cy="13"/>
                </a:xfrm>
                <a:custGeom>
                  <a:avLst/>
                  <a:gdLst>
                    <a:gd name="T0" fmla="*/ 7 w 12"/>
                    <a:gd name="T1" fmla="*/ 0 h 13"/>
                    <a:gd name="T2" fmla="*/ 10 w 12"/>
                    <a:gd name="T3" fmla="*/ 1 h 13"/>
                    <a:gd name="T4" fmla="*/ 8 w 12"/>
                    <a:gd name="T5" fmla="*/ 3 h 13"/>
                    <a:gd name="T6" fmla="*/ 8 w 12"/>
                    <a:gd name="T7" fmla="*/ 5 h 13"/>
                    <a:gd name="T8" fmla="*/ 10 w 12"/>
                    <a:gd name="T9" fmla="*/ 6 h 13"/>
                    <a:gd name="T10" fmla="*/ 12 w 12"/>
                    <a:gd name="T11" fmla="*/ 8 h 13"/>
                    <a:gd name="T12" fmla="*/ 12 w 12"/>
                    <a:gd name="T13" fmla="*/ 11 h 13"/>
                    <a:gd name="T14" fmla="*/ 10 w 12"/>
                    <a:gd name="T15" fmla="*/ 13 h 13"/>
                    <a:gd name="T16" fmla="*/ 8 w 12"/>
                    <a:gd name="T17" fmla="*/ 13 h 13"/>
                    <a:gd name="T18" fmla="*/ 7 w 12"/>
                    <a:gd name="T19" fmla="*/ 13 h 13"/>
                    <a:gd name="T20" fmla="*/ 2 w 12"/>
                    <a:gd name="T21" fmla="*/ 11 h 13"/>
                    <a:gd name="T22" fmla="*/ 2 w 12"/>
                    <a:gd name="T23" fmla="*/ 8 h 13"/>
                    <a:gd name="T24" fmla="*/ 0 w 12"/>
                    <a:gd name="T25" fmla="*/ 6 h 13"/>
                    <a:gd name="T26" fmla="*/ 2 w 12"/>
                    <a:gd name="T27" fmla="*/ 3 h 13"/>
                    <a:gd name="T28" fmla="*/ 5 w 12"/>
                    <a:gd name="T29" fmla="*/ 1 h 13"/>
                    <a:gd name="T30" fmla="*/ 7 w 12"/>
                    <a:gd name="T31" fmla="*/ 1 h 13"/>
                    <a:gd name="T32" fmla="*/ 7 w 12"/>
                    <a:gd name="T33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2" h="13">
                      <a:moveTo>
                        <a:pt x="7" y="0"/>
                      </a:move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8" y="5"/>
                      </a:lnTo>
                      <a:lnTo>
                        <a:pt x="10" y="6"/>
                      </a:lnTo>
                      <a:lnTo>
                        <a:pt x="12" y="8"/>
                      </a:lnTo>
                      <a:lnTo>
                        <a:pt x="12" y="11"/>
                      </a:lnTo>
                      <a:lnTo>
                        <a:pt x="10" y="13"/>
                      </a:lnTo>
                      <a:lnTo>
                        <a:pt x="8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2" y="8"/>
                      </a:lnTo>
                      <a:lnTo>
                        <a:pt x="0" y="6"/>
                      </a:lnTo>
                      <a:lnTo>
                        <a:pt x="2" y="3"/>
                      </a:lnTo>
                      <a:lnTo>
                        <a:pt x="5" y="1"/>
                      </a:lnTo>
                      <a:lnTo>
                        <a:pt x="7" y="1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57" name="Group 1656">
                <a:extLst>
                  <a:ext uri="{FF2B5EF4-FFF2-40B4-BE49-F238E27FC236}">
                    <a16:creationId xmlns:a16="http://schemas.microsoft.com/office/drawing/2014/main" id="{FA41E08C-06E1-7C44-A1CC-299265FF62E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81" y="652"/>
                <a:ext cx="38" cy="29"/>
                <a:chOff x="481" y="652"/>
                <a:chExt cx="38" cy="29"/>
              </a:xfrm>
            </p:grpSpPr>
            <p:sp>
              <p:nvSpPr>
                <p:cNvPr id="1876" name="Freeform 250">
                  <a:extLst>
                    <a:ext uri="{FF2B5EF4-FFF2-40B4-BE49-F238E27FC236}">
                      <a16:creationId xmlns:a16="http://schemas.microsoft.com/office/drawing/2014/main" id="{BC532FDE-6C2C-074A-B7A2-765CC1F751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" y="652"/>
                  <a:ext cx="38" cy="29"/>
                </a:xfrm>
                <a:custGeom>
                  <a:avLst/>
                  <a:gdLst>
                    <a:gd name="T0" fmla="*/ 37 w 38"/>
                    <a:gd name="T1" fmla="*/ 7 h 29"/>
                    <a:gd name="T2" fmla="*/ 30 w 38"/>
                    <a:gd name="T3" fmla="*/ 2 h 29"/>
                    <a:gd name="T4" fmla="*/ 28 w 38"/>
                    <a:gd name="T5" fmla="*/ 0 h 29"/>
                    <a:gd name="T6" fmla="*/ 22 w 38"/>
                    <a:gd name="T7" fmla="*/ 0 h 29"/>
                    <a:gd name="T8" fmla="*/ 20 w 38"/>
                    <a:gd name="T9" fmla="*/ 2 h 29"/>
                    <a:gd name="T10" fmla="*/ 17 w 38"/>
                    <a:gd name="T11" fmla="*/ 2 h 29"/>
                    <a:gd name="T12" fmla="*/ 13 w 38"/>
                    <a:gd name="T13" fmla="*/ 2 h 29"/>
                    <a:gd name="T14" fmla="*/ 11 w 38"/>
                    <a:gd name="T15" fmla="*/ 3 h 29"/>
                    <a:gd name="T16" fmla="*/ 10 w 38"/>
                    <a:gd name="T17" fmla="*/ 3 h 29"/>
                    <a:gd name="T18" fmla="*/ 6 w 38"/>
                    <a:gd name="T19" fmla="*/ 3 h 29"/>
                    <a:gd name="T20" fmla="*/ 3 w 38"/>
                    <a:gd name="T21" fmla="*/ 8 h 29"/>
                    <a:gd name="T22" fmla="*/ 1 w 38"/>
                    <a:gd name="T23" fmla="*/ 10 h 29"/>
                    <a:gd name="T24" fmla="*/ 0 w 38"/>
                    <a:gd name="T25" fmla="*/ 15 h 29"/>
                    <a:gd name="T26" fmla="*/ 0 w 38"/>
                    <a:gd name="T27" fmla="*/ 19 h 29"/>
                    <a:gd name="T28" fmla="*/ 3 w 38"/>
                    <a:gd name="T29" fmla="*/ 24 h 29"/>
                    <a:gd name="T30" fmla="*/ 6 w 38"/>
                    <a:gd name="T31" fmla="*/ 27 h 29"/>
                    <a:gd name="T32" fmla="*/ 8 w 38"/>
                    <a:gd name="T33" fmla="*/ 29 h 29"/>
                    <a:gd name="T34" fmla="*/ 10 w 38"/>
                    <a:gd name="T35" fmla="*/ 29 h 29"/>
                    <a:gd name="T36" fmla="*/ 13 w 38"/>
                    <a:gd name="T37" fmla="*/ 27 h 29"/>
                    <a:gd name="T38" fmla="*/ 18 w 38"/>
                    <a:gd name="T39" fmla="*/ 27 h 29"/>
                    <a:gd name="T40" fmla="*/ 22 w 38"/>
                    <a:gd name="T41" fmla="*/ 24 h 29"/>
                    <a:gd name="T42" fmla="*/ 27 w 38"/>
                    <a:gd name="T43" fmla="*/ 22 h 29"/>
                    <a:gd name="T44" fmla="*/ 32 w 38"/>
                    <a:gd name="T45" fmla="*/ 22 h 29"/>
                    <a:gd name="T46" fmla="*/ 37 w 38"/>
                    <a:gd name="T47" fmla="*/ 19 h 29"/>
                    <a:gd name="T48" fmla="*/ 38 w 38"/>
                    <a:gd name="T49" fmla="*/ 19 h 29"/>
                    <a:gd name="T50" fmla="*/ 38 w 38"/>
                    <a:gd name="T51" fmla="*/ 14 h 29"/>
                    <a:gd name="T52" fmla="*/ 37 w 38"/>
                    <a:gd name="T53" fmla="*/ 7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38" h="29">
                      <a:moveTo>
                        <a:pt x="37" y="7"/>
                      </a:moveTo>
                      <a:lnTo>
                        <a:pt x="30" y="2"/>
                      </a:lnTo>
                      <a:lnTo>
                        <a:pt x="28" y="0"/>
                      </a:lnTo>
                      <a:lnTo>
                        <a:pt x="22" y="0"/>
                      </a:lnTo>
                      <a:lnTo>
                        <a:pt x="20" y="2"/>
                      </a:lnTo>
                      <a:lnTo>
                        <a:pt x="17" y="2"/>
                      </a:lnTo>
                      <a:lnTo>
                        <a:pt x="13" y="2"/>
                      </a:lnTo>
                      <a:lnTo>
                        <a:pt x="11" y="3"/>
                      </a:lnTo>
                      <a:lnTo>
                        <a:pt x="10" y="3"/>
                      </a:lnTo>
                      <a:lnTo>
                        <a:pt x="6" y="3"/>
                      </a:lnTo>
                      <a:lnTo>
                        <a:pt x="3" y="8"/>
                      </a:lnTo>
                      <a:lnTo>
                        <a:pt x="1" y="10"/>
                      </a:lnTo>
                      <a:lnTo>
                        <a:pt x="0" y="15"/>
                      </a:lnTo>
                      <a:lnTo>
                        <a:pt x="0" y="19"/>
                      </a:lnTo>
                      <a:lnTo>
                        <a:pt x="3" y="24"/>
                      </a:lnTo>
                      <a:lnTo>
                        <a:pt x="6" y="27"/>
                      </a:lnTo>
                      <a:lnTo>
                        <a:pt x="8" y="29"/>
                      </a:lnTo>
                      <a:lnTo>
                        <a:pt x="10" y="29"/>
                      </a:lnTo>
                      <a:lnTo>
                        <a:pt x="13" y="27"/>
                      </a:lnTo>
                      <a:lnTo>
                        <a:pt x="18" y="27"/>
                      </a:lnTo>
                      <a:lnTo>
                        <a:pt x="22" y="24"/>
                      </a:lnTo>
                      <a:lnTo>
                        <a:pt x="27" y="22"/>
                      </a:lnTo>
                      <a:lnTo>
                        <a:pt x="32" y="22"/>
                      </a:lnTo>
                      <a:lnTo>
                        <a:pt x="37" y="19"/>
                      </a:lnTo>
                      <a:lnTo>
                        <a:pt x="38" y="19"/>
                      </a:lnTo>
                      <a:lnTo>
                        <a:pt x="38" y="14"/>
                      </a:lnTo>
                      <a:lnTo>
                        <a:pt x="37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77" name="Freeform 251">
                  <a:extLst>
                    <a:ext uri="{FF2B5EF4-FFF2-40B4-BE49-F238E27FC236}">
                      <a16:creationId xmlns:a16="http://schemas.microsoft.com/office/drawing/2014/main" id="{042C437A-87FD-0E4E-904D-C27218FEA1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" y="652"/>
                  <a:ext cx="38" cy="29"/>
                </a:xfrm>
                <a:custGeom>
                  <a:avLst/>
                  <a:gdLst>
                    <a:gd name="T0" fmla="*/ 37 w 38"/>
                    <a:gd name="T1" fmla="*/ 7 h 29"/>
                    <a:gd name="T2" fmla="*/ 30 w 38"/>
                    <a:gd name="T3" fmla="*/ 2 h 29"/>
                    <a:gd name="T4" fmla="*/ 28 w 38"/>
                    <a:gd name="T5" fmla="*/ 0 h 29"/>
                    <a:gd name="T6" fmla="*/ 22 w 38"/>
                    <a:gd name="T7" fmla="*/ 0 h 29"/>
                    <a:gd name="T8" fmla="*/ 20 w 38"/>
                    <a:gd name="T9" fmla="*/ 2 h 29"/>
                    <a:gd name="T10" fmla="*/ 17 w 38"/>
                    <a:gd name="T11" fmla="*/ 2 h 29"/>
                    <a:gd name="T12" fmla="*/ 13 w 38"/>
                    <a:gd name="T13" fmla="*/ 2 h 29"/>
                    <a:gd name="T14" fmla="*/ 11 w 38"/>
                    <a:gd name="T15" fmla="*/ 3 h 29"/>
                    <a:gd name="T16" fmla="*/ 10 w 38"/>
                    <a:gd name="T17" fmla="*/ 3 h 29"/>
                    <a:gd name="T18" fmla="*/ 6 w 38"/>
                    <a:gd name="T19" fmla="*/ 3 h 29"/>
                    <a:gd name="T20" fmla="*/ 3 w 38"/>
                    <a:gd name="T21" fmla="*/ 8 h 29"/>
                    <a:gd name="T22" fmla="*/ 1 w 38"/>
                    <a:gd name="T23" fmla="*/ 10 h 29"/>
                    <a:gd name="T24" fmla="*/ 0 w 38"/>
                    <a:gd name="T25" fmla="*/ 15 h 29"/>
                    <a:gd name="T26" fmla="*/ 0 w 38"/>
                    <a:gd name="T27" fmla="*/ 19 h 29"/>
                    <a:gd name="T28" fmla="*/ 3 w 38"/>
                    <a:gd name="T29" fmla="*/ 24 h 29"/>
                    <a:gd name="T30" fmla="*/ 6 w 38"/>
                    <a:gd name="T31" fmla="*/ 27 h 29"/>
                    <a:gd name="T32" fmla="*/ 8 w 38"/>
                    <a:gd name="T33" fmla="*/ 29 h 29"/>
                    <a:gd name="T34" fmla="*/ 10 w 38"/>
                    <a:gd name="T35" fmla="*/ 29 h 29"/>
                    <a:gd name="T36" fmla="*/ 13 w 38"/>
                    <a:gd name="T37" fmla="*/ 27 h 29"/>
                    <a:gd name="T38" fmla="*/ 18 w 38"/>
                    <a:gd name="T39" fmla="*/ 27 h 29"/>
                    <a:gd name="T40" fmla="*/ 22 w 38"/>
                    <a:gd name="T41" fmla="*/ 24 h 29"/>
                    <a:gd name="T42" fmla="*/ 27 w 38"/>
                    <a:gd name="T43" fmla="*/ 22 h 29"/>
                    <a:gd name="T44" fmla="*/ 32 w 38"/>
                    <a:gd name="T45" fmla="*/ 22 h 29"/>
                    <a:gd name="T46" fmla="*/ 37 w 38"/>
                    <a:gd name="T47" fmla="*/ 19 h 29"/>
                    <a:gd name="T48" fmla="*/ 38 w 38"/>
                    <a:gd name="T49" fmla="*/ 19 h 29"/>
                    <a:gd name="T50" fmla="*/ 38 w 38"/>
                    <a:gd name="T51" fmla="*/ 14 h 29"/>
                    <a:gd name="T52" fmla="*/ 37 w 38"/>
                    <a:gd name="T53" fmla="*/ 7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38" h="29">
                      <a:moveTo>
                        <a:pt x="37" y="7"/>
                      </a:moveTo>
                      <a:lnTo>
                        <a:pt x="30" y="2"/>
                      </a:lnTo>
                      <a:lnTo>
                        <a:pt x="28" y="0"/>
                      </a:lnTo>
                      <a:lnTo>
                        <a:pt x="22" y="0"/>
                      </a:lnTo>
                      <a:lnTo>
                        <a:pt x="20" y="2"/>
                      </a:lnTo>
                      <a:lnTo>
                        <a:pt x="17" y="2"/>
                      </a:lnTo>
                      <a:lnTo>
                        <a:pt x="13" y="2"/>
                      </a:lnTo>
                      <a:lnTo>
                        <a:pt x="11" y="3"/>
                      </a:lnTo>
                      <a:lnTo>
                        <a:pt x="10" y="3"/>
                      </a:lnTo>
                      <a:lnTo>
                        <a:pt x="6" y="3"/>
                      </a:lnTo>
                      <a:lnTo>
                        <a:pt x="3" y="8"/>
                      </a:lnTo>
                      <a:lnTo>
                        <a:pt x="1" y="10"/>
                      </a:lnTo>
                      <a:lnTo>
                        <a:pt x="0" y="15"/>
                      </a:lnTo>
                      <a:lnTo>
                        <a:pt x="0" y="19"/>
                      </a:lnTo>
                      <a:lnTo>
                        <a:pt x="3" y="24"/>
                      </a:lnTo>
                      <a:lnTo>
                        <a:pt x="6" y="27"/>
                      </a:lnTo>
                      <a:lnTo>
                        <a:pt x="8" y="29"/>
                      </a:lnTo>
                      <a:lnTo>
                        <a:pt x="10" y="29"/>
                      </a:lnTo>
                      <a:lnTo>
                        <a:pt x="13" y="27"/>
                      </a:lnTo>
                      <a:lnTo>
                        <a:pt x="18" y="27"/>
                      </a:lnTo>
                      <a:lnTo>
                        <a:pt x="22" y="24"/>
                      </a:lnTo>
                      <a:lnTo>
                        <a:pt x="27" y="22"/>
                      </a:lnTo>
                      <a:lnTo>
                        <a:pt x="32" y="22"/>
                      </a:lnTo>
                      <a:lnTo>
                        <a:pt x="37" y="19"/>
                      </a:lnTo>
                      <a:lnTo>
                        <a:pt x="38" y="19"/>
                      </a:lnTo>
                      <a:lnTo>
                        <a:pt x="38" y="14"/>
                      </a:lnTo>
                      <a:lnTo>
                        <a:pt x="37" y="7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58" name="Group 1657">
                <a:extLst>
                  <a:ext uri="{FF2B5EF4-FFF2-40B4-BE49-F238E27FC236}">
                    <a16:creationId xmlns:a16="http://schemas.microsoft.com/office/drawing/2014/main" id="{3C2D2E4D-EA55-0442-BF6F-D4776BADD0D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85" y="768"/>
                <a:ext cx="3" cy="4"/>
                <a:chOff x="385" y="768"/>
                <a:chExt cx="3" cy="4"/>
              </a:xfrm>
            </p:grpSpPr>
            <p:sp>
              <p:nvSpPr>
                <p:cNvPr id="1874" name="Freeform 248">
                  <a:extLst>
                    <a:ext uri="{FF2B5EF4-FFF2-40B4-BE49-F238E27FC236}">
                      <a16:creationId xmlns:a16="http://schemas.microsoft.com/office/drawing/2014/main" id="{E91F5249-706C-FB4F-9F8D-11934BEF72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" y="768"/>
                  <a:ext cx="3" cy="4"/>
                </a:xfrm>
                <a:custGeom>
                  <a:avLst/>
                  <a:gdLst>
                    <a:gd name="T0" fmla="*/ 0 w 3"/>
                    <a:gd name="T1" fmla="*/ 2 h 4"/>
                    <a:gd name="T2" fmla="*/ 1 w 3"/>
                    <a:gd name="T3" fmla="*/ 4 h 4"/>
                    <a:gd name="T4" fmla="*/ 3 w 3"/>
                    <a:gd name="T5" fmla="*/ 4 h 4"/>
                    <a:gd name="T6" fmla="*/ 3 w 3"/>
                    <a:gd name="T7" fmla="*/ 2 h 4"/>
                    <a:gd name="T8" fmla="*/ 1 w 3"/>
                    <a:gd name="T9" fmla="*/ 2 h 4"/>
                    <a:gd name="T10" fmla="*/ 0 w 3"/>
                    <a:gd name="T11" fmla="*/ 0 h 4"/>
                    <a:gd name="T12" fmla="*/ 0 w 3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4">
                      <a:moveTo>
                        <a:pt x="0" y="2"/>
                      </a:move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75" name="Freeform 249">
                  <a:extLst>
                    <a:ext uri="{FF2B5EF4-FFF2-40B4-BE49-F238E27FC236}">
                      <a16:creationId xmlns:a16="http://schemas.microsoft.com/office/drawing/2014/main" id="{0C15235A-ED0B-334F-95E2-656AFF6933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" y="768"/>
                  <a:ext cx="3" cy="4"/>
                </a:xfrm>
                <a:custGeom>
                  <a:avLst/>
                  <a:gdLst>
                    <a:gd name="T0" fmla="*/ 0 w 3"/>
                    <a:gd name="T1" fmla="*/ 2 h 4"/>
                    <a:gd name="T2" fmla="*/ 1 w 3"/>
                    <a:gd name="T3" fmla="*/ 4 h 4"/>
                    <a:gd name="T4" fmla="*/ 3 w 3"/>
                    <a:gd name="T5" fmla="*/ 4 h 4"/>
                    <a:gd name="T6" fmla="*/ 3 w 3"/>
                    <a:gd name="T7" fmla="*/ 2 h 4"/>
                    <a:gd name="T8" fmla="*/ 1 w 3"/>
                    <a:gd name="T9" fmla="*/ 2 h 4"/>
                    <a:gd name="T10" fmla="*/ 0 w 3"/>
                    <a:gd name="T11" fmla="*/ 0 h 4"/>
                    <a:gd name="T12" fmla="*/ 0 w 3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4">
                      <a:moveTo>
                        <a:pt x="0" y="2"/>
                      </a:move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59" name="Group 1658">
                <a:extLst>
                  <a:ext uri="{FF2B5EF4-FFF2-40B4-BE49-F238E27FC236}">
                    <a16:creationId xmlns:a16="http://schemas.microsoft.com/office/drawing/2014/main" id="{5CFEF7FF-90D4-BA45-8E2C-FF6CE768BBC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72" y="531"/>
                <a:ext cx="50" cy="52"/>
                <a:chOff x="572" y="531"/>
                <a:chExt cx="50" cy="52"/>
              </a:xfrm>
            </p:grpSpPr>
            <p:sp>
              <p:nvSpPr>
                <p:cNvPr id="1872" name="Freeform 246">
                  <a:extLst>
                    <a:ext uri="{FF2B5EF4-FFF2-40B4-BE49-F238E27FC236}">
                      <a16:creationId xmlns:a16="http://schemas.microsoft.com/office/drawing/2014/main" id="{5B7B7CF0-AEBA-7C45-ACBF-CDDB60EE93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2" y="531"/>
                  <a:ext cx="50" cy="52"/>
                </a:xfrm>
                <a:custGeom>
                  <a:avLst/>
                  <a:gdLst>
                    <a:gd name="T0" fmla="*/ 0 w 50"/>
                    <a:gd name="T1" fmla="*/ 6 h 52"/>
                    <a:gd name="T2" fmla="*/ 3 w 50"/>
                    <a:gd name="T3" fmla="*/ 11 h 52"/>
                    <a:gd name="T4" fmla="*/ 3 w 50"/>
                    <a:gd name="T5" fmla="*/ 15 h 52"/>
                    <a:gd name="T6" fmla="*/ 6 w 50"/>
                    <a:gd name="T7" fmla="*/ 17 h 52"/>
                    <a:gd name="T8" fmla="*/ 10 w 50"/>
                    <a:gd name="T9" fmla="*/ 18 h 52"/>
                    <a:gd name="T10" fmla="*/ 13 w 50"/>
                    <a:gd name="T11" fmla="*/ 22 h 52"/>
                    <a:gd name="T12" fmla="*/ 17 w 50"/>
                    <a:gd name="T13" fmla="*/ 25 h 52"/>
                    <a:gd name="T14" fmla="*/ 18 w 50"/>
                    <a:gd name="T15" fmla="*/ 30 h 52"/>
                    <a:gd name="T16" fmla="*/ 20 w 50"/>
                    <a:gd name="T17" fmla="*/ 33 h 52"/>
                    <a:gd name="T18" fmla="*/ 22 w 50"/>
                    <a:gd name="T19" fmla="*/ 37 h 52"/>
                    <a:gd name="T20" fmla="*/ 20 w 50"/>
                    <a:gd name="T21" fmla="*/ 42 h 52"/>
                    <a:gd name="T22" fmla="*/ 20 w 50"/>
                    <a:gd name="T23" fmla="*/ 45 h 52"/>
                    <a:gd name="T24" fmla="*/ 22 w 50"/>
                    <a:gd name="T25" fmla="*/ 49 h 52"/>
                    <a:gd name="T26" fmla="*/ 22 w 50"/>
                    <a:gd name="T27" fmla="*/ 52 h 52"/>
                    <a:gd name="T28" fmla="*/ 25 w 50"/>
                    <a:gd name="T29" fmla="*/ 52 h 52"/>
                    <a:gd name="T30" fmla="*/ 30 w 50"/>
                    <a:gd name="T31" fmla="*/ 50 h 52"/>
                    <a:gd name="T32" fmla="*/ 33 w 50"/>
                    <a:gd name="T33" fmla="*/ 49 h 52"/>
                    <a:gd name="T34" fmla="*/ 37 w 50"/>
                    <a:gd name="T35" fmla="*/ 49 h 52"/>
                    <a:gd name="T36" fmla="*/ 38 w 50"/>
                    <a:gd name="T37" fmla="*/ 47 h 52"/>
                    <a:gd name="T38" fmla="*/ 40 w 50"/>
                    <a:gd name="T39" fmla="*/ 45 h 52"/>
                    <a:gd name="T40" fmla="*/ 40 w 50"/>
                    <a:gd name="T41" fmla="*/ 42 h 52"/>
                    <a:gd name="T42" fmla="*/ 42 w 50"/>
                    <a:gd name="T43" fmla="*/ 40 h 52"/>
                    <a:gd name="T44" fmla="*/ 45 w 50"/>
                    <a:gd name="T45" fmla="*/ 40 h 52"/>
                    <a:gd name="T46" fmla="*/ 47 w 50"/>
                    <a:gd name="T47" fmla="*/ 38 h 52"/>
                    <a:gd name="T48" fmla="*/ 50 w 50"/>
                    <a:gd name="T49" fmla="*/ 38 h 52"/>
                    <a:gd name="T50" fmla="*/ 50 w 50"/>
                    <a:gd name="T51" fmla="*/ 28 h 52"/>
                    <a:gd name="T52" fmla="*/ 49 w 50"/>
                    <a:gd name="T53" fmla="*/ 22 h 52"/>
                    <a:gd name="T54" fmla="*/ 44 w 50"/>
                    <a:gd name="T55" fmla="*/ 11 h 52"/>
                    <a:gd name="T56" fmla="*/ 38 w 50"/>
                    <a:gd name="T57" fmla="*/ 5 h 52"/>
                    <a:gd name="T58" fmla="*/ 25 w 50"/>
                    <a:gd name="T59" fmla="*/ 1 h 52"/>
                    <a:gd name="T60" fmla="*/ 17 w 50"/>
                    <a:gd name="T61" fmla="*/ 0 h 52"/>
                    <a:gd name="T62" fmla="*/ 12 w 50"/>
                    <a:gd name="T63" fmla="*/ 0 h 52"/>
                    <a:gd name="T64" fmla="*/ 6 w 50"/>
                    <a:gd name="T65" fmla="*/ 0 h 52"/>
                    <a:gd name="T66" fmla="*/ 1 w 50"/>
                    <a:gd name="T67" fmla="*/ 3 h 52"/>
                    <a:gd name="T68" fmla="*/ 0 w 50"/>
                    <a:gd name="T69" fmla="*/ 5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0" h="52">
                      <a:moveTo>
                        <a:pt x="0" y="5"/>
                      </a:move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3" y="11"/>
                      </a:lnTo>
                      <a:lnTo>
                        <a:pt x="3" y="13"/>
                      </a:lnTo>
                      <a:lnTo>
                        <a:pt x="3" y="15"/>
                      </a:lnTo>
                      <a:lnTo>
                        <a:pt x="5" y="15"/>
                      </a:lnTo>
                      <a:lnTo>
                        <a:pt x="6" y="17"/>
                      </a:lnTo>
                      <a:lnTo>
                        <a:pt x="8" y="17"/>
                      </a:lnTo>
                      <a:lnTo>
                        <a:pt x="10" y="18"/>
                      </a:lnTo>
                      <a:lnTo>
                        <a:pt x="12" y="20"/>
                      </a:lnTo>
                      <a:lnTo>
                        <a:pt x="13" y="22"/>
                      </a:lnTo>
                      <a:lnTo>
                        <a:pt x="15" y="23"/>
                      </a:lnTo>
                      <a:lnTo>
                        <a:pt x="17" y="25"/>
                      </a:lnTo>
                      <a:lnTo>
                        <a:pt x="17" y="28"/>
                      </a:lnTo>
                      <a:lnTo>
                        <a:pt x="18" y="30"/>
                      </a:lnTo>
                      <a:lnTo>
                        <a:pt x="20" y="32"/>
                      </a:lnTo>
                      <a:lnTo>
                        <a:pt x="20" y="33"/>
                      </a:lnTo>
                      <a:lnTo>
                        <a:pt x="20" y="35"/>
                      </a:lnTo>
                      <a:lnTo>
                        <a:pt x="22" y="37"/>
                      </a:lnTo>
                      <a:lnTo>
                        <a:pt x="22" y="40"/>
                      </a:lnTo>
                      <a:lnTo>
                        <a:pt x="20" y="42"/>
                      </a:lnTo>
                      <a:lnTo>
                        <a:pt x="20" y="43"/>
                      </a:lnTo>
                      <a:lnTo>
                        <a:pt x="20" y="45"/>
                      </a:lnTo>
                      <a:lnTo>
                        <a:pt x="20" y="47"/>
                      </a:lnTo>
                      <a:lnTo>
                        <a:pt x="22" y="49"/>
                      </a:lnTo>
                      <a:lnTo>
                        <a:pt x="22" y="50"/>
                      </a:lnTo>
                      <a:lnTo>
                        <a:pt x="22" y="52"/>
                      </a:lnTo>
                      <a:lnTo>
                        <a:pt x="23" y="52"/>
                      </a:lnTo>
                      <a:lnTo>
                        <a:pt x="25" y="52"/>
                      </a:lnTo>
                      <a:lnTo>
                        <a:pt x="28" y="52"/>
                      </a:lnTo>
                      <a:lnTo>
                        <a:pt x="30" y="50"/>
                      </a:lnTo>
                      <a:lnTo>
                        <a:pt x="32" y="50"/>
                      </a:lnTo>
                      <a:lnTo>
                        <a:pt x="33" y="49"/>
                      </a:lnTo>
                      <a:lnTo>
                        <a:pt x="35" y="49"/>
                      </a:lnTo>
                      <a:lnTo>
                        <a:pt x="37" y="49"/>
                      </a:lnTo>
                      <a:lnTo>
                        <a:pt x="37" y="47"/>
                      </a:lnTo>
                      <a:lnTo>
                        <a:pt x="38" y="47"/>
                      </a:lnTo>
                      <a:lnTo>
                        <a:pt x="40" y="47"/>
                      </a:lnTo>
                      <a:lnTo>
                        <a:pt x="40" y="45"/>
                      </a:lnTo>
                      <a:lnTo>
                        <a:pt x="40" y="43"/>
                      </a:lnTo>
                      <a:lnTo>
                        <a:pt x="40" y="42"/>
                      </a:lnTo>
                      <a:lnTo>
                        <a:pt x="42" y="42"/>
                      </a:lnTo>
                      <a:lnTo>
                        <a:pt x="42" y="40"/>
                      </a:lnTo>
                      <a:lnTo>
                        <a:pt x="44" y="40"/>
                      </a:lnTo>
                      <a:lnTo>
                        <a:pt x="45" y="40"/>
                      </a:lnTo>
                      <a:lnTo>
                        <a:pt x="47" y="40"/>
                      </a:lnTo>
                      <a:lnTo>
                        <a:pt x="47" y="38"/>
                      </a:lnTo>
                      <a:lnTo>
                        <a:pt x="49" y="38"/>
                      </a:lnTo>
                      <a:lnTo>
                        <a:pt x="50" y="38"/>
                      </a:lnTo>
                      <a:lnTo>
                        <a:pt x="50" y="33"/>
                      </a:lnTo>
                      <a:lnTo>
                        <a:pt x="50" y="28"/>
                      </a:lnTo>
                      <a:lnTo>
                        <a:pt x="49" y="25"/>
                      </a:lnTo>
                      <a:lnTo>
                        <a:pt x="49" y="22"/>
                      </a:lnTo>
                      <a:lnTo>
                        <a:pt x="45" y="17"/>
                      </a:lnTo>
                      <a:lnTo>
                        <a:pt x="44" y="11"/>
                      </a:lnTo>
                      <a:lnTo>
                        <a:pt x="42" y="8"/>
                      </a:lnTo>
                      <a:lnTo>
                        <a:pt x="38" y="5"/>
                      </a:lnTo>
                      <a:lnTo>
                        <a:pt x="33" y="3"/>
                      </a:lnTo>
                      <a:lnTo>
                        <a:pt x="25" y="1"/>
                      </a:lnTo>
                      <a:lnTo>
                        <a:pt x="22" y="0"/>
                      </a:lnTo>
                      <a:lnTo>
                        <a:pt x="17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5" y="1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73" name="Freeform 247">
                  <a:extLst>
                    <a:ext uri="{FF2B5EF4-FFF2-40B4-BE49-F238E27FC236}">
                      <a16:creationId xmlns:a16="http://schemas.microsoft.com/office/drawing/2014/main" id="{32080213-4A41-E34C-9FD0-1BA9C29A6C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2" y="531"/>
                  <a:ext cx="50" cy="52"/>
                </a:xfrm>
                <a:custGeom>
                  <a:avLst/>
                  <a:gdLst>
                    <a:gd name="T0" fmla="*/ 0 w 50"/>
                    <a:gd name="T1" fmla="*/ 6 h 52"/>
                    <a:gd name="T2" fmla="*/ 3 w 50"/>
                    <a:gd name="T3" fmla="*/ 11 h 52"/>
                    <a:gd name="T4" fmla="*/ 3 w 50"/>
                    <a:gd name="T5" fmla="*/ 15 h 52"/>
                    <a:gd name="T6" fmla="*/ 6 w 50"/>
                    <a:gd name="T7" fmla="*/ 17 h 52"/>
                    <a:gd name="T8" fmla="*/ 10 w 50"/>
                    <a:gd name="T9" fmla="*/ 18 h 52"/>
                    <a:gd name="T10" fmla="*/ 13 w 50"/>
                    <a:gd name="T11" fmla="*/ 22 h 52"/>
                    <a:gd name="T12" fmla="*/ 17 w 50"/>
                    <a:gd name="T13" fmla="*/ 25 h 52"/>
                    <a:gd name="T14" fmla="*/ 18 w 50"/>
                    <a:gd name="T15" fmla="*/ 30 h 52"/>
                    <a:gd name="T16" fmla="*/ 20 w 50"/>
                    <a:gd name="T17" fmla="*/ 33 h 52"/>
                    <a:gd name="T18" fmla="*/ 22 w 50"/>
                    <a:gd name="T19" fmla="*/ 37 h 52"/>
                    <a:gd name="T20" fmla="*/ 20 w 50"/>
                    <a:gd name="T21" fmla="*/ 42 h 52"/>
                    <a:gd name="T22" fmla="*/ 20 w 50"/>
                    <a:gd name="T23" fmla="*/ 45 h 52"/>
                    <a:gd name="T24" fmla="*/ 22 w 50"/>
                    <a:gd name="T25" fmla="*/ 49 h 52"/>
                    <a:gd name="T26" fmla="*/ 22 w 50"/>
                    <a:gd name="T27" fmla="*/ 52 h 52"/>
                    <a:gd name="T28" fmla="*/ 25 w 50"/>
                    <a:gd name="T29" fmla="*/ 52 h 52"/>
                    <a:gd name="T30" fmla="*/ 30 w 50"/>
                    <a:gd name="T31" fmla="*/ 50 h 52"/>
                    <a:gd name="T32" fmla="*/ 33 w 50"/>
                    <a:gd name="T33" fmla="*/ 49 h 52"/>
                    <a:gd name="T34" fmla="*/ 37 w 50"/>
                    <a:gd name="T35" fmla="*/ 49 h 52"/>
                    <a:gd name="T36" fmla="*/ 38 w 50"/>
                    <a:gd name="T37" fmla="*/ 47 h 52"/>
                    <a:gd name="T38" fmla="*/ 40 w 50"/>
                    <a:gd name="T39" fmla="*/ 45 h 52"/>
                    <a:gd name="T40" fmla="*/ 40 w 50"/>
                    <a:gd name="T41" fmla="*/ 42 h 52"/>
                    <a:gd name="T42" fmla="*/ 42 w 50"/>
                    <a:gd name="T43" fmla="*/ 40 h 52"/>
                    <a:gd name="T44" fmla="*/ 45 w 50"/>
                    <a:gd name="T45" fmla="*/ 40 h 52"/>
                    <a:gd name="T46" fmla="*/ 47 w 50"/>
                    <a:gd name="T47" fmla="*/ 38 h 52"/>
                    <a:gd name="T48" fmla="*/ 50 w 50"/>
                    <a:gd name="T49" fmla="*/ 38 h 52"/>
                    <a:gd name="T50" fmla="*/ 50 w 50"/>
                    <a:gd name="T51" fmla="*/ 28 h 52"/>
                    <a:gd name="T52" fmla="*/ 49 w 50"/>
                    <a:gd name="T53" fmla="*/ 22 h 52"/>
                    <a:gd name="T54" fmla="*/ 44 w 50"/>
                    <a:gd name="T55" fmla="*/ 11 h 52"/>
                    <a:gd name="T56" fmla="*/ 38 w 50"/>
                    <a:gd name="T57" fmla="*/ 5 h 52"/>
                    <a:gd name="T58" fmla="*/ 25 w 50"/>
                    <a:gd name="T59" fmla="*/ 1 h 52"/>
                    <a:gd name="T60" fmla="*/ 17 w 50"/>
                    <a:gd name="T61" fmla="*/ 0 h 52"/>
                    <a:gd name="T62" fmla="*/ 12 w 50"/>
                    <a:gd name="T63" fmla="*/ 0 h 52"/>
                    <a:gd name="T64" fmla="*/ 6 w 50"/>
                    <a:gd name="T65" fmla="*/ 0 h 52"/>
                    <a:gd name="T66" fmla="*/ 1 w 50"/>
                    <a:gd name="T67" fmla="*/ 3 h 52"/>
                    <a:gd name="T68" fmla="*/ 0 w 50"/>
                    <a:gd name="T69" fmla="*/ 5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0" h="52">
                      <a:moveTo>
                        <a:pt x="0" y="5"/>
                      </a:move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3" y="11"/>
                      </a:lnTo>
                      <a:lnTo>
                        <a:pt x="3" y="13"/>
                      </a:lnTo>
                      <a:lnTo>
                        <a:pt x="3" y="15"/>
                      </a:lnTo>
                      <a:lnTo>
                        <a:pt x="5" y="15"/>
                      </a:lnTo>
                      <a:lnTo>
                        <a:pt x="6" y="17"/>
                      </a:lnTo>
                      <a:lnTo>
                        <a:pt x="8" y="17"/>
                      </a:lnTo>
                      <a:lnTo>
                        <a:pt x="10" y="18"/>
                      </a:lnTo>
                      <a:lnTo>
                        <a:pt x="12" y="20"/>
                      </a:lnTo>
                      <a:lnTo>
                        <a:pt x="13" y="22"/>
                      </a:lnTo>
                      <a:lnTo>
                        <a:pt x="15" y="23"/>
                      </a:lnTo>
                      <a:lnTo>
                        <a:pt x="17" y="25"/>
                      </a:lnTo>
                      <a:lnTo>
                        <a:pt x="17" y="28"/>
                      </a:lnTo>
                      <a:lnTo>
                        <a:pt x="18" y="30"/>
                      </a:lnTo>
                      <a:lnTo>
                        <a:pt x="20" y="32"/>
                      </a:lnTo>
                      <a:lnTo>
                        <a:pt x="20" y="33"/>
                      </a:lnTo>
                      <a:lnTo>
                        <a:pt x="20" y="35"/>
                      </a:lnTo>
                      <a:lnTo>
                        <a:pt x="22" y="37"/>
                      </a:lnTo>
                      <a:lnTo>
                        <a:pt x="22" y="40"/>
                      </a:lnTo>
                      <a:lnTo>
                        <a:pt x="20" y="42"/>
                      </a:lnTo>
                      <a:lnTo>
                        <a:pt x="20" y="43"/>
                      </a:lnTo>
                      <a:lnTo>
                        <a:pt x="20" y="45"/>
                      </a:lnTo>
                      <a:lnTo>
                        <a:pt x="20" y="47"/>
                      </a:lnTo>
                      <a:lnTo>
                        <a:pt x="22" y="49"/>
                      </a:lnTo>
                      <a:lnTo>
                        <a:pt x="22" y="50"/>
                      </a:lnTo>
                      <a:lnTo>
                        <a:pt x="22" y="52"/>
                      </a:lnTo>
                      <a:lnTo>
                        <a:pt x="23" y="52"/>
                      </a:lnTo>
                      <a:lnTo>
                        <a:pt x="25" y="52"/>
                      </a:lnTo>
                      <a:lnTo>
                        <a:pt x="28" y="52"/>
                      </a:lnTo>
                      <a:lnTo>
                        <a:pt x="30" y="50"/>
                      </a:lnTo>
                      <a:lnTo>
                        <a:pt x="32" y="50"/>
                      </a:lnTo>
                      <a:lnTo>
                        <a:pt x="33" y="49"/>
                      </a:lnTo>
                      <a:lnTo>
                        <a:pt x="35" y="49"/>
                      </a:lnTo>
                      <a:lnTo>
                        <a:pt x="37" y="49"/>
                      </a:lnTo>
                      <a:lnTo>
                        <a:pt x="37" y="47"/>
                      </a:lnTo>
                      <a:lnTo>
                        <a:pt x="38" y="47"/>
                      </a:lnTo>
                      <a:lnTo>
                        <a:pt x="40" y="47"/>
                      </a:lnTo>
                      <a:lnTo>
                        <a:pt x="40" y="45"/>
                      </a:lnTo>
                      <a:lnTo>
                        <a:pt x="40" y="43"/>
                      </a:lnTo>
                      <a:lnTo>
                        <a:pt x="40" y="42"/>
                      </a:lnTo>
                      <a:lnTo>
                        <a:pt x="42" y="42"/>
                      </a:lnTo>
                      <a:lnTo>
                        <a:pt x="42" y="40"/>
                      </a:lnTo>
                      <a:lnTo>
                        <a:pt x="44" y="40"/>
                      </a:lnTo>
                      <a:lnTo>
                        <a:pt x="45" y="40"/>
                      </a:lnTo>
                      <a:lnTo>
                        <a:pt x="47" y="40"/>
                      </a:lnTo>
                      <a:lnTo>
                        <a:pt x="47" y="38"/>
                      </a:lnTo>
                      <a:lnTo>
                        <a:pt x="49" y="38"/>
                      </a:lnTo>
                      <a:lnTo>
                        <a:pt x="50" y="38"/>
                      </a:lnTo>
                      <a:lnTo>
                        <a:pt x="50" y="33"/>
                      </a:lnTo>
                      <a:lnTo>
                        <a:pt x="50" y="28"/>
                      </a:lnTo>
                      <a:lnTo>
                        <a:pt x="49" y="25"/>
                      </a:lnTo>
                      <a:lnTo>
                        <a:pt x="49" y="22"/>
                      </a:lnTo>
                      <a:lnTo>
                        <a:pt x="45" y="17"/>
                      </a:lnTo>
                      <a:lnTo>
                        <a:pt x="44" y="11"/>
                      </a:lnTo>
                      <a:lnTo>
                        <a:pt x="42" y="8"/>
                      </a:lnTo>
                      <a:lnTo>
                        <a:pt x="38" y="5"/>
                      </a:lnTo>
                      <a:lnTo>
                        <a:pt x="33" y="3"/>
                      </a:lnTo>
                      <a:lnTo>
                        <a:pt x="25" y="1"/>
                      </a:lnTo>
                      <a:lnTo>
                        <a:pt x="22" y="0"/>
                      </a:lnTo>
                      <a:lnTo>
                        <a:pt x="17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5" y="1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60" name="Group 1659">
                <a:extLst>
                  <a:ext uri="{FF2B5EF4-FFF2-40B4-BE49-F238E27FC236}">
                    <a16:creationId xmlns:a16="http://schemas.microsoft.com/office/drawing/2014/main" id="{6D8A74E0-2B1F-DF41-A5B4-E12A0A2C62D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16" y="431"/>
                <a:ext cx="56" cy="58"/>
                <a:chOff x="216" y="431"/>
                <a:chExt cx="56" cy="58"/>
              </a:xfrm>
            </p:grpSpPr>
            <p:grpSp>
              <p:nvGrpSpPr>
                <p:cNvPr id="1857" name="Group 1856">
                  <a:extLst>
                    <a:ext uri="{FF2B5EF4-FFF2-40B4-BE49-F238E27FC236}">
                      <a16:creationId xmlns:a16="http://schemas.microsoft.com/office/drawing/2014/main" id="{61CC6C5E-2BD7-AF48-8DBE-B7A97762A8AC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36" y="436"/>
                  <a:ext cx="4" cy="7"/>
                  <a:chOff x="236" y="436"/>
                  <a:chExt cx="4" cy="7"/>
                </a:xfrm>
              </p:grpSpPr>
              <p:sp>
                <p:nvSpPr>
                  <p:cNvPr id="1870" name="Freeform 244">
                    <a:extLst>
                      <a:ext uri="{FF2B5EF4-FFF2-40B4-BE49-F238E27FC236}">
                        <a16:creationId xmlns:a16="http://schemas.microsoft.com/office/drawing/2014/main" id="{2E1ABA39-6DFD-904A-A67C-612B131B4A6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6" y="436"/>
                    <a:ext cx="4" cy="7"/>
                  </a:xfrm>
                  <a:custGeom>
                    <a:avLst/>
                    <a:gdLst>
                      <a:gd name="T0" fmla="*/ 4 w 4"/>
                      <a:gd name="T1" fmla="*/ 4 h 7"/>
                      <a:gd name="T2" fmla="*/ 2 w 4"/>
                      <a:gd name="T3" fmla="*/ 5 h 7"/>
                      <a:gd name="T4" fmla="*/ 0 w 4"/>
                      <a:gd name="T5" fmla="*/ 7 h 7"/>
                      <a:gd name="T6" fmla="*/ 0 w 4"/>
                      <a:gd name="T7" fmla="*/ 4 h 7"/>
                      <a:gd name="T8" fmla="*/ 4 w 4"/>
                      <a:gd name="T9" fmla="*/ 2 h 7"/>
                      <a:gd name="T10" fmla="*/ 4 w 4"/>
                      <a:gd name="T11" fmla="*/ 0 h 7"/>
                      <a:gd name="T12" fmla="*/ 4 w 4"/>
                      <a:gd name="T13" fmla="*/ 4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7">
                        <a:moveTo>
                          <a:pt x="4" y="4"/>
                        </a:moveTo>
                        <a:lnTo>
                          <a:pt x="2" y="5"/>
                        </a:lnTo>
                        <a:lnTo>
                          <a:pt x="0" y="7"/>
                        </a:lnTo>
                        <a:lnTo>
                          <a:pt x="0" y="4"/>
                        </a:lnTo>
                        <a:lnTo>
                          <a:pt x="4" y="2"/>
                        </a:lnTo>
                        <a:lnTo>
                          <a:pt x="4" y="0"/>
                        </a:lnTo>
                        <a:lnTo>
                          <a:pt x="4" y="4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71" name="Freeform 245">
                    <a:extLst>
                      <a:ext uri="{FF2B5EF4-FFF2-40B4-BE49-F238E27FC236}">
                        <a16:creationId xmlns:a16="http://schemas.microsoft.com/office/drawing/2014/main" id="{032F9303-A4BA-424B-B1C9-79E594E00F4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6" y="436"/>
                    <a:ext cx="4" cy="7"/>
                  </a:xfrm>
                  <a:custGeom>
                    <a:avLst/>
                    <a:gdLst>
                      <a:gd name="T0" fmla="*/ 4 w 4"/>
                      <a:gd name="T1" fmla="*/ 4 h 7"/>
                      <a:gd name="T2" fmla="*/ 2 w 4"/>
                      <a:gd name="T3" fmla="*/ 5 h 7"/>
                      <a:gd name="T4" fmla="*/ 0 w 4"/>
                      <a:gd name="T5" fmla="*/ 7 h 7"/>
                      <a:gd name="T6" fmla="*/ 0 w 4"/>
                      <a:gd name="T7" fmla="*/ 4 h 7"/>
                      <a:gd name="T8" fmla="*/ 4 w 4"/>
                      <a:gd name="T9" fmla="*/ 2 h 7"/>
                      <a:gd name="T10" fmla="*/ 4 w 4"/>
                      <a:gd name="T11" fmla="*/ 0 h 7"/>
                      <a:gd name="T12" fmla="*/ 4 w 4"/>
                      <a:gd name="T13" fmla="*/ 4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7">
                        <a:moveTo>
                          <a:pt x="4" y="4"/>
                        </a:moveTo>
                        <a:lnTo>
                          <a:pt x="2" y="5"/>
                        </a:lnTo>
                        <a:lnTo>
                          <a:pt x="0" y="7"/>
                        </a:lnTo>
                        <a:lnTo>
                          <a:pt x="0" y="4"/>
                        </a:lnTo>
                        <a:lnTo>
                          <a:pt x="4" y="2"/>
                        </a:lnTo>
                        <a:lnTo>
                          <a:pt x="4" y="0"/>
                        </a:lnTo>
                        <a:lnTo>
                          <a:pt x="4" y="4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58" name="Group 1857">
                  <a:extLst>
                    <a:ext uri="{FF2B5EF4-FFF2-40B4-BE49-F238E27FC236}">
                      <a16:creationId xmlns:a16="http://schemas.microsoft.com/office/drawing/2014/main" id="{EA64012B-6495-904A-967E-27B1C3AB2D7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16" y="431"/>
                  <a:ext cx="56" cy="58"/>
                  <a:chOff x="216" y="431"/>
                  <a:chExt cx="56" cy="58"/>
                </a:xfrm>
              </p:grpSpPr>
              <p:sp>
                <p:nvSpPr>
                  <p:cNvPr id="1868" name="Freeform 242">
                    <a:extLst>
                      <a:ext uri="{FF2B5EF4-FFF2-40B4-BE49-F238E27FC236}">
                        <a16:creationId xmlns:a16="http://schemas.microsoft.com/office/drawing/2014/main" id="{97482EE7-5B07-B243-919D-669040B9CB4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16" y="431"/>
                    <a:ext cx="56" cy="58"/>
                  </a:xfrm>
                  <a:custGeom>
                    <a:avLst/>
                    <a:gdLst>
                      <a:gd name="T0" fmla="*/ 37 w 56"/>
                      <a:gd name="T1" fmla="*/ 51 h 58"/>
                      <a:gd name="T2" fmla="*/ 39 w 56"/>
                      <a:gd name="T3" fmla="*/ 46 h 58"/>
                      <a:gd name="T4" fmla="*/ 39 w 56"/>
                      <a:gd name="T5" fmla="*/ 39 h 58"/>
                      <a:gd name="T6" fmla="*/ 40 w 56"/>
                      <a:gd name="T7" fmla="*/ 32 h 58"/>
                      <a:gd name="T8" fmla="*/ 49 w 56"/>
                      <a:gd name="T9" fmla="*/ 31 h 58"/>
                      <a:gd name="T10" fmla="*/ 54 w 56"/>
                      <a:gd name="T11" fmla="*/ 24 h 58"/>
                      <a:gd name="T12" fmla="*/ 49 w 56"/>
                      <a:gd name="T13" fmla="*/ 20 h 58"/>
                      <a:gd name="T14" fmla="*/ 54 w 56"/>
                      <a:gd name="T15" fmla="*/ 12 h 58"/>
                      <a:gd name="T16" fmla="*/ 56 w 56"/>
                      <a:gd name="T17" fmla="*/ 5 h 58"/>
                      <a:gd name="T18" fmla="*/ 54 w 56"/>
                      <a:gd name="T19" fmla="*/ 2 h 58"/>
                      <a:gd name="T20" fmla="*/ 51 w 56"/>
                      <a:gd name="T21" fmla="*/ 0 h 58"/>
                      <a:gd name="T22" fmla="*/ 45 w 56"/>
                      <a:gd name="T23" fmla="*/ 2 h 58"/>
                      <a:gd name="T24" fmla="*/ 40 w 56"/>
                      <a:gd name="T25" fmla="*/ 2 h 58"/>
                      <a:gd name="T26" fmla="*/ 35 w 56"/>
                      <a:gd name="T27" fmla="*/ 2 h 58"/>
                      <a:gd name="T28" fmla="*/ 32 w 56"/>
                      <a:gd name="T29" fmla="*/ 4 h 58"/>
                      <a:gd name="T30" fmla="*/ 30 w 56"/>
                      <a:gd name="T31" fmla="*/ 7 h 58"/>
                      <a:gd name="T32" fmla="*/ 29 w 56"/>
                      <a:gd name="T33" fmla="*/ 10 h 58"/>
                      <a:gd name="T34" fmla="*/ 30 w 56"/>
                      <a:gd name="T35" fmla="*/ 12 h 58"/>
                      <a:gd name="T36" fmla="*/ 32 w 56"/>
                      <a:gd name="T37" fmla="*/ 15 h 58"/>
                      <a:gd name="T38" fmla="*/ 30 w 56"/>
                      <a:gd name="T39" fmla="*/ 19 h 58"/>
                      <a:gd name="T40" fmla="*/ 29 w 56"/>
                      <a:gd name="T41" fmla="*/ 22 h 58"/>
                      <a:gd name="T42" fmla="*/ 30 w 56"/>
                      <a:gd name="T43" fmla="*/ 25 h 58"/>
                      <a:gd name="T44" fmla="*/ 27 w 56"/>
                      <a:gd name="T45" fmla="*/ 24 h 58"/>
                      <a:gd name="T46" fmla="*/ 24 w 56"/>
                      <a:gd name="T47" fmla="*/ 22 h 58"/>
                      <a:gd name="T48" fmla="*/ 24 w 56"/>
                      <a:gd name="T49" fmla="*/ 17 h 58"/>
                      <a:gd name="T50" fmla="*/ 27 w 56"/>
                      <a:gd name="T51" fmla="*/ 15 h 58"/>
                      <a:gd name="T52" fmla="*/ 24 w 56"/>
                      <a:gd name="T53" fmla="*/ 14 h 58"/>
                      <a:gd name="T54" fmla="*/ 18 w 56"/>
                      <a:gd name="T55" fmla="*/ 17 h 58"/>
                      <a:gd name="T56" fmla="*/ 15 w 56"/>
                      <a:gd name="T57" fmla="*/ 29 h 58"/>
                      <a:gd name="T58" fmla="*/ 12 w 56"/>
                      <a:gd name="T59" fmla="*/ 31 h 58"/>
                      <a:gd name="T60" fmla="*/ 10 w 56"/>
                      <a:gd name="T61" fmla="*/ 36 h 58"/>
                      <a:gd name="T62" fmla="*/ 17 w 56"/>
                      <a:gd name="T63" fmla="*/ 37 h 58"/>
                      <a:gd name="T64" fmla="*/ 22 w 56"/>
                      <a:gd name="T65" fmla="*/ 37 h 58"/>
                      <a:gd name="T66" fmla="*/ 12 w 56"/>
                      <a:gd name="T67" fmla="*/ 41 h 58"/>
                      <a:gd name="T68" fmla="*/ 5 w 56"/>
                      <a:gd name="T69" fmla="*/ 42 h 58"/>
                      <a:gd name="T70" fmla="*/ 12 w 56"/>
                      <a:gd name="T71" fmla="*/ 44 h 58"/>
                      <a:gd name="T72" fmla="*/ 8 w 56"/>
                      <a:gd name="T73" fmla="*/ 44 h 58"/>
                      <a:gd name="T74" fmla="*/ 0 w 56"/>
                      <a:gd name="T75" fmla="*/ 44 h 58"/>
                      <a:gd name="T76" fmla="*/ 7 w 56"/>
                      <a:gd name="T77" fmla="*/ 47 h 58"/>
                      <a:gd name="T78" fmla="*/ 18 w 56"/>
                      <a:gd name="T79" fmla="*/ 42 h 58"/>
                      <a:gd name="T80" fmla="*/ 25 w 56"/>
                      <a:gd name="T81" fmla="*/ 44 h 58"/>
                      <a:gd name="T82" fmla="*/ 30 w 56"/>
                      <a:gd name="T83" fmla="*/ 47 h 58"/>
                      <a:gd name="T84" fmla="*/ 32 w 56"/>
                      <a:gd name="T85" fmla="*/ 52 h 58"/>
                      <a:gd name="T86" fmla="*/ 39 w 56"/>
                      <a:gd name="T87" fmla="*/ 58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</a:cxnLst>
                    <a:rect l="0" t="0" r="r" b="b"/>
                    <a:pathLst>
                      <a:path w="56" h="58">
                        <a:moveTo>
                          <a:pt x="39" y="56"/>
                        </a:moveTo>
                        <a:lnTo>
                          <a:pt x="39" y="54"/>
                        </a:lnTo>
                        <a:lnTo>
                          <a:pt x="37" y="51"/>
                        </a:lnTo>
                        <a:lnTo>
                          <a:pt x="37" y="49"/>
                        </a:lnTo>
                        <a:lnTo>
                          <a:pt x="39" y="47"/>
                        </a:lnTo>
                        <a:lnTo>
                          <a:pt x="39" y="46"/>
                        </a:lnTo>
                        <a:lnTo>
                          <a:pt x="39" y="44"/>
                        </a:lnTo>
                        <a:lnTo>
                          <a:pt x="39" y="41"/>
                        </a:lnTo>
                        <a:lnTo>
                          <a:pt x="39" y="39"/>
                        </a:lnTo>
                        <a:lnTo>
                          <a:pt x="39" y="34"/>
                        </a:lnTo>
                        <a:lnTo>
                          <a:pt x="39" y="32"/>
                        </a:lnTo>
                        <a:lnTo>
                          <a:pt x="40" y="32"/>
                        </a:lnTo>
                        <a:lnTo>
                          <a:pt x="45" y="34"/>
                        </a:lnTo>
                        <a:lnTo>
                          <a:pt x="47" y="34"/>
                        </a:lnTo>
                        <a:lnTo>
                          <a:pt x="49" y="31"/>
                        </a:lnTo>
                        <a:lnTo>
                          <a:pt x="49" y="29"/>
                        </a:lnTo>
                        <a:lnTo>
                          <a:pt x="52" y="27"/>
                        </a:lnTo>
                        <a:lnTo>
                          <a:pt x="54" y="24"/>
                        </a:lnTo>
                        <a:lnTo>
                          <a:pt x="54" y="22"/>
                        </a:lnTo>
                        <a:lnTo>
                          <a:pt x="52" y="20"/>
                        </a:lnTo>
                        <a:lnTo>
                          <a:pt x="49" y="20"/>
                        </a:lnTo>
                        <a:lnTo>
                          <a:pt x="49" y="17"/>
                        </a:lnTo>
                        <a:lnTo>
                          <a:pt x="52" y="15"/>
                        </a:lnTo>
                        <a:lnTo>
                          <a:pt x="54" y="12"/>
                        </a:lnTo>
                        <a:lnTo>
                          <a:pt x="54" y="10"/>
                        </a:lnTo>
                        <a:lnTo>
                          <a:pt x="54" y="7"/>
                        </a:lnTo>
                        <a:lnTo>
                          <a:pt x="56" y="5"/>
                        </a:lnTo>
                        <a:lnTo>
                          <a:pt x="56" y="4"/>
                        </a:lnTo>
                        <a:lnTo>
                          <a:pt x="54" y="4"/>
                        </a:lnTo>
                        <a:lnTo>
                          <a:pt x="54" y="2"/>
                        </a:lnTo>
                        <a:lnTo>
                          <a:pt x="52" y="2"/>
                        </a:lnTo>
                        <a:lnTo>
                          <a:pt x="51" y="2"/>
                        </a:lnTo>
                        <a:lnTo>
                          <a:pt x="51" y="0"/>
                        </a:lnTo>
                        <a:lnTo>
                          <a:pt x="49" y="0"/>
                        </a:lnTo>
                        <a:lnTo>
                          <a:pt x="47" y="0"/>
                        </a:lnTo>
                        <a:lnTo>
                          <a:pt x="45" y="2"/>
                        </a:lnTo>
                        <a:lnTo>
                          <a:pt x="44" y="2"/>
                        </a:lnTo>
                        <a:lnTo>
                          <a:pt x="42" y="2"/>
                        </a:lnTo>
                        <a:lnTo>
                          <a:pt x="40" y="2"/>
                        </a:lnTo>
                        <a:lnTo>
                          <a:pt x="39" y="2"/>
                        </a:lnTo>
                        <a:lnTo>
                          <a:pt x="37" y="2"/>
                        </a:lnTo>
                        <a:lnTo>
                          <a:pt x="35" y="2"/>
                        </a:lnTo>
                        <a:lnTo>
                          <a:pt x="35" y="4"/>
                        </a:lnTo>
                        <a:lnTo>
                          <a:pt x="34" y="4"/>
                        </a:lnTo>
                        <a:lnTo>
                          <a:pt x="32" y="4"/>
                        </a:lnTo>
                        <a:lnTo>
                          <a:pt x="32" y="5"/>
                        </a:lnTo>
                        <a:lnTo>
                          <a:pt x="30" y="5"/>
                        </a:lnTo>
                        <a:lnTo>
                          <a:pt x="30" y="7"/>
                        </a:lnTo>
                        <a:lnTo>
                          <a:pt x="29" y="7"/>
                        </a:lnTo>
                        <a:lnTo>
                          <a:pt x="29" y="9"/>
                        </a:lnTo>
                        <a:lnTo>
                          <a:pt x="29" y="10"/>
                        </a:lnTo>
                        <a:lnTo>
                          <a:pt x="30" y="10"/>
                        </a:lnTo>
                        <a:lnTo>
                          <a:pt x="29" y="10"/>
                        </a:lnTo>
                        <a:lnTo>
                          <a:pt x="30" y="12"/>
                        </a:lnTo>
                        <a:lnTo>
                          <a:pt x="32" y="12"/>
                        </a:lnTo>
                        <a:lnTo>
                          <a:pt x="32" y="14"/>
                        </a:lnTo>
                        <a:lnTo>
                          <a:pt x="32" y="15"/>
                        </a:lnTo>
                        <a:lnTo>
                          <a:pt x="32" y="17"/>
                        </a:lnTo>
                        <a:lnTo>
                          <a:pt x="30" y="17"/>
                        </a:lnTo>
                        <a:lnTo>
                          <a:pt x="30" y="19"/>
                        </a:lnTo>
                        <a:lnTo>
                          <a:pt x="30" y="20"/>
                        </a:lnTo>
                        <a:lnTo>
                          <a:pt x="29" y="20"/>
                        </a:lnTo>
                        <a:lnTo>
                          <a:pt x="29" y="22"/>
                        </a:lnTo>
                        <a:lnTo>
                          <a:pt x="30" y="22"/>
                        </a:lnTo>
                        <a:lnTo>
                          <a:pt x="30" y="24"/>
                        </a:lnTo>
                        <a:lnTo>
                          <a:pt x="30" y="25"/>
                        </a:lnTo>
                        <a:lnTo>
                          <a:pt x="29" y="25"/>
                        </a:lnTo>
                        <a:lnTo>
                          <a:pt x="27" y="25"/>
                        </a:lnTo>
                        <a:lnTo>
                          <a:pt x="27" y="24"/>
                        </a:lnTo>
                        <a:lnTo>
                          <a:pt x="25" y="24"/>
                        </a:lnTo>
                        <a:lnTo>
                          <a:pt x="24" y="24"/>
                        </a:lnTo>
                        <a:lnTo>
                          <a:pt x="24" y="22"/>
                        </a:lnTo>
                        <a:lnTo>
                          <a:pt x="24" y="20"/>
                        </a:lnTo>
                        <a:lnTo>
                          <a:pt x="24" y="19"/>
                        </a:lnTo>
                        <a:lnTo>
                          <a:pt x="24" y="17"/>
                        </a:lnTo>
                        <a:lnTo>
                          <a:pt x="25" y="17"/>
                        </a:lnTo>
                        <a:lnTo>
                          <a:pt x="27" y="17"/>
                        </a:lnTo>
                        <a:lnTo>
                          <a:pt x="27" y="15"/>
                        </a:lnTo>
                        <a:lnTo>
                          <a:pt x="25" y="15"/>
                        </a:lnTo>
                        <a:lnTo>
                          <a:pt x="25" y="14"/>
                        </a:lnTo>
                        <a:lnTo>
                          <a:pt x="24" y="14"/>
                        </a:lnTo>
                        <a:lnTo>
                          <a:pt x="24" y="12"/>
                        </a:lnTo>
                        <a:lnTo>
                          <a:pt x="22" y="14"/>
                        </a:lnTo>
                        <a:lnTo>
                          <a:pt x="18" y="17"/>
                        </a:lnTo>
                        <a:lnTo>
                          <a:pt x="18" y="22"/>
                        </a:lnTo>
                        <a:lnTo>
                          <a:pt x="17" y="25"/>
                        </a:lnTo>
                        <a:lnTo>
                          <a:pt x="15" y="29"/>
                        </a:lnTo>
                        <a:lnTo>
                          <a:pt x="13" y="29"/>
                        </a:lnTo>
                        <a:lnTo>
                          <a:pt x="13" y="31"/>
                        </a:lnTo>
                        <a:lnTo>
                          <a:pt x="12" y="31"/>
                        </a:lnTo>
                        <a:lnTo>
                          <a:pt x="12" y="32"/>
                        </a:lnTo>
                        <a:lnTo>
                          <a:pt x="10" y="32"/>
                        </a:lnTo>
                        <a:lnTo>
                          <a:pt x="10" y="36"/>
                        </a:lnTo>
                        <a:lnTo>
                          <a:pt x="12" y="36"/>
                        </a:lnTo>
                        <a:lnTo>
                          <a:pt x="15" y="37"/>
                        </a:lnTo>
                        <a:lnTo>
                          <a:pt x="17" y="37"/>
                        </a:lnTo>
                        <a:lnTo>
                          <a:pt x="18" y="37"/>
                        </a:lnTo>
                        <a:lnTo>
                          <a:pt x="20" y="36"/>
                        </a:lnTo>
                        <a:lnTo>
                          <a:pt x="22" y="37"/>
                        </a:lnTo>
                        <a:lnTo>
                          <a:pt x="20" y="37"/>
                        </a:lnTo>
                        <a:lnTo>
                          <a:pt x="15" y="39"/>
                        </a:lnTo>
                        <a:lnTo>
                          <a:pt x="12" y="41"/>
                        </a:lnTo>
                        <a:lnTo>
                          <a:pt x="8" y="41"/>
                        </a:lnTo>
                        <a:lnTo>
                          <a:pt x="7" y="41"/>
                        </a:lnTo>
                        <a:lnTo>
                          <a:pt x="5" y="42"/>
                        </a:lnTo>
                        <a:lnTo>
                          <a:pt x="7" y="44"/>
                        </a:lnTo>
                        <a:lnTo>
                          <a:pt x="10" y="44"/>
                        </a:lnTo>
                        <a:lnTo>
                          <a:pt x="12" y="44"/>
                        </a:lnTo>
                        <a:lnTo>
                          <a:pt x="13" y="44"/>
                        </a:lnTo>
                        <a:lnTo>
                          <a:pt x="12" y="44"/>
                        </a:lnTo>
                        <a:lnTo>
                          <a:pt x="8" y="44"/>
                        </a:lnTo>
                        <a:lnTo>
                          <a:pt x="5" y="46"/>
                        </a:lnTo>
                        <a:lnTo>
                          <a:pt x="3" y="44"/>
                        </a:lnTo>
                        <a:lnTo>
                          <a:pt x="0" y="44"/>
                        </a:lnTo>
                        <a:lnTo>
                          <a:pt x="2" y="46"/>
                        </a:lnTo>
                        <a:lnTo>
                          <a:pt x="5" y="47"/>
                        </a:lnTo>
                        <a:lnTo>
                          <a:pt x="7" y="47"/>
                        </a:lnTo>
                        <a:lnTo>
                          <a:pt x="10" y="46"/>
                        </a:lnTo>
                        <a:lnTo>
                          <a:pt x="15" y="44"/>
                        </a:lnTo>
                        <a:lnTo>
                          <a:pt x="18" y="42"/>
                        </a:lnTo>
                        <a:lnTo>
                          <a:pt x="22" y="42"/>
                        </a:lnTo>
                        <a:lnTo>
                          <a:pt x="24" y="44"/>
                        </a:lnTo>
                        <a:lnTo>
                          <a:pt x="25" y="44"/>
                        </a:lnTo>
                        <a:lnTo>
                          <a:pt x="25" y="46"/>
                        </a:lnTo>
                        <a:lnTo>
                          <a:pt x="27" y="46"/>
                        </a:lnTo>
                        <a:lnTo>
                          <a:pt x="30" y="47"/>
                        </a:lnTo>
                        <a:lnTo>
                          <a:pt x="32" y="47"/>
                        </a:lnTo>
                        <a:lnTo>
                          <a:pt x="34" y="51"/>
                        </a:lnTo>
                        <a:lnTo>
                          <a:pt x="32" y="52"/>
                        </a:lnTo>
                        <a:lnTo>
                          <a:pt x="34" y="56"/>
                        </a:lnTo>
                        <a:lnTo>
                          <a:pt x="35" y="58"/>
                        </a:lnTo>
                        <a:lnTo>
                          <a:pt x="39" y="58"/>
                        </a:lnTo>
                        <a:lnTo>
                          <a:pt x="39" y="56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69" name="Freeform 243">
                    <a:extLst>
                      <a:ext uri="{FF2B5EF4-FFF2-40B4-BE49-F238E27FC236}">
                        <a16:creationId xmlns:a16="http://schemas.microsoft.com/office/drawing/2014/main" id="{679E3A59-5A79-9B48-BB38-8BEDDE46B93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16" y="431"/>
                    <a:ext cx="56" cy="58"/>
                  </a:xfrm>
                  <a:custGeom>
                    <a:avLst/>
                    <a:gdLst>
                      <a:gd name="T0" fmla="*/ 37 w 56"/>
                      <a:gd name="T1" fmla="*/ 51 h 58"/>
                      <a:gd name="T2" fmla="*/ 39 w 56"/>
                      <a:gd name="T3" fmla="*/ 46 h 58"/>
                      <a:gd name="T4" fmla="*/ 39 w 56"/>
                      <a:gd name="T5" fmla="*/ 39 h 58"/>
                      <a:gd name="T6" fmla="*/ 40 w 56"/>
                      <a:gd name="T7" fmla="*/ 32 h 58"/>
                      <a:gd name="T8" fmla="*/ 49 w 56"/>
                      <a:gd name="T9" fmla="*/ 31 h 58"/>
                      <a:gd name="T10" fmla="*/ 54 w 56"/>
                      <a:gd name="T11" fmla="*/ 24 h 58"/>
                      <a:gd name="T12" fmla="*/ 49 w 56"/>
                      <a:gd name="T13" fmla="*/ 20 h 58"/>
                      <a:gd name="T14" fmla="*/ 54 w 56"/>
                      <a:gd name="T15" fmla="*/ 12 h 58"/>
                      <a:gd name="T16" fmla="*/ 56 w 56"/>
                      <a:gd name="T17" fmla="*/ 5 h 58"/>
                      <a:gd name="T18" fmla="*/ 54 w 56"/>
                      <a:gd name="T19" fmla="*/ 2 h 58"/>
                      <a:gd name="T20" fmla="*/ 51 w 56"/>
                      <a:gd name="T21" fmla="*/ 0 h 58"/>
                      <a:gd name="T22" fmla="*/ 45 w 56"/>
                      <a:gd name="T23" fmla="*/ 2 h 58"/>
                      <a:gd name="T24" fmla="*/ 40 w 56"/>
                      <a:gd name="T25" fmla="*/ 2 h 58"/>
                      <a:gd name="T26" fmla="*/ 35 w 56"/>
                      <a:gd name="T27" fmla="*/ 2 h 58"/>
                      <a:gd name="T28" fmla="*/ 32 w 56"/>
                      <a:gd name="T29" fmla="*/ 4 h 58"/>
                      <a:gd name="T30" fmla="*/ 30 w 56"/>
                      <a:gd name="T31" fmla="*/ 7 h 58"/>
                      <a:gd name="T32" fmla="*/ 29 w 56"/>
                      <a:gd name="T33" fmla="*/ 10 h 58"/>
                      <a:gd name="T34" fmla="*/ 30 w 56"/>
                      <a:gd name="T35" fmla="*/ 12 h 58"/>
                      <a:gd name="T36" fmla="*/ 32 w 56"/>
                      <a:gd name="T37" fmla="*/ 15 h 58"/>
                      <a:gd name="T38" fmla="*/ 30 w 56"/>
                      <a:gd name="T39" fmla="*/ 19 h 58"/>
                      <a:gd name="T40" fmla="*/ 29 w 56"/>
                      <a:gd name="T41" fmla="*/ 22 h 58"/>
                      <a:gd name="T42" fmla="*/ 30 w 56"/>
                      <a:gd name="T43" fmla="*/ 25 h 58"/>
                      <a:gd name="T44" fmla="*/ 27 w 56"/>
                      <a:gd name="T45" fmla="*/ 24 h 58"/>
                      <a:gd name="T46" fmla="*/ 24 w 56"/>
                      <a:gd name="T47" fmla="*/ 22 h 58"/>
                      <a:gd name="T48" fmla="*/ 24 w 56"/>
                      <a:gd name="T49" fmla="*/ 17 h 58"/>
                      <a:gd name="T50" fmla="*/ 27 w 56"/>
                      <a:gd name="T51" fmla="*/ 15 h 58"/>
                      <a:gd name="T52" fmla="*/ 24 w 56"/>
                      <a:gd name="T53" fmla="*/ 14 h 58"/>
                      <a:gd name="T54" fmla="*/ 18 w 56"/>
                      <a:gd name="T55" fmla="*/ 17 h 58"/>
                      <a:gd name="T56" fmla="*/ 15 w 56"/>
                      <a:gd name="T57" fmla="*/ 29 h 58"/>
                      <a:gd name="T58" fmla="*/ 12 w 56"/>
                      <a:gd name="T59" fmla="*/ 31 h 58"/>
                      <a:gd name="T60" fmla="*/ 10 w 56"/>
                      <a:gd name="T61" fmla="*/ 36 h 58"/>
                      <a:gd name="T62" fmla="*/ 17 w 56"/>
                      <a:gd name="T63" fmla="*/ 37 h 58"/>
                      <a:gd name="T64" fmla="*/ 22 w 56"/>
                      <a:gd name="T65" fmla="*/ 37 h 58"/>
                      <a:gd name="T66" fmla="*/ 12 w 56"/>
                      <a:gd name="T67" fmla="*/ 41 h 58"/>
                      <a:gd name="T68" fmla="*/ 5 w 56"/>
                      <a:gd name="T69" fmla="*/ 42 h 58"/>
                      <a:gd name="T70" fmla="*/ 12 w 56"/>
                      <a:gd name="T71" fmla="*/ 44 h 58"/>
                      <a:gd name="T72" fmla="*/ 8 w 56"/>
                      <a:gd name="T73" fmla="*/ 44 h 58"/>
                      <a:gd name="T74" fmla="*/ 0 w 56"/>
                      <a:gd name="T75" fmla="*/ 44 h 58"/>
                      <a:gd name="T76" fmla="*/ 7 w 56"/>
                      <a:gd name="T77" fmla="*/ 47 h 58"/>
                      <a:gd name="T78" fmla="*/ 18 w 56"/>
                      <a:gd name="T79" fmla="*/ 42 h 58"/>
                      <a:gd name="T80" fmla="*/ 25 w 56"/>
                      <a:gd name="T81" fmla="*/ 44 h 58"/>
                      <a:gd name="T82" fmla="*/ 30 w 56"/>
                      <a:gd name="T83" fmla="*/ 47 h 58"/>
                      <a:gd name="T84" fmla="*/ 32 w 56"/>
                      <a:gd name="T85" fmla="*/ 52 h 58"/>
                      <a:gd name="T86" fmla="*/ 39 w 56"/>
                      <a:gd name="T87" fmla="*/ 58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</a:cxnLst>
                    <a:rect l="0" t="0" r="r" b="b"/>
                    <a:pathLst>
                      <a:path w="56" h="58">
                        <a:moveTo>
                          <a:pt x="39" y="56"/>
                        </a:moveTo>
                        <a:lnTo>
                          <a:pt x="39" y="54"/>
                        </a:lnTo>
                        <a:lnTo>
                          <a:pt x="37" y="51"/>
                        </a:lnTo>
                        <a:lnTo>
                          <a:pt x="37" y="49"/>
                        </a:lnTo>
                        <a:lnTo>
                          <a:pt x="39" y="47"/>
                        </a:lnTo>
                        <a:lnTo>
                          <a:pt x="39" y="46"/>
                        </a:lnTo>
                        <a:lnTo>
                          <a:pt x="39" y="44"/>
                        </a:lnTo>
                        <a:lnTo>
                          <a:pt x="39" y="41"/>
                        </a:lnTo>
                        <a:lnTo>
                          <a:pt x="39" y="39"/>
                        </a:lnTo>
                        <a:lnTo>
                          <a:pt x="39" y="34"/>
                        </a:lnTo>
                        <a:lnTo>
                          <a:pt x="39" y="32"/>
                        </a:lnTo>
                        <a:lnTo>
                          <a:pt x="40" y="32"/>
                        </a:lnTo>
                        <a:lnTo>
                          <a:pt x="45" y="34"/>
                        </a:lnTo>
                        <a:lnTo>
                          <a:pt x="47" y="34"/>
                        </a:lnTo>
                        <a:lnTo>
                          <a:pt x="49" y="31"/>
                        </a:lnTo>
                        <a:lnTo>
                          <a:pt x="49" y="29"/>
                        </a:lnTo>
                        <a:lnTo>
                          <a:pt x="52" y="27"/>
                        </a:lnTo>
                        <a:lnTo>
                          <a:pt x="54" y="24"/>
                        </a:lnTo>
                        <a:lnTo>
                          <a:pt x="54" y="22"/>
                        </a:lnTo>
                        <a:lnTo>
                          <a:pt x="52" y="20"/>
                        </a:lnTo>
                        <a:lnTo>
                          <a:pt x="49" y="20"/>
                        </a:lnTo>
                        <a:lnTo>
                          <a:pt x="49" y="17"/>
                        </a:lnTo>
                        <a:lnTo>
                          <a:pt x="52" y="15"/>
                        </a:lnTo>
                        <a:lnTo>
                          <a:pt x="54" y="12"/>
                        </a:lnTo>
                        <a:lnTo>
                          <a:pt x="54" y="10"/>
                        </a:lnTo>
                        <a:lnTo>
                          <a:pt x="54" y="7"/>
                        </a:lnTo>
                        <a:lnTo>
                          <a:pt x="56" y="5"/>
                        </a:lnTo>
                        <a:lnTo>
                          <a:pt x="56" y="4"/>
                        </a:lnTo>
                        <a:lnTo>
                          <a:pt x="54" y="4"/>
                        </a:lnTo>
                        <a:lnTo>
                          <a:pt x="54" y="2"/>
                        </a:lnTo>
                        <a:lnTo>
                          <a:pt x="52" y="2"/>
                        </a:lnTo>
                        <a:lnTo>
                          <a:pt x="51" y="2"/>
                        </a:lnTo>
                        <a:lnTo>
                          <a:pt x="51" y="0"/>
                        </a:lnTo>
                        <a:lnTo>
                          <a:pt x="49" y="0"/>
                        </a:lnTo>
                        <a:lnTo>
                          <a:pt x="47" y="0"/>
                        </a:lnTo>
                        <a:lnTo>
                          <a:pt x="45" y="2"/>
                        </a:lnTo>
                        <a:lnTo>
                          <a:pt x="44" y="2"/>
                        </a:lnTo>
                        <a:lnTo>
                          <a:pt x="42" y="2"/>
                        </a:lnTo>
                        <a:lnTo>
                          <a:pt x="40" y="2"/>
                        </a:lnTo>
                        <a:lnTo>
                          <a:pt x="39" y="2"/>
                        </a:lnTo>
                        <a:lnTo>
                          <a:pt x="37" y="2"/>
                        </a:lnTo>
                        <a:lnTo>
                          <a:pt x="35" y="2"/>
                        </a:lnTo>
                        <a:lnTo>
                          <a:pt x="35" y="4"/>
                        </a:lnTo>
                        <a:lnTo>
                          <a:pt x="34" y="4"/>
                        </a:lnTo>
                        <a:lnTo>
                          <a:pt x="32" y="4"/>
                        </a:lnTo>
                        <a:lnTo>
                          <a:pt x="32" y="5"/>
                        </a:lnTo>
                        <a:lnTo>
                          <a:pt x="30" y="5"/>
                        </a:lnTo>
                        <a:lnTo>
                          <a:pt x="30" y="7"/>
                        </a:lnTo>
                        <a:lnTo>
                          <a:pt x="29" y="7"/>
                        </a:lnTo>
                        <a:lnTo>
                          <a:pt x="29" y="9"/>
                        </a:lnTo>
                        <a:lnTo>
                          <a:pt x="29" y="10"/>
                        </a:lnTo>
                        <a:lnTo>
                          <a:pt x="30" y="10"/>
                        </a:lnTo>
                        <a:lnTo>
                          <a:pt x="29" y="10"/>
                        </a:lnTo>
                        <a:lnTo>
                          <a:pt x="30" y="12"/>
                        </a:lnTo>
                        <a:lnTo>
                          <a:pt x="32" y="12"/>
                        </a:lnTo>
                        <a:lnTo>
                          <a:pt x="32" y="14"/>
                        </a:lnTo>
                        <a:lnTo>
                          <a:pt x="32" y="15"/>
                        </a:lnTo>
                        <a:lnTo>
                          <a:pt x="32" y="17"/>
                        </a:lnTo>
                        <a:lnTo>
                          <a:pt x="30" y="17"/>
                        </a:lnTo>
                        <a:lnTo>
                          <a:pt x="30" y="19"/>
                        </a:lnTo>
                        <a:lnTo>
                          <a:pt x="30" y="20"/>
                        </a:lnTo>
                        <a:lnTo>
                          <a:pt x="29" y="20"/>
                        </a:lnTo>
                        <a:lnTo>
                          <a:pt x="29" y="22"/>
                        </a:lnTo>
                        <a:lnTo>
                          <a:pt x="30" y="22"/>
                        </a:lnTo>
                        <a:lnTo>
                          <a:pt x="30" y="24"/>
                        </a:lnTo>
                        <a:lnTo>
                          <a:pt x="30" y="25"/>
                        </a:lnTo>
                        <a:lnTo>
                          <a:pt x="29" y="25"/>
                        </a:lnTo>
                        <a:lnTo>
                          <a:pt x="27" y="25"/>
                        </a:lnTo>
                        <a:lnTo>
                          <a:pt x="27" y="24"/>
                        </a:lnTo>
                        <a:lnTo>
                          <a:pt x="25" y="24"/>
                        </a:lnTo>
                        <a:lnTo>
                          <a:pt x="24" y="24"/>
                        </a:lnTo>
                        <a:lnTo>
                          <a:pt x="24" y="22"/>
                        </a:lnTo>
                        <a:lnTo>
                          <a:pt x="24" y="20"/>
                        </a:lnTo>
                        <a:lnTo>
                          <a:pt x="24" y="19"/>
                        </a:lnTo>
                        <a:lnTo>
                          <a:pt x="24" y="17"/>
                        </a:lnTo>
                        <a:lnTo>
                          <a:pt x="25" y="17"/>
                        </a:lnTo>
                        <a:lnTo>
                          <a:pt x="27" y="17"/>
                        </a:lnTo>
                        <a:lnTo>
                          <a:pt x="27" y="15"/>
                        </a:lnTo>
                        <a:lnTo>
                          <a:pt x="25" y="15"/>
                        </a:lnTo>
                        <a:lnTo>
                          <a:pt x="25" y="14"/>
                        </a:lnTo>
                        <a:lnTo>
                          <a:pt x="24" y="14"/>
                        </a:lnTo>
                        <a:lnTo>
                          <a:pt x="24" y="12"/>
                        </a:lnTo>
                        <a:lnTo>
                          <a:pt x="22" y="14"/>
                        </a:lnTo>
                        <a:lnTo>
                          <a:pt x="18" y="17"/>
                        </a:lnTo>
                        <a:lnTo>
                          <a:pt x="18" y="22"/>
                        </a:lnTo>
                        <a:lnTo>
                          <a:pt x="17" y="25"/>
                        </a:lnTo>
                        <a:lnTo>
                          <a:pt x="15" y="29"/>
                        </a:lnTo>
                        <a:lnTo>
                          <a:pt x="13" y="29"/>
                        </a:lnTo>
                        <a:lnTo>
                          <a:pt x="13" y="31"/>
                        </a:lnTo>
                        <a:lnTo>
                          <a:pt x="12" y="31"/>
                        </a:lnTo>
                        <a:lnTo>
                          <a:pt x="12" y="32"/>
                        </a:lnTo>
                        <a:lnTo>
                          <a:pt x="10" y="32"/>
                        </a:lnTo>
                        <a:lnTo>
                          <a:pt x="10" y="36"/>
                        </a:lnTo>
                        <a:lnTo>
                          <a:pt x="12" y="36"/>
                        </a:lnTo>
                        <a:lnTo>
                          <a:pt x="15" y="37"/>
                        </a:lnTo>
                        <a:lnTo>
                          <a:pt x="17" y="37"/>
                        </a:lnTo>
                        <a:lnTo>
                          <a:pt x="18" y="37"/>
                        </a:lnTo>
                        <a:lnTo>
                          <a:pt x="20" y="36"/>
                        </a:lnTo>
                        <a:lnTo>
                          <a:pt x="22" y="37"/>
                        </a:lnTo>
                        <a:lnTo>
                          <a:pt x="20" y="37"/>
                        </a:lnTo>
                        <a:lnTo>
                          <a:pt x="15" y="39"/>
                        </a:lnTo>
                        <a:lnTo>
                          <a:pt x="12" y="41"/>
                        </a:lnTo>
                        <a:lnTo>
                          <a:pt x="8" y="41"/>
                        </a:lnTo>
                        <a:lnTo>
                          <a:pt x="7" y="41"/>
                        </a:lnTo>
                        <a:lnTo>
                          <a:pt x="5" y="42"/>
                        </a:lnTo>
                        <a:lnTo>
                          <a:pt x="7" y="44"/>
                        </a:lnTo>
                        <a:lnTo>
                          <a:pt x="10" y="44"/>
                        </a:lnTo>
                        <a:lnTo>
                          <a:pt x="12" y="44"/>
                        </a:lnTo>
                        <a:lnTo>
                          <a:pt x="13" y="44"/>
                        </a:lnTo>
                        <a:lnTo>
                          <a:pt x="12" y="44"/>
                        </a:lnTo>
                        <a:lnTo>
                          <a:pt x="8" y="44"/>
                        </a:lnTo>
                        <a:lnTo>
                          <a:pt x="5" y="46"/>
                        </a:lnTo>
                        <a:lnTo>
                          <a:pt x="3" y="44"/>
                        </a:lnTo>
                        <a:lnTo>
                          <a:pt x="0" y="44"/>
                        </a:lnTo>
                        <a:lnTo>
                          <a:pt x="2" y="46"/>
                        </a:lnTo>
                        <a:lnTo>
                          <a:pt x="5" y="47"/>
                        </a:lnTo>
                        <a:lnTo>
                          <a:pt x="7" y="47"/>
                        </a:lnTo>
                        <a:lnTo>
                          <a:pt x="10" y="46"/>
                        </a:lnTo>
                        <a:lnTo>
                          <a:pt x="15" y="44"/>
                        </a:lnTo>
                        <a:lnTo>
                          <a:pt x="18" y="42"/>
                        </a:lnTo>
                        <a:lnTo>
                          <a:pt x="22" y="42"/>
                        </a:lnTo>
                        <a:lnTo>
                          <a:pt x="24" y="44"/>
                        </a:lnTo>
                        <a:lnTo>
                          <a:pt x="25" y="44"/>
                        </a:lnTo>
                        <a:lnTo>
                          <a:pt x="25" y="46"/>
                        </a:lnTo>
                        <a:lnTo>
                          <a:pt x="27" y="46"/>
                        </a:lnTo>
                        <a:lnTo>
                          <a:pt x="30" y="47"/>
                        </a:lnTo>
                        <a:lnTo>
                          <a:pt x="32" y="47"/>
                        </a:lnTo>
                        <a:lnTo>
                          <a:pt x="34" y="51"/>
                        </a:lnTo>
                        <a:lnTo>
                          <a:pt x="32" y="52"/>
                        </a:lnTo>
                        <a:lnTo>
                          <a:pt x="34" y="56"/>
                        </a:lnTo>
                        <a:lnTo>
                          <a:pt x="35" y="58"/>
                        </a:lnTo>
                        <a:lnTo>
                          <a:pt x="39" y="58"/>
                        </a:lnTo>
                        <a:lnTo>
                          <a:pt x="39" y="56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59" name="Group 1858">
                  <a:extLst>
                    <a:ext uri="{FF2B5EF4-FFF2-40B4-BE49-F238E27FC236}">
                      <a16:creationId xmlns:a16="http://schemas.microsoft.com/office/drawing/2014/main" id="{804C318D-ACCA-BA49-8268-BC9BAFFAFFA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24" y="467"/>
                  <a:ext cx="5" cy="1"/>
                  <a:chOff x="224" y="467"/>
                  <a:chExt cx="5" cy="1"/>
                </a:xfrm>
              </p:grpSpPr>
              <p:sp>
                <p:nvSpPr>
                  <p:cNvPr id="1866" name="Freeform 240">
                    <a:extLst>
                      <a:ext uri="{FF2B5EF4-FFF2-40B4-BE49-F238E27FC236}">
                        <a16:creationId xmlns:a16="http://schemas.microsoft.com/office/drawing/2014/main" id="{0379EFDF-4D55-1844-874E-BC47E42E24D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24" y="467"/>
                    <a:ext cx="5" cy="1"/>
                  </a:xfrm>
                  <a:custGeom>
                    <a:avLst/>
                    <a:gdLst>
                      <a:gd name="T0" fmla="*/ 2 w 5"/>
                      <a:gd name="T1" fmla="*/ 1 h 1"/>
                      <a:gd name="T2" fmla="*/ 4 w 5"/>
                      <a:gd name="T3" fmla="*/ 1 h 1"/>
                      <a:gd name="T4" fmla="*/ 5 w 5"/>
                      <a:gd name="T5" fmla="*/ 1 h 1"/>
                      <a:gd name="T6" fmla="*/ 4 w 5"/>
                      <a:gd name="T7" fmla="*/ 1 h 1"/>
                      <a:gd name="T8" fmla="*/ 4 w 5"/>
                      <a:gd name="T9" fmla="*/ 0 h 1"/>
                      <a:gd name="T10" fmla="*/ 2 w 5"/>
                      <a:gd name="T11" fmla="*/ 0 h 1"/>
                      <a:gd name="T12" fmla="*/ 0 w 5"/>
                      <a:gd name="T13" fmla="*/ 0 h 1"/>
                      <a:gd name="T14" fmla="*/ 2 w 5"/>
                      <a:gd name="T15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" h="1">
                        <a:moveTo>
                          <a:pt x="2" y="1"/>
                        </a:moveTo>
                        <a:lnTo>
                          <a:pt x="4" y="1"/>
                        </a:lnTo>
                        <a:lnTo>
                          <a:pt x="5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2" y="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67" name="Freeform 241">
                    <a:extLst>
                      <a:ext uri="{FF2B5EF4-FFF2-40B4-BE49-F238E27FC236}">
                        <a16:creationId xmlns:a16="http://schemas.microsoft.com/office/drawing/2014/main" id="{034A9CCD-96A5-C648-B7F5-8AE906A2CEF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24" y="467"/>
                    <a:ext cx="5" cy="1"/>
                  </a:xfrm>
                  <a:custGeom>
                    <a:avLst/>
                    <a:gdLst>
                      <a:gd name="T0" fmla="*/ 2 w 5"/>
                      <a:gd name="T1" fmla="*/ 1 h 1"/>
                      <a:gd name="T2" fmla="*/ 4 w 5"/>
                      <a:gd name="T3" fmla="*/ 1 h 1"/>
                      <a:gd name="T4" fmla="*/ 5 w 5"/>
                      <a:gd name="T5" fmla="*/ 1 h 1"/>
                      <a:gd name="T6" fmla="*/ 4 w 5"/>
                      <a:gd name="T7" fmla="*/ 1 h 1"/>
                      <a:gd name="T8" fmla="*/ 4 w 5"/>
                      <a:gd name="T9" fmla="*/ 0 h 1"/>
                      <a:gd name="T10" fmla="*/ 2 w 5"/>
                      <a:gd name="T11" fmla="*/ 0 h 1"/>
                      <a:gd name="T12" fmla="*/ 0 w 5"/>
                      <a:gd name="T13" fmla="*/ 0 h 1"/>
                      <a:gd name="T14" fmla="*/ 2 w 5"/>
                      <a:gd name="T15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" h="1">
                        <a:moveTo>
                          <a:pt x="2" y="1"/>
                        </a:moveTo>
                        <a:lnTo>
                          <a:pt x="4" y="1"/>
                        </a:lnTo>
                        <a:lnTo>
                          <a:pt x="5" y="1"/>
                        </a:lnTo>
                        <a:lnTo>
                          <a:pt x="4" y="1"/>
                        </a:lnTo>
                        <a:lnTo>
                          <a:pt x="4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2" y="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60" name="Group 1859">
                  <a:extLst>
                    <a:ext uri="{FF2B5EF4-FFF2-40B4-BE49-F238E27FC236}">
                      <a16:creationId xmlns:a16="http://schemas.microsoft.com/office/drawing/2014/main" id="{DFB7EAEE-CA93-334E-9FB7-F8217F8A122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21" y="468"/>
                  <a:ext cx="3" cy="2"/>
                  <a:chOff x="221" y="468"/>
                  <a:chExt cx="3" cy="2"/>
                </a:xfrm>
              </p:grpSpPr>
              <p:sp>
                <p:nvSpPr>
                  <p:cNvPr id="1864" name="Freeform 238">
                    <a:extLst>
                      <a:ext uri="{FF2B5EF4-FFF2-40B4-BE49-F238E27FC236}">
                        <a16:creationId xmlns:a16="http://schemas.microsoft.com/office/drawing/2014/main" id="{4634A3FE-E6E4-F143-822D-6B7D8321BB6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21" y="468"/>
                    <a:ext cx="3" cy="2"/>
                  </a:xfrm>
                  <a:custGeom>
                    <a:avLst/>
                    <a:gdLst>
                      <a:gd name="T0" fmla="*/ 2 w 3"/>
                      <a:gd name="T1" fmla="*/ 0 h 2"/>
                      <a:gd name="T2" fmla="*/ 3 w 3"/>
                      <a:gd name="T3" fmla="*/ 2 h 2"/>
                      <a:gd name="T4" fmla="*/ 3 w 3"/>
                      <a:gd name="T5" fmla="*/ 0 h 2"/>
                      <a:gd name="T6" fmla="*/ 2 w 3"/>
                      <a:gd name="T7" fmla="*/ 0 h 2"/>
                      <a:gd name="T8" fmla="*/ 0 w 3"/>
                      <a:gd name="T9" fmla="*/ 0 h 2"/>
                      <a:gd name="T10" fmla="*/ 2 w 3"/>
                      <a:gd name="T11" fmla="*/ 0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3" h="2">
                        <a:moveTo>
                          <a:pt x="2" y="0"/>
                        </a:moveTo>
                        <a:lnTo>
                          <a:pt x="3" y="2"/>
                        </a:ln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65" name="Freeform 239">
                    <a:extLst>
                      <a:ext uri="{FF2B5EF4-FFF2-40B4-BE49-F238E27FC236}">
                        <a16:creationId xmlns:a16="http://schemas.microsoft.com/office/drawing/2014/main" id="{88114ADA-EF8C-304F-A4AD-9CE8901CE69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21" y="468"/>
                    <a:ext cx="3" cy="2"/>
                  </a:xfrm>
                  <a:custGeom>
                    <a:avLst/>
                    <a:gdLst>
                      <a:gd name="T0" fmla="*/ 2 w 3"/>
                      <a:gd name="T1" fmla="*/ 0 h 2"/>
                      <a:gd name="T2" fmla="*/ 3 w 3"/>
                      <a:gd name="T3" fmla="*/ 2 h 2"/>
                      <a:gd name="T4" fmla="*/ 3 w 3"/>
                      <a:gd name="T5" fmla="*/ 0 h 2"/>
                      <a:gd name="T6" fmla="*/ 2 w 3"/>
                      <a:gd name="T7" fmla="*/ 0 h 2"/>
                      <a:gd name="T8" fmla="*/ 0 w 3"/>
                      <a:gd name="T9" fmla="*/ 0 h 2"/>
                      <a:gd name="T10" fmla="*/ 2 w 3"/>
                      <a:gd name="T11" fmla="*/ 0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3" h="2">
                        <a:moveTo>
                          <a:pt x="2" y="0"/>
                        </a:moveTo>
                        <a:lnTo>
                          <a:pt x="3" y="2"/>
                        </a:ln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61" name="Group 1860">
                  <a:extLst>
                    <a:ext uri="{FF2B5EF4-FFF2-40B4-BE49-F238E27FC236}">
                      <a16:creationId xmlns:a16="http://schemas.microsoft.com/office/drawing/2014/main" id="{3A6C598A-0AA3-CF4A-A551-7ED50435E490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18" y="472"/>
                  <a:ext cx="1" cy="1"/>
                  <a:chOff x="218" y="472"/>
                  <a:chExt cx="1" cy="1"/>
                </a:xfrm>
              </p:grpSpPr>
              <p:sp>
                <p:nvSpPr>
                  <p:cNvPr id="1862" name="Rectangle 1861">
                    <a:extLst>
                      <a:ext uri="{FF2B5EF4-FFF2-40B4-BE49-F238E27FC236}">
                        <a16:creationId xmlns:a16="http://schemas.microsoft.com/office/drawing/2014/main" id="{C0C5270C-D0D2-EC43-8C6C-980FD2EF35F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18" y="472"/>
                    <a:ext cx="1" cy="1"/>
                  </a:xfrm>
                  <a:prstGeom prst="rect">
                    <a:avLst/>
                  </a:pr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63" name="Rectangle 1862">
                    <a:extLst>
                      <a:ext uri="{FF2B5EF4-FFF2-40B4-BE49-F238E27FC236}">
                        <a16:creationId xmlns:a16="http://schemas.microsoft.com/office/drawing/2014/main" id="{1C1A40CA-FE3F-1848-AA4A-B031DA13838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18" y="472"/>
                    <a:ext cx="1" cy="1"/>
                  </a:xfrm>
                  <a:prstGeom prst="rect">
                    <a:avLst/>
                  </a:pr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661" name="Group 1660">
                <a:extLst>
                  <a:ext uri="{FF2B5EF4-FFF2-40B4-BE49-F238E27FC236}">
                    <a16:creationId xmlns:a16="http://schemas.microsoft.com/office/drawing/2014/main" id="{994BA7A0-31A6-6B47-922B-08833FC2171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34" y="0"/>
                <a:ext cx="412" cy="332"/>
                <a:chOff x="234" y="0"/>
                <a:chExt cx="412" cy="332"/>
              </a:xfrm>
            </p:grpSpPr>
            <p:grpSp>
              <p:nvGrpSpPr>
                <p:cNvPr id="1791" name="Group 1790">
                  <a:extLst>
                    <a:ext uri="{FF2B5EF4-FFF2-40B4-BE49-F238E27FC236}">
                      <a16:creationId xmlns:a16="http://schemas.microsoft.com/office/drawing/2014/main" id="{FDD6512C-93B0-D64B-9D81-60AFFDAC2DA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40" y="1"/>
                  <a:ext cx="406" cy="331"/>
                  <a:chOff x="240" y="1"/>
                  <a:chExt cx="406" cy="331"/>
                </a:xfrm>
              </p:grpSpPr>
              <p:sp>
                <p:nvSpPr>
                  <p:cNvPr id="1855" name="Freeform 229">
                    <a:extLst>
                      <a:ext uri="{FF2B5EF4-FFF2-40B4-BE49-F238E27FC236}">
                        <a16:creationId xmlns:a16="http://schemas.microsoft.com/office/drawing/2014/main" id="{7CC9E4C5-D8E1-CD4C-B4A6-2BE03E64DE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0" y="1"/>
                    <a:ext cx="406" cy="331"/>
                  </a:xfrm>
                  <a:custGeom>
                    <a:avLst/>
                    <a:gdLst>
                      <a:gd name="T0" fmla="*/ 114 w 406"/>
                      <a:gd name="T1" fmla="*/ 273 h 331"/>
                      <a:gd name="T2" fmla="*/ 107 w 406"/>
                      <a:gd name="T3" fmla="*/ 223 h 331"/>
                      <a:gd name="T4" fmla="*/ 138 w 406"/>
                      <a:gd name="T5" fmla="*/ 187 h 331"/>
                      <a:gd name="T6" fmla="*/ 156 w 406"/>
                      <a:gd name="T7" fmla="*/ 133 h 331"/>
                      <a:gd name="T8" fmla="*/ 180 w 406"/>
                      <a:gd name="T9" fmla="*/ 91 h 331"/>
                      <a:gd name="T10" fmla="*/ 212 w 406"/>
                      <a:gd name="T11" fmla="*/ 71 h 331"/>
                      <a:gd name="T12" fmla="*/ 236 w 406"/>
                      <a:gd name="T13" fmla="*/ 59 h 331"/>
                      <a:gd name="T14" fmla="*/ 263 w 406"/>
                      <a:gd name="T15" fmla="*/ 54 h 331"/>
                      <a:gd name="T16" fmla="*/ 310 w 406"/>
                      <a:gd name="T17" fmla="*/ 66 h 331"/>
                      <a:gd name="T18" fmla="*/ 342 w 406"/>
                      <a:gd name="T19" fmla="*/ 32 h 331"/>
                      <a:gd name="T20" fmla="*/ 379 w 406"/>
                      <a:gd name="T21" fmla="*/ 47 h 331"/>
                      <a:gd name="T22" fmla="*/ 387 w 406"/>
                      <a:gd name="T23" fmla="*/ 47 h 331"/>
                      <a:gd name="T24" fmla="*/ 403 w 406"/>
                      <a:gd name="T25" fmla="*/ 41 h 331"/>
                      <a:gd name="T26" fmla="*/ 387 w 406"/>
                      <a:gd name="T27" fmla="*/ 39 h 331"/>
                      <a:gd name="T28" fmla="*/ 376 w 406"/>
                      <a:gd name="T29" fmla="*/ 27 h 331"/>
                      <a:gd name="T30" fmla="*/ 392 w 406"/>
                      <a:gd name="T31" fmla="*/ 15 h 331"/>
                      <a:gd name="T32" fmla="*/ 372 w 406"/>
                      <a:gd name="T33" fmla="*/ 7 h 331"/>
                      <a:gd name="T34" fmla="*/ 355 w 406"/>
                      <a:gd name="T35" fmla="*/ 9 h 331"/>
                      <a:gd name="T36" fmla="*/ 345 w 406"/>
                      <a:gd name="T37" fmla="*/ 14 h 331"/>
                      <a:gd name="T38" fmla="*/ 330 w 406"/>
                      <a:gd name="T39" fmla="*/ 9 h 331"/>
                      <a:gd name="T40" fmla="*/ 313 w 406"/>
                      <a:gd name="T41" fmla="*/ 22 h 331"/>
                      <a:gd name="T42" fmla="*/ 311 w 406"/>
                      <a:gd name="T43" fmla="*/ 4 h 331"/>
                      <a:gd name="T44" fmla="*/ 288 w 406"/>
                      <a:gd name="T45" fmla="*/ 22 h 331"/>
                      <a:gd name="T46" fmla="*/ 269 w 406"/>
                      <a:gd name="T47" fmla="*/ 27 h 331"/>
                      <a:gd name="T48" fmla="*/ 264 w 406"/>
                      <a:gd name="T49" fmla="*/ 31 h 331"/>
                      <a:gd name="T50" fmla="*/ 246 w 406"/>
                      <a:gd name="T51" fmla="*/ 34 h 331"/>
                      <a:gd name="T52" fmla="*/ 232 w 406"/>
                      <a:gd name="T53" fmla="*/ 36 h 331"/>
                      <a:gd name="T54" fmla="*/ 225 w 406"/>
                      <a:gd name="T55" fmla="*/ 51 h 331"/>
                      <a:gd name="T56" fmla="*/ 209 w 406"/>
                      <a:gd name="T57" fmla="*/ 49 h 331"/>
                      <a:gd name="T58" fmla="*/ 197 w 406"/>
                      <a:gd name="T59" fmla="*/ 61 h 331"/>
                      <a:gd name="T60" fmla="*/ 188 w 406"/>
                      <a:gd name="T61" fmla="*/ 71 h 331"/>
                      <a:gd name="T62" fmla="*/ 177 w 406"/>
                      <a:gd name="T63" fmla="*/ 81 h 331"/>
                      <a:gd name="T64" fmla="*/ 161 w 406"/>
                      <a:gd name="T65" fmla="*/ 88 h 331"/>
                      <a:gd name="T66" fmla="*/ 155 w 406"/>
                      <a:gd name="T67" fmla="*/ 98 h 331"/>
                      <a:gd name="T68" fmla="*/ 136 w 406"/>
                      <a:gd name="T69" fmla="*/ 117 h 331"/>
                      <a:gd name="T70" fmla="*/ 124 w 406"/>
                      <a:gd name="T71" fmla="*/ 132 h 331"/>
                      <a:gd name="T72" fmla="*/ 119 w 406"/>
                      <a:gd name="T73" fmla="*/ 144 h 331"/>
                      <a:gd name="T74" fmla="*/ 111 w 406"/>
                      <a:gd name="T75" fmla="*/ 155 h 331"/>
                      <a:gd name="T76" fmla="*/ 97 w 406"/>
                      <a:gd name="T77" fmla="*/ 169 h 331"/>
                      <a:gd name="T78" fmla="*/ 84 w 406"/>
                      <a:gd name="T79" fmla="*/ 181 h 331"/>
                      <a:gd name="T80" fmla="*/ 84 w 406"/>
                      <a:gd name="T81" fmla="*/ 198 h 331"/>
                      <a:gd name="T82" fmla="*/ 80 w 406"/>
                      <a:gd name="T83" fmla="*/ 201 h 331"/>
                      <a:gd name="T84" fmla="*/ 64 w 406"/>
                      <a:gd name="T85" fmla="*/ 203 h 331"/>
                      <a:gd name="T86" fmla="*/ 45 w 406"/>
                      <a:gd name="T87" fmla="*/ 209 h 331"/>
                      <a:gd name="T88" fmla="*/ 37 w 406"/>
                      <a:gd name="T89" fmla="*/ 223 h 331"/>
                      <a:gd name="T90" fmla="*/ 21 w 406"/>
                      <a:gd name="T91" fmla="*/ 228 h 331"/>
                      <a:gd name="T92" fmla="*/ 6 w 406"/>
                      <a:gd name="T93" fmla="*/ 235 h 331"/>
                      <a:gd name="T94" fmla="*/ 16 w 406"/>
                      <a:gd name="T95" fmla="*/ 238 h 331"/>
                      <a:gd name="T96" fmla="*/ 3 w 406"/>
                      <a:gd name="T97" fmla="*/ 248 h 331"/>
                      <a:gd name="T98" fmla="*/ 23 w 406"/>
                      <a:gd name="T99" fmla="*/ 251 h 331"/>
                      <a:gd name="T100" fmla="*/ 40 w 406"/>
                      <a:gd name="T101" fmla="*/ 255 h 331"/>
                      <a:gd name="T102" fmla="*/ 1 w 406"/>
                      <a:gd name="T103" fmla="*/ 260 h 331"/>
                      <a:gd name="T104" fmla="*/ 5 w 406"/>
                      <a:gd name="T105" fmla="*/ 275 h 331"/>
                      <a:gd name="T106" fmla="*/ 15 w 406"/>
                      <a:gd name="T107" fmla="*/ 278 h 331"/>
                      <a:gd name="T108" fmla="*/ 11 w 406"/>
                      <a:gd name="T109" fmla="*/ 287 h 331"/>
                      <a:gd name="T110" fmla="*/ 5 w 406"/>
                      <a:gd name="T111" fmla="*/ 300 h 331"/>
                      <a:gd name="T112" fmla="*/ 13 w 406"/>
                      <a:gd name="T113" fmla="*/ 307 h 331"/>
                      <a:gd name="T114" fmla="*/ 30 w 406"/>
                      <a:gd name="T115" fmla="*/ 327 h 331"/>
                      <a:gd name="T116" fmla="*/ 74 w 406"/>
                      <a:gd name="T117" fmla="*/ 307 h 331"/>
                      <a:gd name="T118" fmla="*/ 84 w 406"/>
                      <a:gd name="T119" fmla="*/ 294 h 331"/>
                      <a:gd name="T120" fmla="*/ 92 w 406"/>
                      <a:gd name="T121" fmla="*/ 304 h 3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406" h="331">
                        <a:moveTo>
                          <a:pt x="96" y="307"/>
                        </a:moveTo>
                        <a:lnTo>
                          <a:pt x="96" y="310"/>
                        </a:lnTo>
                        <a:lnTo>
                          <a:pt x="97" y="309"/>
                        </a:lnTo>
                        <a:lnTo>
                          <a:pt x="97" y="310"/>
                        </a:lnTo>
                        <a:lnTo>
                          <a:pt x="101" y="309"/>
                        </a:lnTo>
                        <a:lnTo>
                          <a:pt x="102" y="300"/>
                        </a:lnTo>
                        <a:lnTo>
                          <a:pt x="101" y="299"/>
                        </a:lnTo>
                        <a:lnTo>
                          <a:pt x="101" y="295"/>
                        </a:lnTo>
                        <a:lnTo>
                          <a:pt x="102" y="294"/>
                        </a:lnTo>
                        <a:lnTo>
                          <a:pt x="104" y="290"/>
                        </a:lnTo>
                        <a:lnTo>
                          <a:pt x="104" y="287"/>
                        </a:lnTo>
                        <a:lnTo>
                          <a:pt x="107" y="287"/>
                        </a:lnTo>
                        <a:lnTo>
                          <a:pt x="113" y="285"/>
                        </a:lnTo>
                        <a:lnTo>
                          <a:pt x="114" y="282"/>
                        </a:lnTo>
                        <a:lnTo>
                          <a:pt x="114" y="280"/>
                        </a:lnTo>
                        <a:lnTo>
                          <a:pt x="113" y="278"/>
                        </a:lnTo>
                        <a:lnTo>
                          <a:pt x="114" y="273"/>
                        </a:lnTo>
                        <a:lnTo>
                          <a:pt x="116" y="272"/>
                        </a:lnTo>
                        <a:lnTo>
                          <a:pt x="114" y="270"/>
                        </a:lnTo>
                        <a:lnTo>
                          <a:pt x="113" y="265"/>
                        </a:lnTo>
                        <a:lnTo>
                          <a:pt x="109" y="262"/>
                        </a:lnTo>
                        <a:lnTo>
                          <a:pt x="111" y="260"/>
                        </a:lnTo>
                        <a:lnTo>
                          <a:pt x="114" y="258"/>
                        </a:lnTo>
                        <a:lnTo>
                          <a:pt x="118" y="257"/>
                        </a:lnTo>
                        <a:lnTo>
                          <a:pt x="119" y="253"/>
                        </a:lnTo>
                        <a:lnTo>
                          <a:pt x="119" y="248"/>
                        </a:lnTo>
                        <a:lnTo>
                          <a:pt x="113" y="245"/>
                        </a:lnTo>
                        <a:lnTo>
                          <a:pt x="111" y="241"/>
                        </a:lnTo>
                        <a:lnTo>
                          <a:pt x="109" y="238"/>
                        </a:lnTo>
                        <a:lnTo>
                          <a:pt x="109" y="233"/>
                        </a:lnTo>
                        <a:lnTo>
                          <a:pt x="111" y="230"/>
                        </a:lnTo>
                        <a:lnTo>
                          <a:pt x="109" y="226"/>
                        </a:lnTo>
                        <a:lnTo>
                          <a:pt x="107" y="226"/>
                        </a:lnTo>
                        <a:lnTo>
                          <a:pt x="107" y="223"/>
                        </a:lnTo>
                        <a:lnTo>
                          <a:pt x="109" y="221"/>
                        </a:lnTo>
                        <a:lnTo>
                          <a:pt x="109" y="219"/>
                        </a:lnTo>
                        <a:lnTo>
                          <a:pt x="109" y="218"/>
                        </a:lnTo>
                        <a:lnTo>
                          <a:pt x="109" y="214"/>
                        </a:lnTo>
                        <a:lnTo>
                          <a:pt x="111" y="213"/>
                        </a:lnTo>
                        <a:lnTo>
                          <a:pt x="113" y="211"/>
                        </a:lnTo>
                        <a:lnTo>
                          <a:pt x="111" y="209"/>
                        </a:lnTo>
                        <a:lnTo>
                          <a:pt x="109" y="208"/>
                        </a:lnTo>
                        <a:lnTo>
                          <a:pt x="107" y="203"/>
                        </a:lnTo>
                        <a:lnTo>
                          <a:pt x="109" y="199"/>
                        </a:lnTo>
                        <a:lnTo>
                          <a:pt x="111" y="196"/>
                        </a:lnTo>
                        <a:lnTo>
                          <a:pt x="114" y="192"/>
                        </a:lnTo>
                        <a:lnTo>
                          <a:pt x="118" y="191"/>
                        </a:lnTo>
                        <a:lnTo>
                          <a:pt x="123" y="187"/>
                        </a:lnTo>
                        <a:lnTo>
                          <a:pt x="129" y="187"/>
                        </a:lnTo>
                        <a:lnTo>
                          <a:pt x="134" y="187"/>
                        </a:lnTo>
                        <a:lnTo>
                          <a:pt x="138" y="187"/>
                        </a:lnTo>
                        <a:lnTo>
                          <a:pt x="141" y="186"/>
                        </a:lnTo>
                        <a:lnTo>
                          <a:pt x="141" y="182"/>
                        </a:lnTo>
                        <a:lnTo>
                          <a:pt x="141" y="179"/>
                        </a:lnTo>
                        <a:lnTo>
                          <a:pt x="139" y="177"/>
                        </a:lnTo>
                        <a:lnTo>
                          <a:pt x="136" y="174"/>
                        </a:lnTo>
                        <a:lnTo>
                          <a:pt x="134" y="172"/>
                        </a:lnTo>
                        <a:lnTo>
                          <a:pt x="138" y="169"/>
                        </a:lnTo>
                        <a:lnTo>
                          <a:pt x="141" y="166"/>
                        </a:lnTo>
                        <a:lnTo>
                          <a:pt x="145" y="160"/>
                        </a:lnTo>
                        <a:lnTo>
                          <a:pt x="146" y="159"/>
                        </a:lnTo>
                        <a:lnTo>
                          <a:pt x="148" y="149"/>
                        </a:lnTo>
                        <a:lnTo>
                          <a:pt x="148" y="142"/>
                        </a:lnTo>
                        <a:lnTo>
                          <a:pt x="148" y="139"/>
                        </a:lnTo>
                        <a:lnTo>
                          <a:pt x="148" y="135"/>
                        </a:lnTo>
                        <a:lnTo>
                          <a:pt x="150" y="135"/>
                        </a:lnTo>
                        <a:lnTo>
                          <a:pt x="153" y="135"/>
                        </a:lnTo>
                        <a:lnTo>
                          <a:pt x="156" y="133"/>
                        </a:lnTo>
                        <a:lnTo>
                          <a:pt x="158" y="132"/>
                        </a:lnTo>
                        <a:lnTo>
                          <a:pt x="160" y="130"/>
                        </a:lnTo>
                        <a:lnTo>
                          <a:pt x="160" y="127"/>
                        </a:lnTo>
                        <a:lnTo>
                          <a:pt x="161" y="123"/>
                        </a:lnTo>
                        <a:lnTo>
                          <a:pt x="165" y="120"/>
                        </a:lnTo>
                        <a:lnTo>
                          <a:pt x="168" y="117"/>
                        </a:lnTo>
                        <a:lnTo>
                          <a:pt x="170" y="115"/>
                        </a:lnTo>
                        <a:lnTo>
                          <a:pt x="175" y="112"/>
                        </a:lnTo>
                        <a:lnTo>
                          <a:pt x="177" y="110"/>
                        </a:lnTo>
                        <a:lnTo>
                          <a:pt x="177" y="108"/>
                        </a:lnTo>
                        <a:lnTo>
                          <a:pt x="177" y="107"/>
                        </a:lnTo>
                        <a:lnTo>
                          <a:pt x="175" y="103"/>
                        </a:lnTo>
                        <a:lnTo>
                          <a:pt x="173" y="101"/>
                        </a:lnTo>
                        <a:lnTo>
                          <a:pt x="173" y="100"/>
                        </a:lnTo>
                        <a:lnTo>
                          <a:pt x="178" y="96"/>
                        </a:lnTo>
                        <a:lnTo>
                          <a:pt x="180" y="95"/>
                        </a:lnTo>
                        <a:lnTo>
                          <a:pt x="180" y="91"/>
                        </a:lnTo>
                        <a:lnTo>
                          <a:pt x="182" y="88"/>
                        </a:lnTo>
                        <a:lnTo>
                          <a:pt x="183" y="86"/>
                        </a:lnTo>
                        <a:lnTo>
                          <a:pt x="187" y="85"/>
                        </a:lnTo>
                        <a:lnTo>
                          <a:pt x="188" y="83"/>
                        </a:lnTo>
                        <a:lnTo>
                          <a:pt x="192" y="83"/>
                        </a:lnTo>
                        <a:lnTo>
                          <a:pt x="195" y="83"/>
                        </a:lnTo>
                        <a:lnTo>
                          <a:pt x="199" y="86"/>
                        </a:lnTo>
                        <a:lnTo>
                          <a:pt x="200" y="86"/>
                        </a:lnTo>
                        <a:lnTo>
                          <a:pt x="202" y="83"/>
                        </a:lnTo>
                        <a:lnTo>
                          <a:pt x="204" y="80"/>
                        </a:lnTo>
                        <a:lnTo>
                          <a:pt x="204" y="78"/>
                        </a:lnTo>
                        <a:lnTo>
                          <a:pt x="204" y="76"/>
                        </a:lnTo>
                        <a:lnTo>
                          <a:pt x="204" y="73"/>
                        </a:lnTo>
                        <a:lnTo>
                          <a:pt x="205" y="71"/>
                        </a:lnTo>
                        <a:lnTo>
                          <a:pt x="207" y="71"/>
                        </a:lnTo>
                        <a:lnTo>
                          <a:pt x="209" y="71"/>
                        </a:lnTo>
                        <a:lnTo>
                          <a:pt x="212" y="71"/>
                        </a:lnTo>
                        <a:lnTo>
                          <a:pt x="215" y="71"/>
                        </a:lnTo>
                        <a:lnTo>
                          <a:pt x="219" y="71"/>
                        </a:lnTo>
                        <a:lnTo>
                          <a:pt x="220" y="71"/>
                        </a:lnTo>
                        <a:lnTo>
                          <a:pt x="224" y="73"/>
                        </a:lnTo>
                        <a:lnTo>
                          <a:pt x="225" y="73"/>
                        </a:lnTo>
                        <a:lnTo>
                          <a:pt x="229" y="73"/>
                        </a:lnTo>
                        <a:lnTo>
                          <a:pt x="231" y="74"/>
                        </a:lnTo>
                        <a:lnTo>
                          <a:pt x="232" y="73"/>
                        </a:lnTo>
                        <a:lnTo>
                          <a:pt x="234" y="73"/>
                        </a:lnTo>
                        <a:lnTo>
                          <a:pt x="234" y="71"/>
                        </a:lnTo>
                        <a:lnTo>
                          <a:pt x="232" y="71"/>
                        </a:lnTo>
                        <a:lnTo>
                          <a:pt x="232" y="68"/>
                        </a:lnTo>
                        <a:lnTo>
                          <a:pt x="234" y="66"/>
                        </a:lnTo>
                        <a:lnTo>
                          <a:pt x="234" y="64"/>
                        </a:lnTo>
                        <a:lnTo>
                          <a:pt x="236" y="63"/>
                        </a:lnTo>
                        <a:lnTo>
                          <a:pt x="236" y="61"/>
                        </a:lnTo>
                        <a:lnTo>
                          <a:pt x="236" y="59"/>
                        </a:lnTo>
                        <a:lnTo>
                          <a:pt x="234" y="58"/>
                        </a:lnTo>
                        <a:lnTo>
                          <a:pt x="234" y="56"/>
                        </a:lnTo>
                        <a:lnTo>
                          <a:pt x="236" y="56"/>
                        </a:lnTo>
                        <a:lnTo>
                          <a:pt x="237" y="56"/>
                        </a:lnTo>
                        <a:lnTo>
                          <a:pt x="239" y="56"/>
                        </a:lnTo>
                        <a:lnTo>
                          <a:pt x="241" y="56"/>
                        </a:lnTo>
                        <a:lnTo>
                          <a:pt x="242" y="56"/>
                        </a:lnTo>
                        <a:lnTo>
                          <a:pt x="242" y="54"/>
                        </a:lnTo>
                        <a:lnTo>
                          <a:pt x="246" y="54"/>
                        </a:lnTo>
                        <a:lnTo>
                          <a:pt x="247" y="54"/>
                        </a:lnTo>
                        <a:lnTo>
                          <a:pt x="251" y="54"/>
                        </a:lnTo>
                        <a:lnTo>
                          <a:pt x="249" y="53"/>
                        </a:lnTo>
                        <a:lnTo>
                          <a:pt x="249" y="51"/>
                        </a:lnTo>
                        <a:lnTo>
                          <a:pt x="252" y="49"/>
                        </a:lnTo>
                        <a:lnTo>
                          <a:pt x="256" y="49"/>
                        </a:lnTo>
                        <a:lnTo>
                          <a:pt x="261" y="53"/>
                        </a:lnTo>
                        <a:lnTo>
                          <a:pt x="263" y="54"/>
                        </a:lnTo>
                        <a:lnTo>
                          <a:pt x="266" y="58"/>
                        </a:lnTo>
                        <a:lnTo>
                          <a:pt x="269" y="59"/>
                        </a:lnTo>
                        <a:lnTo>
                          <a:pt x="269" y="63"/>
                        </a:lnTo>
                        <a:lnTo>
                          <a:pt x="271" y="64"/>
                        </a:lnTo>
                        <a:lnTo>
                          <a:pt x="274" y="64"/>
                        </a:lnTo>
                        <a:lnTo>
                          <a:pt x="279" y="66"/>
                        </a:lnTo>
                        <a:lnTo>
                          <a:pt x="283" y="66"/>
                        </a:lnTo>
                        <a:lnTo>
                          <a:pt x="286" y="66"/>
                        </a:lnTo>
                        <a:lnTo>
                          <a:pt x="288" y="66"/>
                        </a:lnTo>
                        <a:lnTo>
                          <a:pt x="291" y="64"/>
                        </a:lnTo>
                        <a:lnTo>
                          <a:pt x="293" y="63"/>
                        </a:lnTo>
                        <a:lnTo>
                          <a:pt x="296" y="61"/>
                        </a:lnTo>
                        <a:lnTo>
                          <a:pt x="298" y="63"/>
                        </a:lnTo>
                        <a:lnTo>
                          <a:pt x="301" y="64"/>
                        </a:lnTo>
                        <a:lnTo>
                          <a:pt x="301" y="66"/>
                        </a:lnTo>
                        <a:lnTo>
                          <a:pt x="305" y="68"/>
                        </a:lnTo>
                        <a:lnTo>
                          <a:pt x="310" y="66"/>
                        </a:lnTo>
                        <a:lnTo>
                          <a:pt x="313" y="64"/>
                        </a:lnTo>
                        <a:lnTo>
                          <a:pt x="315" y="61"/>
                        </a:lnTo>
                        <a:lnTo>
                          <a:pt x="318" y="59"/>
                        </a:lnTo>
                        <a:lnTo>
                          <a:pt x="323" y="58"/>
                        </a:lnTo>
                        <a:lnTo>
                          <a:pt x="323" y="56"/>
                        </a:lnTo>
                        <a:lnTo>
                          <a:pt x="323" y="54"/>
                        </a:lnTo>
                        <a:lnTo>
                          <a:pt x="323" y="53"/>
                        </a:lnTo>
                        <a:lnTo>
                          <a:pt x="323" y="49"/>
                        </a:lnTo>
                        <a:lnTo>
                          <a:pt x="323" y="47"/>
                        </a:lnTo>
                        <a:lnTo>
                          <a:pt x="323" y="44"/>
                        </a:lnTo>
                        <a:lnTo>
                          <a:pt x="323" y="42"/>
                        </a:lnTo>
                        <a:lnTo>
                          <a:pt x="325" y="39"/>
                        </a:lnTo>
                        <a:lnTo>
                          <a:pt x="327" y="36"/>
                        </a:lnTo>
                        <a:lnTo>
                          <a:pt x="330" y="34"/>
                        </a:lnTo>
                        <a:lnTo>
                          <a:pt x="333" y="32"/>
                        </a:lnTo>
                        <a:lnTo>
                          <a:pt x="337" y="32"/>
                        </a:lnTo>
                        <a:lnTo>
                          <a:pt x="342" y="32"/>
                        </a:lnTo>
                        <a:lnTo>
                          <a:pt x="345" y="32"/>
                        </a:lnTo>
                        <a:lnTo>
                          <a:pt x="349" y="31"/>
                        </a:lnTo>
                        <a:lnTo>
                          <a:pt x="352" y="29"/>
                        </a:lnTo>
                        <a:lnTo>
                          <a:pt x="355" y="29"/>
                        </a:lnTo>
                        <a:lnTo>
                          <a:pt x="359" y="29"/>
                        </a:lnTo>
                        <a:lnTo>
                          <a:pt x="360" y="29"/>
                        </a:lnTo>
                        <a:lnTo>
                          <a:pt x="362" y="31"/>
                        </a:lnTo>
                        <a:lnTo>
                          <a:pt x="364" y="32"/>
                        </a:lnTo>
                        <a:lnTo>
                          <a:pt x="365" y="34"/>
                        </a:lnTo>
                        <a:lnTo>
                          <a:pt x="369" y="36"/>
                        </a:lnTo>
                        <a:lnTo>
                          <a:pt x="370" y="36"/>
                        </a:lnTo>
                        <a:lnTo>
                          <a:pt x="374" y="37"/>
                        </a:lnTo>
                        <a:lnTo>
                          <a:pt x="376" y="39"/>
                        </a:lnTo>
                        <a:lnTo>
                          <a:pt x="377" y="41"/>
                        </a:lnTo>
                        <a:lnTo>
                          <a:pt x="379" y="44"/>
                        </a:lnTo>
                        <a:lnTo>
                          <a:pt x="379" y="46"/>
                        </a:lnTo>
                        <a:lnTo>
                          <a:pt x="379" y="47"/>
                        </a:lnTo>
                        <a:lnTo>
                          <a:pt x="377" y="47"/>
                        </a:lnTo>
                        <a:lnTo>
                          <a:pt x="376" y="49"/>
                        </a:lnTo>
                        <a:lnTo>
                          <a:pt x="372" y="51"/>
                        </a:lnTo>
                        <a:lnTo>
                          <a:pt x="372" y="53"/>
                        </a:lnTo>
                        <a:lnTo>
                          <a:pt x="372" y="54"/>
                        </a:lnTo>
                        <a:lnTo>
                          <a:pt x="376" y="56"/>
                        </a:lnTo>
                        <a:lnTo>
                          <a:pt x="377" y="56"/>
                        </a:lnTo>
                        <a:lnTo>
                          <a:pt x="377" y="54"/>
                        </a:lnTo>
                        <a:lnTo>
                          <a:pt x="379" y="54"/>
                        </a:lnTo>
                        <a:lnTo>
                          <a:pt x="379" y="53"/>
                        </a:lnTo>
                        <a:lnTo>
                          <a:pt x="379" y="51"/>
                        </a:lnTo>
                        <a:lnTo>
                          <a:pt x="381" y="51"/>
                        </a:lnTo>
                        <a:lnTo>
                          <a:pt x="382" y="51"/>
                        </a:lnTo>
                        <a:lnTo>
                          <a:pt x="382" y="49"/>
                        </a:lnTo>
                        <a:lnTo>
                          <a:pt x="384" y="49"/>
                        </a:lnTo>
                        <a:lnTo>
                          <a:pt x="386" y="49"/>
                        </a:lnTo>
                        <a:lnTo>
                          <a:pt x="387" y="47"/>
                        </a:lnTo>
                        <a:lnTo>
                          <a:pt x="389" y="47"/>
                        </a:lnTo>
                        <a:lnTo>
                          <a:pt x="391" y="47"/>
                        </a:lnTo>
                        <a:lnTo>
                          <a:pt x="391" y="46"/>
                        </a:lnTo>
                        <a:lnTo>
                          <a:pt x="391" y="44"/>
                        </a:lnTo>
                        <a:lnTo>
                          <a:pt x="391" y="42"/>
                        </a:lnTo>
                        <a:lnTo>
                          <a:pt x="392" y="42"/>
                        </a:lnTo>
                        <a:lnTo>
                          <a:pt x="392" y="41"/>
                        </a:lnTo>
                        <a:lnTo>
                          <a:pt x="394" y="41"/>
                        </a:lnTo>
                        <a:lnTo>
                          <a:pt x="394" y="42"/>
                        </a:lnTo>
                        <a:lnTo>
                          <a:pt x="396" y="42"/>
                        </a:lnTo>
                        <a:lnTo>
                          <a:pt x="397" y="42"/>
                        </a:lnTo>
                        <a:lnTo>
                          <a:pt x="397" y="44"/>
                        </a:lnTo>
                        <a:lnTo>
                          <a:pt x="399" y="44"/>
                        </a:lnTo>
                        <a:lnTo>
                          <a:pt x="401" y="44"/>
                        </a:lnTo>
                        <a:lnTo>
                          <a:pt x="401" y="42"/>
                        </a:lnTo>
                        <a:lnTo>
                          <a:pt x="403" y="42"/>
                        </a:lnTo>
                        <a:lnTo>
                          <a:pt x="403" y="41"/>
                        </a:lnTo>
                        <a:lnTo>
                          <a:pt x="404" y="41"/>
                        </a:lnTo>
                        <a:lnTo>
                          <a:pt x="404" y="39"/>
                        </a:lnTo>
                        <a:lnTo>
                          <a:pt x="404" y="37"/>
                        </a:lnTo>
                        <a:lnTo>
                          <a:pt x="403" y="37"/>
                        </a:lnTo>
                        <a:lnTo>
                          <a:pt x="399" y="37"/>
                        </a:lnTo>
                        <a:lnTo>
                          <a:pt x="399" y="36"/>
                        </a:lnTo>
                        <a:lnTo>
                          <a:pt x="397" y="36"/>
                        </a:lnTo>
                        <a:lnTo>
                          <a:pt x="396" y="37"/>
                        </a:lnTo>
                        <a:lnTo>
                          <a:pt x="396" y="41"/>
                        </a:lnTo>
                        <a:lnTo>
                          <a:pt x="394" y="41"/>
                        </a:lnTo>
                        <a:lnTo>
                          <a:pt x="394" y="39"/>
                        </a:lnTo>
                        <a:lnTo>
                          <a:pt x="392" y="39"/>
                        </a:lnTo>
                        <a:lnTo>
                          <a:pt x="391" y="37"/>
                        </a:lnTo>
                        <a:lnTo>
                          <a:pt x="391" y="39"/>
                        </a:lnTo>
                        <a:lnTo>
                          <a:pt x="391" y="41"/>
                        </a:lnTo>
                        <a:lnTo>
                          <a:pt x="389" y="39"/>
                        </a:lnTo>
                        <a:lnTo>
                          <a:pt x="387" y="39"/>
                        </a:lnTo>
                        <a:lnTo>
                          <a:pt x="386" y="39"/>
                        </a:lnTo>
                        <a:lnTo>
                          <a:pt x="382" y="41"/>
                        </a:lnTo>
                        <a:lnTo>
                          <a:pt x="384" y="37"/>
                        </a:lnTo>
                        <a:lnTo>
                          <a:pt x="386" y="37"/>
                        </a:lnTo>
                        <a:lnTo>
                          <a:pt x="387" y="36"/>
                        </a:lnTo>
                        <a:lnTo>
                          <a:pt x="389" y="36"/>
                        </a:lnTo>
                        <a:lnTo>
                          <a:pt x="387" y="34"/>
                        </a:lnTo>
                        <a:lnTo>
                          <a:pt x="386" y="34"/>
                        </a:lnTo>
                        <a:lnTo>
                          <a:pt x="381" y="34"/>
                        </a:lnTo>
                        <a:lnTo>
                          <a:pt x="382" y="32"/>
                        </a:lnTo>
                        <a:lnTo>
                          <a:pt x="381" y="32"/>
                        </a:lnTo>
                        <a:lnTo>
                          <a:pt x="376" y="31"/>
                        </a:lnTo>
                        <a:lnTo>
                          <a:pt x="374" y="29"/>
                        </a:lnTo>
                        <a:lnTo>
                          <a:pt x="369" y="27"/>
                        </a:lnTo>
                        <a:lnTo>
                          <a:pt x="369" y="26"/>
                        </a:lnTo>
                        <a:lnTo>
                          <a:pt x="372" y="26"/>
                        </a:lnTo>
                        <a:lnTo>
                          <a:pt x="376" y="27"/>
                        </a:lnTo>
                        <a:lnTo>
                          <a:pt x="377" y="27"/>
                        </a:lnTo>
                        <a:lnTo>
                          <a:pt x="379" y="27"/>
                        </a:lnTo>
                        <a:lnTo>
                          <a:pt x="382" y="27"/>
                        </a:lnTo>
                        <a:lnTo>
                          <a:pt x="386" y="29"/>
                        </a:lnTo>
                        <a:lnTo>
                          <a:pt x="389" y="29"/>
                        </a:lnTo>
                        <a:lnTo>
                          <a:pt x="392" y="27"/>
                        </a:lnTo>
                        <a:lnTo>
                          <a:pt x="396" y="26"/>
                        </a:lnTo>
                        <a:lnTo>
                          <a:pt x="397" y="24"/>
                        </a:lnTo>
                        <a:lnTo>
                          <a:pt x="399" y="24"/>
                        </a:lnTo>
                        <a:lnTo>
                          <a:pt x="403" y="22"/>
                        </a:lnTo>
                        <a:lnTo>
                          <a:pt x="406" y="21"/>
                        </a:lnTo>
                        <a:lnTo>
                          <a:pt x="404" y="19"/>
                        </a:lnTo>
                        <a:lnTo>
                          <a:pt x="401" y="17"/>
                        </a:lnTo>
                        <a:lnTo>
                          <a:pt x="399" y="17"/>
                        </a:lnTo>
                        <a:lnTo>
                          <a:pt x="399" y="15"/>
                        </a:lnTo>
                        <a:lnTo>
                          <a:pt x="394" y="15"/>
                        </a:lnTo>
                        <a:lnTo>
                          <a:pt x="392" y="15"/>
                        </a:lnTo>
                        <a:lnTo>
                          <a:pt x="394" y="14"/>
                        </a:lnTo>
                        <a:lnTo>
                          <a:pt x="392" y="12"/>
                        </a:lnTo>
                        <a:lnTo>
                          <a:pt x="391" y="12"/>
                        </a:lnTo>
                        <a:lnTo>
                          <a:pt x="389" y="10"/>
                        </a:lnTo>
                        <a:lnTo>
                          <a:pt x="387" y="12"/>
                        </a:lnTo>
                        <a:lnTo>
                          <a:pt x="384" y="12"/>
                        </a:lnTo>
                        <a:lnTo>
                          <a:pt x="384" y="10"/>
                        </a:lnTo>
                        <a:lnTo>
                          <a:pt x="381" y="12"/>
                        </a:lnTo>
                        <a:lnTo>
                          <a:pt x="379" y="12"/>
                        </a:lnTo>
                        <a:lnTo>
                          <a:pt x="377" y="12"/>
                        </a:lnTo>
                        <a:lnTo>
                          <a:pt x="377" y="10"/>
                        </a:lnTo>
                        <a:lnTo>
                          <a:pt x="379" y="10"/>
                        </a:lnTo>
                        <a:lnTo>
                          <a:pt x="377" y="9"/>
                        </a:lnTo>
                        <a:lnTo>
                          <a:pt x="377" y="7"/>
                        </a:lnTo>
                        <a:lnTo>
                          <a:pt x="376" y="7"/>
                        </a:lnTo>
                        <a:lnTo>
                          <a:pt x="374" y="7"/>
                        </a:lnTo>
                        <a:lnTo>
                          <a:pt x="372" y="7"/>
                        </a:lnTo>
                        <a:lnTo>
                          <a:pt x="369" y="7"/>
                        </a:lnTo>
                        <a:lnTo>
                          <a:pt x="367" y="9"/>
                        </a:lnTo>
                        <a:lnTo>
                          <a:pt x="367" y="12"/>
                        </a:lnTo>
                        <a:lnTo>
                          <a:pt x="365" y="15"/>
                        </a:lnTo>
                        <a:lnTo>
                          <a:pt x="367" y="17"/>
                        </a:lnTo>
                        <a:lnTo>
                          <a:pt x="364" y="19"/>
                        </a:lnTo>
                        <a:lnTo>
                          <a:pt x="362" y="19"/>
                        </a:lnTo>
                        <a:lnTo>
                          <a:pt x="360" y="17"/>
                        </a:lnTo>
                        <a:lnTo>
                          <a:pt x="359" y="17"/>
                        </a:lnTo>
                        <a:lnTo>
                          <a:pt x="357" y="17"/>
                        </a:lnTo>
                        <a:lnTo>
                          <a:pt x="360" y="15"/>
                        </a:lnTo>
                        <a:lnTo>
                          <a:pt x="362" y="14"/>
                        </a:lnTo>
                        <a:lnTo>
                          <a:pt x="360" y="12"/>
                        </a:lnTo>
                        <a:lnTo>
                          <a:pt x="357" y="14"/>
                        </a:lnTo>
                        <a:lnTo>
                          <a:pt x="354" y="14"/>
                        </a:lnTo>
                        <a:lnTo>
                          <a:pt x="359" y="10"/>
                        </a:lnTo>
                        <a:lnTo>
                          <a:pt x="355" y="9"/>
                        </a:lnTo>
                        <a:lnTo>
                          <a:pt x="357" y="7"/>
                        </a:lnTo>
                        <a:lnTo>
                          <a:pt x="362" y="9"/>
                        </a:lnTo>
                        <a:lnTo>
                          <a:pt x="365" y="5"/>
                        </a:lnTo>
                        <a:lnTo>
                          <a:pt x="365" y="4"/>
                        </a:lnTo>
                        <a:lnTo>
                          <a:pt x="362" y="4"/>
                        </a:lnTo>
                        <a:lnTo>
                          <a:pt x="362" y="2"/>
                        </a:lnTo>
                        <a:lnTo>
                          <a:pt x="360" y="0"/>
                        </a:lnTo>
                        <a:lnTo>
                          <a:pt x="359" y="0"/>
                        </a:lnTo>
                        <a:lnTo>
                          <a:pt x="355" y="2"/>
                        </a:lnTo>
                        <a:lnTo>
                          <a:pt x="354" y="0"/>
                        </a:lnTo>
                        <a:lnTo>
                          <a:pt x="352" y="0"/>
                        </a:lnTo>
                        <a:lnTo>
                          <a:pt x="350" y="4"/>
                        </a:lnTo>
                        <a:lnTo>
                          <a:pt x="350" y="5"/>
                        </a:lnTo>
                        <a:lnTo>
                          <a:pt x="349" y="9"/>
                        </a:lnTo>
                        <a:lnTo>
                          <a:pt x="347" y="10"/>
                        </a:lnTo>
                        <a:lnTo>
                          <a:pt x="345" y="12"/>
                        </a:lnTo>
                        <a:lnTo>
                          <a:pt x="345" y="14"/>
                        </a:lnTo>
                        <a:lnTo>
                          <a:pt x="344" y="14"/>
                        </a:lnTo>
                        <a:lnTo>
                          <a:pt x="344" y="15"/>
                        </a:lnTo>
                        <a:lnTo>
                          <a:pt x="344" y="17"/>
                        </a:lnTo>
                        <a:lnTo>
                          <a:pt x="340" y="17"/>
                        </a:lnTo>
                        <a:lnTo>
                          <a:pt x="337" y="19"/>
                        </a:lnTo>
                        <a:lnTo>
                          <a:pt x="335" y="21"/>
                        </a:lnTo>
                        <a:lnTo>
                          <a:pt x="335" y="17"/>
                        </a:lnTo>
                        <a:lnTo>
                          <a:pt x="337" y="14"/>
                        </a:lnTo>
                        <a:lnTo>
                          <a:pt x="335" y="12"/>
                        </a:lnTo>
                        <a:lnTo>
                          <a:pt x="337" y="10"/>
                        </a:lnTo>
                        <a:lnTo>
                          <a:pt x="337" y="9"/>
                        </a:lnTo>
                        <a:lnTo>
                          <a:pt x="337" y="7"/>
                        </a:lnTo>
                        <a:lnTo>
                          <a:pt x="337" y="5"/>
                        </a:lnTo>
                        <a:lnTo>
                          <a:pt x="335" y="4"/>
                        </a:lnTo>
                        <a:lnTo>
                          <a:pt x="333" y="5"/>
                        </a:lnTo>
                        <a:lnTo>
                          <a:pt x="332" y="7"/>
                        </a:lnTo>
                        <a:lnTo>
                          <a:pt x="330" y="9"/>
                        </a:lnTo>
                        <a:lnTo>
                          <a:pt x="327" y="12"/>
                        </a:lnTo>
                        <a:lnTo>
                          <a:pt x="325" y="15"/>
                        </a:lnTo>
                        <a:lnTo>
                          <a:pt x="323" y="15"/>
                        </a:lnTo>
                        <a:lnTo>
                          <a:pt x="322" y="17"/>
                        </a:lnTo>
                        <a:lnTo>
                          <a:pt x="320" y="19"/>
                        </a:lnTo>
                        <a:lnTo>
                          <a:pt x="318" y="21"/>
                        </a:lnTo>
                        <a:lnTo>
                          <a:pt x="317" y="24"/>
                        </a:lnTo>
                        <a:lnTo>
                          <a:pt x="318" y="22"/>
                        </a:lnTo>
                        <a:lnTo>
                          <a:pt x="317" y="26"/>
                        </a:lnTo>
                        <a:lnTo>
                          <a:pt x="315" y="27"/>
                        </a:lnTo>
                        <a:lnTo>
                          <a:pt x="313" y="29"/>
                        </a:lnTo>
                        <a:lnTo>
                          <a:pt x="310" y="29"/>
                        </a:lnTo>
                        <a:lnTo>
                          <a:pt x="310" y="27"/>
                        </a:lnTo>
                        <a:lnTo>
                          <a:pt x="310" y="26"/>
                        </a:lnTo>
                        <a:lnTo>
                          <a:pt x="311" y="24"/>
                        </a:lnTo>
                        <a:lnTo>
                          <a:pt x="313" y="24"/>
                        </a:lnTo>
                        <a:lnTo>
                          <a:pt x="313" y="22"/>
                        </a:lnTo>
                        <a:lnTo>
                          <a:pt x="313" y="21"/>
                        </a:lnTo>
                        <a:lnTo>
                          <a:pt x="313" y="19"/>
                        </a:lnTo>
                        <a:lnTo>
                          <a:pt x="313" y="17"/>
                        </a:lnTo>
                        <a:lnTo>
                          <a:pt x="315" y="17"/>
                        </a:lnTo>
                        <a:lnTo>
                          <a:pt x="315" y="15"/>
                        </a:lnTo>
                        <a:lnTo>
                          <a:pt x="318" y="12"/>
                        </a:lnTo>
                        <a:lnTo>
                          <a:pt x="320" y="10"/>
                        </a:lnTo>
                        <a:lnTo>
                          <a:pt x="322" y="10"/>
                        </a:lnTo>
                        <a:lnTo>
                          <a:pt x="323" y="7"/>
                        </a:lnTo>
                        <a:lnTo>
                          <a:pt x="322" y="7"/>
                        </a:lnTo>
                        <a:lnTo>
                          <a:pt x="322" y="5"/>
                        </a:lnTo>
                        <a:lnTo>
                          <a:pt x="318" y="7"/>
                        </a:lnTo>
                        <a:lnTo>
                          <a:pt x="317" y="9"/>
                        </a:lnTo>
                        <a:lnTo>
                          <a:pt x="315" y="9"/>
                        </a:lnTo>
                        <a:lnTo>
                          <a:pt x="313" y="7"/>
                        </a:lnTo>
                        <a:lnTo>
                          <a:pt x="311" y="5"/>
                        </a:lnTo>
                        <a:lnTo>
                          <a:pt x="311" y="4"/>
                        </a:lnTo>
                        <a:lnTo>
                          <a:pt x="310" y="4"/>
                        </a:lnTo>
                        <a:lnTo>
                          <a:pt x="308" y="5"/>
                        </a:lnTo>
                        <a:lnTo>
                          <a:pt x="306" y="4"/>
                        </a:lnTo>
                        <a:lnTo>
                          <a:pt x="305" y="4"/>
                        </a:lnTo>
                        <a:lnTo>
                          <a:pt x="305" y="7"/>
                        </a:lnTo>
                        <a:lnTo>
                          <a:pt x="305" y="9"/>
                        </a:lnTo>
                        <a:lnTo>
                          <a:pt x="301" y="7"/>
                        </a:lnTo>
                        <a:lnTo>
                          <a:pt x="300" y="7"/>
                        </a:lnTo>
                        <a:lnTo>
                          <a:pt x="301" y="10"/>
                        </a:lnTo>
                        <a:lnTo>
                          <a:pt x="305" y="12"/>
                        </a:lnTo>
                        <a:lnTo>
                          <a:pt x="301" y="14"/>
                        </a:lnTo>
                        <a:lnTo>
                          <a:pt x="300" y="15"/>
                        </a:lnTo>
                        <a:lnTo>
                          <a:pt x="300" y="17"/>
                        </a:lnTo>
                        <a:lnTo>
                          <a:pt x="298" y="17"/>
                        </a:lnTo>
                        <a:lnTo>
                          <a:pt x="293" y="17"/>
                        </a:lnTo>
                        <a:lnTo>
                          <a:pt x="290" y="21"/>
                        </a:lnTo>
                        <a:lnTo>
                          <a:pt x="288" y="22"/>
                        </a:lnTo>
                        <a:lnTo>
                          <a:pt x="286" y="24"/>
                        </a:lnTo>
                        <a:lnTo>
                          <a:pt x="284" y="24"/>
                        </a:lnTo>
                        <a:lnTo>
                          <a:pt x="284" y="26"/>
                        </a:lnTo>
                        <a:lnTo>
                          <a:pt x="284" y="27"/>
                        </a:lnTo>
                        <a:lnTo>
                          <a:pt x="284" y="29"/>
                        </a:lnTo>
                        <a:lnTo>
                          <a:pt x="283" y="32"/>
                        </a:lnTo>
                        <a:lnTo>
                          <a:pt x="281" y="32"/>
                        </a:lnTo>
                        <a:lnTo>
                          <a:pt x="279" y="31"/>
                        </a:lnTo>
                        <a:lnTo>
                          <a:pt x="279" y="29"/>
                        </a:lnTo>
                        <a:lnTo>
                          <a:pt x="281" y="29"/>
                        </a:lnTo>
                        <a:lnTo>
                          <a:pt x="278" y="27"/>
                        </a:lnTo>
                        <a:lnTo>
                          <a:pt x="279" y="26"/>
                        </a:lnTo>
                        <a:lnTo>
                          <a:pt x="276" y="26"/>
                        </a:lnTo>
                        <a:lnTo>
                          <a:pt x="273" y="26"/>
                        </a:lnTo>
                        <a:lnTo>
                          <a:pt x="271" y="26"/>
                        </a:lnTo>
                        <a:lnTo>
                          <a:pt x="271" y="27"/>
                        </a:lnTo>
                        <a:lnTo>
                          <a:pt x="269" y="27"/>
                        </a:lnTo>
                        <a:lnTo>
                          <a:pt x="268" y="27"/>
                        </a:lnTo>
                        <a:lnTo>
                          <a:pt x="268" y="26"/>
                        </a:lnTo>
                        <a:lnTo>
                          <a:pt x="268" y="24"/>
                        </a:lnTo>
                        <a:lnTo>
                          <a:pt x="266" y="24"/>
                        </a:lnTo>
                        <a:lnTo>
                          <a:pt x="266" y="22"/>
                        </a:lnTo>
                        <a:lnTo>
                          <a:pt x="263" y="24"/>
                        </a:lnTo>
                        <a:lnTo>
                          <a:pt x="263" y="22"/>
                        </a:lnTo>
                        <a:lnTo>
                          <a:pt x="261" y="24"/>
                        </a:lnTo>
                        <a:lnTo>
                          <a:pt x="261" y="27"/>
                        </a:lnTo>
                        <a:lnTo>
                          <a:pt x="259" y="26"/>
                        </a:lnTo>
                        <a:lnTo>
                          <a:pt x="258" y="22"/>
                        </a:lnTo>
                        <a:lnTo>
                          <a:pt x="258" y="26"/>
                        </a:lnTo>
                        <a:lnTo>
                          <a:pt x="258" y="27"/>
                        </a:lnTo>
                        <a:lnTo>
                          <a:pt x="259" y="27"/>
                        </a:lnTo>
                        <a:lnTo>
                          <a:pt x="263" y="29"/>
                        </a:lnTo>
                        <a:lnTo>
                          <a:pt x="264" y="29"/>
                        </a:lnTo>
                        <a:lnTo>
                          <a:pt x="264" y="31"/>
                        </a:lnTo>
                        <a:lnTo>
                          <a:pt x="263" y="32"/>
                        </a:lnTo>
                        <a:lnTo>
                          <a:pt x="263" y="34"/>
                        </a:lnTo>
                        <a:lnTo>
                          <a:pt x="264" y="36"/>
                        </a:lnTo>
                        <a:lnTo>
                          <a:pt x="264" y="39"/>
                        </a:lnTo>
                        <a:lnTo>
                          <a:pt x="263" y="37"/>
                        </a:lnTo>
                        <a:lnTo>
                          <a:pt x="259" y="34"/>
                        </a:lnTo>
                        <a:lnTo>
                          <a:pt x="258" y="32"/>
                        </a:lnTo>
                        <a:lnTo>
                          <a:pt x="254" y="31"/>
                        </a:lnTo>
                        <a:lnTo>
                          <a:pt x="252" y="31"/>
                        </a:lnTo>
                        <a:lnTo>
                          <a:pt x="254" y="34"/>
                        </a:lnTo>
                        <a:lnTo>
                          <a:pt x="252" y="34"/>
                        </a:lnTo>
                        <a:lnTo>
                          <a:pt x="251" y="36"/>
                        </a:lnTo>
                        <a:lnTo>
                          <a:pt x="249" y="36"/>
                        </a:lnTo>
                        <a:lnTo>
                          <a:pt x="247" y="36"/>
                        </a:lnTo>
                        <a:lnTo>
                          <a:pt x="247" y="34"/>
                        </a:lnTo>
                        <a:lnTo>
                          <a:pt x="249" y="32"/>
                        </a:lnTo>
                        <a:lnTo>
                          <a:pt x="246" y="34"/>
                        </a:lnTo>
                        <a:lnTo>
                          <a:pt x="244" y="36"/>
                        </a:lnTo>
                        <a:lnTo>
                          <a:pt x="244" y="37"/>
                        </a:lnTo>
                        <a:lnTo>
                          <a:pt x="242" y="37"/>
                        </a:lnTo>
                        <a:lnTo>
                          <a:pt x="242" y="41"/>
                        </a:lnTo>
                        <a:lnTo>
                          <a:pt x="241" y="42"/>
                        </a:lnTo>
                        <a:lnTo>
                          <a:pt x="239" y="44"/>
                        </a:lnTo>
                        <a:lnTo>
                          <a:pt x="237" y="47"/>
                        </a:lnTo>
                        <a:lnTo>
                          <a:pt x="234" y="49"/>
                        </a:lnTo>
                        <a:lnTo>
                          <a:pt x="236" y="47"/>
                        </a:lnTo>
                        <a:lnTo>
                          <a:pt x="237" y="46"/>
                        </a:lnTo>
                        <a:lnTo>
                          <a:pt x="237" y="44"/>
                        </a:lnTo>
                        <a:lnTo>
                          <a:pt x="237" y="39"/>
                        </a:lnTo>
                        <a:lnTo>
                          <a:pt x="239" y="36"/>
                        </a:lnTo>
                        <a:lnTo>
                          <a:pt x="237" y="32"/>
                        </a:lnTo>
                        <a:lnTo>
                          <a:pt x="236" y="34"/>
                        </a:lnTo>
                        <a:lnTo>
                          <a:pt x="234" y="34"/>
                        </a:lnTo>
                        <a:lnTo>
                          <a:pt x="232" y="36"/>
                        </a:lnTo>
                        <a:lnTo>
                          <a:pt x="231" y="39"/>
                        </a:lnTo>
                        <a:lnTo>
                          <a:pt x="229" y="42"/>
                        </a:lnTo>
                        <a:lnTo>
                          <a:pt x="227" y="46"/>
                        </a:lnTo>
                        <a:lnTo>
                          <a:pt x="227" y="44"/>
                        </a:lnTo>
                        <a:lnTo>
                          <a:pt x="227" y="41"/>
                        </a:lnTo>
                        <a:lnTo>
                          <a:pt x="227" y="39"/>
                        </a:lnTo>
                        <a:lnTo>
                          <a:pt x="227" y="37"/>
                        </a:lnTo>
                        <a:lnTo>
                          <a:pt x="225" y="37"/>
                        </a:lnTo>
                        <a:lnTo>
                          <a:pt x="222" y="37"/>
                        </a:lnTo>
                        <a:lnTo>
                          <a:pt x="220" y="37"/>
                        </a:lnTo>
                        <a:lnTo>
                          <a:pt x="219" y="39"/>
                        </a:lnTo>
                        <a:lnTo>
                          <a:pt x="217" y="41"/>
                        </a:lnTo>
                        <a:lnTo>
                          <a:pt x="217" y="42"/>
                        </a:lnTo>
                        <a:lnTo>
                          <a:pt x="219" y="44"/>
                        </a:lnTo>
                        <a:lnTo>
                          <a:pt x="220" y="47"/>
                        </a:lnTo>
                        <a:lnTo>
                          <a:pt x="224" y="47"/>
                        </a:lnTo>
                        <a:lnTo>
                          <a:pt x="225" y="51"/>
                        </a:lnTo>
                        <a:lnTo>
                          <a:pt x="225" y="53"/>
                        </a:lnTo>
                        <a:lnTo>
                          <a:pt x="222" y="53"/>
                        </a:lnTo>
                        <a:lnTo>
                          <a:pt x="222" y="51"/>
                        </a:lnTo>
                        <a:lnTo>
                          <a:pt x="220" y="49"/>
                        </a:lnTo>
                        <a:lnTo>
                          <a:pt x="217" y="47"/>
                        </a:lnTo>
                        <a:lnTo>
                          <a:pt x="215" y="46"/>
                        </a:lnTo>
                        <a:lnTo>
                          <a:pt x="212" y="44"/>
                        </a:lnTo>
                        <a:lnTo>
                          <a:pt x="210" y="44"/>
                        </a:lnTo>
                        <a:lnTo>
                          <a:pt x="209" y="44"/>
                        </a:lnTo>
                        <a:lnTo>
                          <a:pt x="210" y="46"/>
                        </a:lnTo>
                        <a:lnTo>
                          <a:pt x="212" y="47"/>
                        </a:lnTo>
                        <a:lnTo>
                          <a:pt x="215" y="49"/>
                        </a:lnTo>
                        <a:lnTo>
                          <a:pt x="214" y="51"/>
                        </a:lnTo>
                        <a:lnTo>
                          <a:pt x="212" y="51"/>
                        </a:lnTo>
                        <a:lnTo>
                          <a:pt x="210" y="49"/>
                        </a:lnTo>
                        <a:lnTo>
                          <a:pt x="209" y="51"/>
                        </a:lnTo>
                        <a:lnTo>
                          <a:pt x="209" y="49"/>
                        </a:lnTo>
                        <a:lnTo>
                          <a:pt x="205" y="49"/>
                        </a:lnTo>
                        <a:lnTo>
                          <a:pt x="207" y="46"/>
                        </a:lnTo>
                        <a:lnTo>
                          <a:pt x="205" y="44"/>
                        </a:lnTo>
                        <a:lnTo>
                          <a:pt x="204" y="46"/>
                        </a:lnTo>
                        <a:lnTo>
                          <a:pt x="204" y="47"/>
                        </a:lnTo>
                        <a:lnTo>
                          <a:pt x="202" y="49"/>
                        </a:lnTo>
                        <a:lnTo>
                          <a:pt x="202" y="51"/>
                        </a:lnTo>
                        <a:lnTo>
                          <a:pt x="202" y="53"/>
                        </a:lnTo>
                        <a:lnTo>
                          <a:pt x="204" y="53"/>
                        </a:lnTo>
                        <a:lnTo>
                          <a:pt x="202" y="54"/>
                        </a:lnTo>
                        <a:lnTo>
                          <a:pt x="200" y="54"/>
                        </a:lnTo>
                        <a:lnTo>
                          <a:pt x="197" y="56"/>
                        </a:lnTo>
                        <a:lnTo>
                          <a:pt x="195" y="56"/>
                        </a:lnTo>
                        <a:lnTo>
                          <a:pt x="195" y="58"/>
                        </a:lnTo>
                        <a:lnTo>
                          <a:pt x="195" y="59"/>
                        </a:lnTo>
                        <a:lnTo>
                          <a:pt x="195" y="61"/>
                        </a:lnTo>
                        <a:lnTo>
                          <a:pt x="197" y="61"/>
                        </a:lnTo>
                        <a:lnTo>
                          <a:pt x="199" y="63"/>
                        </a:lnTo>
                        <a:lnTo>
                          <a:pt x="197" y="61"/>
                        </a:lnTo>
                        <a:lnTo>
                          <a:pt x="197" y="64"/>
                        </a:lnTo>
                        <a:lnTo>
                          <a:pt x="193" y="64"/>
                        </a:lnTo>
                        <a:lnTo>
                          <a:pt x="192" y="64"/>
                        </a:lnTo>
                        <a:lnTo>
                          <a:pt x="193" y="66"/>
                        </a:lnTo>
                        <a:lnTo>
                          <a:pt x="193" y="68"/>
                        </a:lnTo>
                        <a:lnTo>
                          <a:pt x="190" y="66"/>
                        </a:lnTo>
                        <a:lnTo>
                          <a:pt x="188" y="68"/>
                        </a:lnTo>
                        <a:lnTo>
                          <a:pt x="187" y="68"/>
                        </a:lnTo>
                        <a:lnTo>
                          <a:pt x="182" y="68"/>
                        </a:lnTo>
                        <a:lnTo>
                          <a:pt x="180" y="69"/>
                        </a:lnTo>
                        <a:lnTo>
                          <a:pt x="178" y="71"/>
                        </a:lnTo>
                        <a:lnTo>
                          <a:pt x="182" y="73"/>
                        </a:lnTo>
                        <a:lnTo>
                          <a:pt x="185" y="71"/>
                        </a:lnTo>
                        <a:lnTo>
                          <a:pt x="187" y="71"/>
                        </a:lnTo>
                        <a:lnTo>
                          <a:pt x="188" y="71"/>
                        </a:lnTo>
                        <a:lnTo>
                          <a:pt x="190" y="73"/>
                        </a:lnTo>
                        <a:lnTo>
                          <a:pt x="193" y="71"/>
                        </a:lnTo>
                        <a:lnTo>
                          <a:pt x="195" y="71"/>
                        </a:lnTo>
                        <a:lnTo>
                          <a:pt x="195" y="73"/>
                        </a:lnTo>
                        <a:lnTo>
                          <a:pt x="193" y="73"/>
                        </a:lnTo>
                        <a:lnTo>
                          <a:pt x="192" y="74"/>
                        </a:lnTo>
                        <a:lnTo>
                          <a:pt x="190" y="76"/>
                        </a:lnTo>
                        <a:lnTo>
                          <a:pt x="188" y="76"/>
                        </a:lnTo>
                        <a:lnTo>
                          <a:pt x="187" y="74"/>
                        </a:lnTo>
                        <a:lnTo>
                          <a:pt x="183" y="74"/>
                        </a:lnTo>
                        <a:lnTo>
                          <a:pt x="180" y="74"/>
                        </a:lnTo>
                        <a:lnTo>
                          <a:pt x="178" y="74"/>
                        </a:lnTo>
                        <a:lnTo>
                          <a:pt x="175" y="74"/>
                        </a:lnTo>
                        <a:lnTo>
                          <a:pt x="175" y="76"/>
                        </a:lnTo>
                        <a:lnTo>
                          <a:pt x="175" y="78"/>
                        </a:lnTo>
                        <a:lnTo>
                          <a:pt x="177" y="80"/>
                        </a:lnTo>
                        <a:lnTo>
                          <a:pt x="177" y="81"/>
                        </a:lnTo>
                        <a:lnTo>
                          <a:pt x="175" y="81"/>
                        </a:lnTo>
                        <a:lnTo>
                          <a:pt x="177" y="83"/>
                        </a:lnTo>
                        <a:lnTo>
                          <a:pt x="177" y="86"/>
                        </a:lnTo>
                        <a:lnTo>
                          <a:pt x="175" y="85"/>
                        </a:lnTo>
                        <a:lnTo>
                          <a:pt x="175" y="86"/>
                        </a:lnTo>
                        <a:lnTo>
                          <a:pt x="173" y="88"/>
                        </a:lnTo>
                        <a:lnTo>
                          <a:pt x="172" y="85"/>
                        </a:lnTo>
                        <a:lnTo>
                          <a:pt x="172" y="83"/>
                        </a:lnTo>
                        <a:lnTo>
                          <a:pt x="172" y="80"/>
                        </a:lnTo>
                        <a:lnTo>
                          <a:pt x="168" y="81"/>
                        </a:lnTo>
                        <a:lnTo>
                          <a:pt x="168" y="83"/>
                        </a:lnTo>
                        <a:lnTo>
                          <a:pt x="165" y="83"/>
                        </a:lnTo>
                        <a:lnTo>
                          <a:pt x="168" y="85"/>
                        </a:lnTo>
                        <a:lnTo>
                          <a:pt x="166" y="85"/>
                        </a:lnTo>
                        <a:lnTo>
                          <a:pt x="165" y="85"/>
                        </a:lnTo>
                        <a:lnTo>
                          <a:pt x="163" y="86"/>
                        </a:lnTo>
                        <a:lnTo>
                          <a:pt x="161" y="88"/>
                        </a:lnTo>
                        <a:lnTo>
                          <a:pt x="163" y="90"/>
                        </a:lnTo>
                        <a:lnTo>
                          <a:pt x="165" y="91"/>
                        </a:lnTo>
                        <a:lnTo>
                          <a:pt x="163" y="91"/>
                        </a:lnTo>
                        <a:lnTo>
                          <a:pt x="165" y="93"/>
                        </a:lnTo>
                        <a:lnTo>
                          <a:pt x="163" y="93"/>
                        </a:lnTo>
                        <a:lnTo>
                          <a:pt x="161" y="95"/>
                        </a:lnTo>
                        <a:lnTo>
                          <a:pt x="160" y="96"/>
                        </a:lnTo>
                        <a:lnTo>
                          <a:pt x="158" y="96"/>
                        </a:lnTo>
                        <a:lnTo>
                          <a:pt x="161" y="96"/>
                        </a:lnTo>
                        <a:lnTo>
                          <a:pt x="165" y="96"/>
                        </a:lnTo>
                        <a:lnTo>
                          <a:pt x="166" y="96"/>
                        </a:lnTo>
                        <a:lnTo>
                          <a:pt x="165" y="98"/>
                        </a:lnTo>
                        <a:lnTo>
                          <a:pt x="163" y="98"/>
                        </a:lnTo>
                        <a:lnTo>
                          <a:pt x="161" y="100"/>
                        </a:lnTo>
                        <a:lnTo>
                          <a:pt x="158" y="98"/>
                        </a:lnTo>
                        <a:lnTo>
                          <a:pt x="156" y="98"/>
                        </a:lnTo>
                        <a:lnTo>
                          <a:pt x="155" y="98"/>
                        </a:lnTo>
                        <a:lnTo>
                          <a:pt x="155" y="96"/>
                        </a:lnTo>
                        <a:lnTo>
                          <a:pt x="153" y="96"/>
                        </a:lnTo>
                        <a:lnTo>
                          <a:pt x="150" y="98"/>
                        </a:lnTo>
                        <a:lnTo>
                          <a:pt x="148" y="101"/>
                        </a:lnTo>
                        <a:lnTo>
                          <a:pt x="145" y="103"/>
                        </a:lnTo>
                        <a:lnTo>
                          <a:pt x="145" y="105"/>
                        </a:lnTo>
                        <a:lnTo>
                          <a:pt x="146" y="105"/>
                        </a:lnTo>
                        <a:lnTo>
                          <a:pt x="146" y="107"/>
                        </a:lnTo>
                        <a:lnTo>
                          <a:pt x="145" y="108"/>
                        </a:lnTo>
                        <a:lnTo>
                          <a:pt x="143" y="110"/>
                        </a:lnTo>
                        <a:lnTo>
                          <a:pt x="143" y="112"/>
                        </a:lnTo>
                        <a:lnTo>
                          <a:pt x="141" y="112"/>
                        </a:lnTo>
                        <a:lnTo>
                          <a:pt x="139" y="112"/>
                        </a:lnTo>
                        <a:lnTo>
                          <a:pt x="136" y="112"/>
                        </a:lnTo>
                        <a:lnTo>
                          <a:pt x="136" y="113"/>
                        </a:lnTo>
                        <a:lnTo>
                          <a:pt x="134" y="113"/>
                        </a:lnTo>
                        <a:lnTo>
                          <a:pt x="136" y="117"/>
                        </a:lnTo>
                        <a:lnTo>
                          <a:pt x="134" y="117"/>
                        </a:lnTo>
                        <a:lnTo>
                          <a:pt x="133" y="117"/>
                        </a:lnTo>
                        <a:lnTo>
                          <a:pt x="133" y="118"/>
                        </a:lnTo>
                        <a:lnTo>
                          <a:pt x="129" y="120"/>
                        </a:lnTo>
                        <a:lnTo>
                          <a:pt x="128" y="122"/>
                        </a:lnTo>
                        <a:lnTo>
                          <a:pt x="128" y="123"/>
                        </a:lnTo>
                        <a:lnTo>
                          <a:pt x="131" y="123"/>
                        </a:lnTo>
                        <a:lnTo>
                          <a:pt x="131" y="125"/>
                        </a:lnTo>
                        <a:lnTo>
                          <a:pt x="128" y="125"/>
                        </a:lnTo>
                        <a:lnTo>
                          <a:pt x="126" y="125"/>
                        </a:lnTo>
                        <a:lnTo>
                          <a:pt x="126" y="127"/>
                        </a:lnTo>
                        <a:lnTo>
                          <a:pt x="128" y="128"/>
                        </a:lnTo>
                        <a:lnTo>
                          <a:pt x="129" y="128"/>
                        </a:lnTo>
                        <a:lnTo>
                          <a:pt x="131" y="128"/>
                        </a:lnTo>
                        <a:lnTo>
                          <a:pt x="129" y="130"/>
                        </a:lnTo>
                        <a:lnTo>
                          <a:pt x="128" y="130"/>
                        </a:lnTo>
                        <a:lnTo>
                          <a:pt x="124" y="132"/>
                        </a:lnTo>
                        <a:lnTo>
                          <a:pt x="123" y="132"/>
                        </a:lnTo>
                        <a:lnTo>
                          <a:pt x="123" y="133"/>
                        </a:lnTo>
                        <a:lnTo>
                          <a:pt x="123" y="135"/>
                        </a:lnTo>
                        <a:lnTo>
                          <a:pt x="121" y="135"/>
                        </a:lnTo>
                        <a:lnTo>
                          <a:pt x="118" y="137"/>
                        </a:lnTo>
                        <a:lnTo>
                          <a:pt x="116" y="139"/>
                        </a:lnTo>
                        <a:lnTo>
                          <a:pt x="119" y="139"/>
                        </a:lnTo>
                        <a:lnTo>
                          <a:pt x="121" y="137"/>
                        </a:lnTo>
                        <a:lnTo>
                          <a:pt x="124" y="137"/>
                        </a:lnTo>
                        <a:lnTo>
                          <a:pt x="124" y="139"/>
                        </a:lnTo>
                        <a:lnTo>
                          <a:pt x="126" y="140"/>
                        </a:lnTo>
                        <a:lnTo>
                          <a:pt x="123" y="140"/>
                        </a:lnTo>
                        <a:lnTo>
                          <a:pt x="121" y="139"/>
                        </a:lnTo>
                        <a:lnTo>
                          <a:pt x="119" y="140"/>
                        </a:lnTo>
                        <a:lnTo>
                          <a:pt x="121" y="142"/>
                        </a:lnTo>
                        <a:lnTo>
                          <a:pt x="119" y="142"/>
                        </a:lnTo>
                        <a:lnTo>
                          <a:pt x="119" y="144"/>
                        </a:lnTo>
                        <a:lnTo>
                          <a:pt x="119" y="145"/>
                        </a:lnTo>
                        <a:lnTo>
                          <a:pt x="118" y="145"/>
                        </a:lnTo>
                        <a:lnTo>
                          <a:pt x="116" y="145"/>
                        </a:lnTo>
                        <a:lnTo>
                          <a:pt x="116" y="147"/>
                        </a:lnTo>
                        <a:lnTo>
                          <a:pt x="116" y="149"/>
                        </a:lnTo>
                        <a:lnTo>
                          <a:pt x="118" y="149"/>
                        </a:lnTo>
                        <a:lnTo>
                          <a:pt x="118" y="152"/>
                        </a:lnTo>
                        <a:lnTo>
                          <a:pt x="119" y="154"/>
                        </a:lnTo>
                        <a:lnTo>
                          <a:pt x="116" y="152"/>
                        </a:lnTo>
                        <a:lnTo>
                          <a:pt x="114" y="150"/>
                        </a:lnTo>
                        <a:lnTo>
                          <a:pt x="113" y="149"/>
                        </a:lnTo>
                        <a:lnTo>
                          <a:pt x="113" y="150"/>
                        </a:lnTo>
                        <a:lnTo>
                          <a:pt x="113" y="152"/>
                        </a:lnTo>
                        <a:lnTo>
                          <a:pt x="113" y="154"/>
                        </a:lnTo>
                        <a:lnTo>
                          <a:pt x="111" y="154"/>
                        </a:lnTo>
                        <a:lnTo>
                          <a:pt x="109" y="155"/>
                        </a:lnTo>
                        <a:lnTo>
                          <a:pt x="111" y="155"/>
                        </a:lnTo>
                        <a:lnTo>
                          <a:pt x="113" y="155"/>
                        </a:lnTo>
                        <a:lnTo>
                          <a:pt x="114" y="154"/>
                        </a:lnTo>
                        <a:lnTo>
                          <a:pt x="114" y="155"/>
                        </a:lnTo>
                        <a:lnTo>
                          <a:pt x="114" y="157"/>
                        </a:lnTo>
                        <a:lnTo>
                          <a:pt x="114" y="159"/>
                        </a:lnTo>
                        <a:lnTo>
                          <a:pt x="113" y="159"/>
                        </a:lnTo>
                        <a:lnTo>
                          <a:pt x="111" y="159"/>
                        </a:lnTo>
                        <a:lnTo>
                          <a:pt x="109" y="159"/>
                        </a:lnTo>
                        <a:lnTo>
                          <a:pt x="107" y="160"/>
                        </a:lnTo>
                        <a:lnTo>
                          <a:pt x="107" y="159"/>
                        </a:lnTo>
                        <a:lnTo>
                          <a:pt x="106" y="159"/>
                        </a:lnTo>
                        <a:lnTo>
                          <a:pt x="104" y="162"/>
                        </a:lnTo>
                        <a:lnTo>
                          <a:pt x="104" y="164"/>
                        </a:lnTo>
                        <a:lnTo>
                          <a:pt x="101" y="164"/>
                        </a:lnTo>
                        <a:lnTo>
                          <a:pt x="99" y="166"/>
                        </a:lnTo>
                        <a:lnTo>
                          <a:pt x="99" y="167"/>
                        </a:lnTo>
                        <a:lnTo>
                          <a:pt x="97" y="169"/>
                        </a:lnTo>
                        <a:lnTo>
                          <a:pt x="101" y="169"/>
                        </a:lnTo>
                        <a:lnTo>
                          <a:pt x="102" y="167"/>
                        </a:lnTo>
                        <a:lnTo>
                          <a:pt x="104" y="167"/>
                        </a:lnTo>
                        <a:lnTo>
                          <a:pt x="102" y="169"/>
                        </a:lnTo>
                        <a:lnTo>
                          <a:pt x="99" y="169"/>
                        </a:lnTo>
                        <a:lnTo>
                          <a:pt x="99" y="171"/>
                        </a:lnTo>
                        <a:lnTo>
                          <a:pt x="101" y="174"/>
                        </a:lnTo>
                        <a:lnTo>
                          <a:pt x="99" y="176"/>
                        </a:lnTo>
                        <a:lnTo>
                          <a:pt x="96" y="176"/>
                        </a:lnTo>
                        <a:lnTo>
                          <a:pt x="94" y="174"/>
                        </a:lnTo>
                        <a:lnTo>
                          <a:pt x="92" y="174"/>
                        </a:lnTo>
                        <a:lnTo>
                          <a:pt x="91" y="174"/>
                        </a:lnTo>
                        <a:lnTo>
                          <a:pt x="89" y="176"/>
                        </a:lnTo>
                        <a:lnTo>
                          <a:pt x="87" y="177"/>
                        </a:lnTo>
                        <a:lnTo>
                          <a:pt x="86" y="177"/>
                        </a:lnTo>
                        <a:lnTo>
                          <a:pt x="86" y="179"/>
                        </a:lnTo>
                        <a:lnTo>
                          <a:pt x="84" y="181"/>
                        </a:lnTo>
                        <a:lnTo>
                          <a:pt x="82" y="181"/>
                        </a:lnTo>
                        <a:lnTo>
                          <a:pt x="80" y="182"/>
                        </a:lnTo>
                        <a:lnTo>
                          <a:pt x="80" y="184"/>
                        </a:lnTo>
                        <a:lnTo>
                          <a:pt x="79" y="186"/>
                        </a:lnTo>
                        <a:lnTo>
                          <a:pt x="77" y="186"/>
                        </a:lnTo>
                        <a:lnTo>
                          <a:pt x="79" y="187"/>
                        </a:lnTo>
                        <a:lnTo>
                          <a:pt x="79" y="189"/>
                        </a:lnTo>
                        <a:lnTo>
                          <a:pt x="75" y="191"/>
                        </a:lnTo>
                        <a:lnTo>
                          <a:pt x="72" y="191"/>
                        </a:lnTo>
                        <a:lnTo>
                          <a:pt x="72" y="194"/>
                        </a:lnTo>
                        <a:lnTo>
                          <a:pt x="74" y="194"/>
                        </a:lnTo>
                        <a:lnTo>
                          <a:pt x="77" y="194"/>
                        </a:lnTo>
                        <a:lnTo>
                          <a:pt x="75" y="196"/>
                        </a:lnTo>
                        <a:lnTo>
                          <a:pt x="77" y="199"/>
                        </a:lnTo>
                        <a:lnTo>
                          <a:pt x="79" y="199"/>
                        </a:lnTo>
                        <a:lnTo>
                          <a:pt x="82" y="198"/>
                        </a:lnTo>
                        <a:lnTo>
                          <a:pt x="84" y="198"/>
                        </a:lnTo>
                        <a:lnTo>
                          <a:pt x="87" y="196"/>
                        </a:lnTo>
                        <a:lnTo>
                          <a:pt x="91" y="194"/>
                        </a:lnTo>
                        <a:lnTo>
                          <a:pt x="94" y="192"/>
                        </a:lnTo>
                        <a:lnTo>
                          <a:pt x="96" y="192"/>
                        </a:lnTo>
                        <a:lnTo>
                          <a:pt x="97" y="191"/>
                        </a:lnTo>
                        <a:lnTo>
                          <a:pt x="99" y="191"/>
                        </a:lnTo>
                        <a:lnTo>
                          <a:pt x="97" y="192"/>
                        </a:lnTo>
                        <a:lnTo>
                          <a:pt x="96" y="194"/>
                        </a:lnTo>
                        <a:lnTo>
                          <a:pt x="94" y="194"/>
                        </a:lnTo>
                        <a:lnTo>
                          <a:pt x="92" y="194"/>
                        </a:lnTo>
                        <a:lnTo>
                          <a:pt x="89" y="196"/>
                        </a:lnTo>
                        <a:lnTo>
                          <a:pt x="87" y="198"/>
                        </a:lnTo>
                        <a:lnTo>
                          <a:pt x="89" y="199"/>
                        </a:lnTo>
                        <a:lnTo>
                          <a:pt x="87" y="199"/>
                        </a:lnTo>
                        <a:lnTo>
                          <a:pt x="86" y="201"/>
                        </a:lnTo>
                        <a:lnTo>
                          <a:pt x="82" y="201"/>
                        </a:lnTo>
                        <a:lnTo>
                          <a:pt x="80" y="201"/>
                        </a:lnTo>
                        <a:lnTo>
                          <a:pt x="79" y="201"/>
                        </a:lnTo>
                        <a:lnTo>
                          <a:pt x="80" y="203"/>
                        </a:lnTo>
                        <a:lnTo>
                          <a:pt x="79" y="203"/>
                        </a:lnTo>
                        <a:lnTo>
                          <a:pt x="75" y="203"/>
                        </a:lnTo>
                        <a:lnTo>
                          <a:pt x="75" y="201"/>
                        </a:lnTo>
                        <a:lnTo>
                          <a:pt x="75" y="199"/>
                        </a:lnTo>
                        <a:lnTo>
                          <a:pt x="74" y="198"/>
                        </a:lnTo>
                        <a:lnTo>
                          <a:pt x="72" y="198"/>
                        </a:lnTo>
                        <a:lnTo>
                          <a:pt x="70" y="198"/>
                        </a:lnTo>
                        <a:lnTo>
                          <a:pt x="69" y="198"/>
                        </a:lnTo>
                        <a:lnTo>
                          <a:pt x="67" y="199"/>
                        </a:lnTo>
                        <a:lnTo>
                          <a:pt x="65" y="199"/>
                        </a:lnTo>
                        <a:lnTo>
                          <a:pt x="65" y="201"/>
                        </a:lnTo>
                        <a:lnTo>
                          <a:pt x="67" y="203"/>
                        </a:lnTo>
                        <a:lnTo>
                          <a:pt x="69" y="203"/>
                        </a:lnTo>
                        <a:lnTo>
                          <a:pt x="65" y="204"/>
                        </a:lnTo>
                        <a:lnTo>
                          <a:pt x="64" y="203"/>
                        </a:lnTo>
                        <a:lnTo>
                          <a:pt x="64" y="201"/>
                        </a:lnTo>
                        <a:lnTo>
                          <a:pt x="60" y="201"/>
                        </a:lnTo>
                        <a:lnTo>
                          <a:pt x="59" y="201"/>
                        </a:lnTo>
                        <a:lnTo>
                          <a:pt x="57" y="203"/>
                        </a:lnTo>
                        <a:lnTo>
                          <a:pt x="55" y="203"/>
                        </a:lnTo>
                        <a:lnTo>
                          <a:pt x="54" y="203"/>
                        </a:lnTo>
                        <a:lnTo>
                          <a:pt x="54" y="204"/>
                        </a:lnTo>
                        <a:lnTo>
                          <a:pt x="54" y="206"/>
                        </a:lnTo>
                        <a:lnTo>
                          <a:pt x="52" y="206"/>
                        </a:lnTo>
                        <a:lnTo>
                          <a:pt x="52" y="208"/>
                        </a:lnTo>
                        <a:lnTo>
                          <a:pt x="50" y="208"/>
                        </a:lnTo>
                        <a:lnTo>
                          <a:pt x="48" y="208"/>
                        </a:lnTo>
                        <a:lnTo>
                          <a:pt x="48" y="206"/>
                        </a:lnTo>
                        <a:lnTo>
                          <a:pt x="47" y="206"/>
                        </a:lnTo>
                        <a:lnTo>
                          <a:pt x="47" y="208"/>
                        </a:lnTo>
                        <a:lnTo>
                          <a:pt x="47" y="209"/>
                        </a:lnTo>
                        <a:lnTo>
                          <a:pt x="45" y="209"/>
                        </a:lnTo>
                        <a:lnTo>
                          <a:pt x="43" y="209"/>
                        </a:lnTo>
                        <a:lnTo>
                          <a:pt x="42" y="209"/>
                        </a:lnTo>
                        <a:lnTo>
                          <a:pt x="40" y="209"/>
                        </a:lnTo>
                        <a:lnTo>
                          <a:pt x="38" y="211"/>
                        </a:lnTo>
                        <a:lnTo>
                          <a:pt x="38" y="213"/>
                        </a:lnTo>
                        <a:lnTo>
                          <a:pt x="37" y="214"/>
                        </a:lnTo>
                        <a:lnTo>
                          <a:pt x="35" y="214"/>
                        </a:lnTo>
                        <a:lnTo>
                          <a:pt x="33" y="214"/>
                        </a:lnTo>
                        <a:lnTo>
                          <a:pt x="30" y="216"/>
                        </a:lnTo>
                        <a:lnTo>
                          <a:pt x="32" y="218"/>
                        </a:lnTo>
                        <a:lnTo>
                          <a:pt x="30" y="219"/>
                        </a:lnTo>
                        <a:lnTo>
                          <a:pt x="33" y="219"/>
                        </a:lnTo>
                        <a:lnTo>
                          <a:pt x="37" y="219"/>
                        </a:lnTo>
                        <a:lnTo>
                          <a:pt x="38" y="221"/>
                        </a:lnTo>
                        <a:lnTo>
                          <a:pt x="40" y="221"/>
                        </a:lnTo>
                        <a:lnTo>
                          <a:pt x="38" y="221"/>
                        </a:lnTo>
                        <a:lnTo>
                          <a:pt x="37" y="223"/>
                        </a:lnTo>
                        <a:lnTo>
                          <a:pt x="38" y="225"/>
                        </a:lnTo>
                        <a:lnTo>
                          <a:pt x="37" y="223"/>
                        </a:lnTo>
                        <a:lnTo>
                          <a:pt x="33" y="223"/>
                        </a:lnTo>
                        <a:lnTo>
                          <a:pt x="32" y="223"/>
                        </a:lnTo>
                        <a:lnTo>
                          <a:pt x="30" y="223"/>
                        </a:lnTo>
                        <a:lnTo>
                          <a:pt x="27" y="223"/>
                        </a:lnTo>
                        <a:lnTo>
                          <a:pt x="25" y="223"/>
                        </a:lnTo>
                        <a:lnTo>
                          <a:pt x="23" y="223"/>
                        </a:lnTo>
                        <a:lnTo>
                          <a:pt x="21" y="223"/>
                        </a:lnTo>
                        <a:lnTo>
                          <a:pt x="20" y="225"/>
                        </a:lnTo>
                        <a:lnTo>
                          <a:pt x="21" y="225"/>
                        </a:lnTo>
                        <a:lnTo>
                          <a:pt x="21" y="226"/>
                        </a:lnTo>
                        <a:lnTo>
                          <a:pt x="20" y="226"/>
                        </a:lnTo>
                        <a:lnTo>
                          <a:pt x="23" y="226"/>
                        </a:lnTo>
                        <a:lnTo>
                          <a:pt x="25" y="226"/>
                        </a:lnTo>
                        <a:lnTo>
                          <a:pt x="23" y="228"/>
                        </a:lnTo>
                        <a:lnTo>
                          <a:pt x="21" y="228"/>
                        </a:lnTo>
                        <a:lnTo>
                          <a:pt x="21" y="230"/>
                        </a:lnTo>
                        <a:lnTo>
                          <a:pt x="23" y="231"/>
                        </a:lnTo>
                        <a:lnTo>
                          <a:pt x="23" y="233"/>
                        </a:lnTo>
                        <a:lnTo>
                          <a:pt x="21" y="230"/>
                        </a:lnTo>
                        <a:lnTo>
                          <a:pt x="20" y="230"/>
                        </a:lnTo>
                        <a:lnTo>
                          <a:pt x="16" y="230"/>
                        </a:lnTo>
                        <a:lnTo>
                          <a:pt x="16" y="231"/>
                        </a:lnTo>
                        <a:lnTo>
                          <a:pt x="15" y="233"/>
                        </a:lnTo>
                        <a:lnTo>
                          <a:pt x="15" y="235"/>
                        </a:lnTo>
                        <a:lnTo>
                          <a:pt x="16" y="235"/>
                        </a:lnTo>
                        <a:lnTo>
                          <a:pt x="16" y="236"/>
                        </a:lnTo>
                        <a:lnTo>
                          <a:pt x="15" y="236"/>
                        </a:lnTo>
                        <a:lnTo>
                          <a:pt x="15" y="235"/>
                        </a:lnTo>
                        <a:lnTo>
                          <a:pt x="13" y="233"/>
                        </a:lnTo>
                        <a:lnTo>
                          <a:pt x="11" y="235"/>
                        </a:lnTo>
                        <a:lnTo>
                          <a:pt x="10" y="235"/>
                        </a:lnTo>
                        <a:lnTo>
                          <a:pt x="6" y="235"/>
                        </a:lnTo>
                        <a:lnTo>
                          <a:pt x="6" y="236"/>
                        </a:lnTo>
                        <a:lnTo>
                          <a:pt x="5" y="235"/>
                        </a:lnTo>
                        <a:lnTo>
                          <a:pt x="3" y="233"/>
                        </a:lnTo>
                        <a:lnTo>
                          <a:pt x="1" y="235"/>
                        </a:lnTo>
                        <a:lnTo>
                          <a:pt x="3" y="236"/>
                        </a:lnTo>
                        <a:lnTo>
                          <a:pt x="3" y="238"/>
                        </a:lnTo>
                        <a:lnTo>
                          <a:pt x="1" y="238"/>
                        </a:lnTo>
                        <a:lnTo>
                          <a:pt x="3" y="240"/>
                        </a:lnTo>
                        <a:lnTo>
                          <a:pt x="5" y="240"/>
                        </a:lnTo>
                        <a:lnTo>
                          <a:pt x="6" y="240"/>
                        </a:lnTo>
                        <a:lnTo>
                          <a:pt x="8" y="240"/>
                        </a:lnTo>
                        <a:lnTo>
                          <a:pt x="10" y="240"/>
                        </a:lnTo>
                        <a:lnTo>
                          <a:pt x="13" y="240"/>
                        </a:lnTo>
                        <a:lnTo>
                          <a:pt x="15" y="238"/>
                        </a:lnTo>
                        <a:lnTo>
                          <a:pt x="16" y="238"/>
                        </a:lnTo>
                        <a:lnTo>
                          <a:pt x="18" y="238"/>
                        </a:lnTo>
                        <a:lnTo>
                          <a:pt x="16" y="238"/>
                        </a:lnTo>
                        <a:lnTo>
                          <a:pt x="13" y="240"/>
                        </a:lnTo>
                        <a:lnTo>
                          <a:pt x="15" y="240"/>
                        </a:lnTo>
                        <a:lnTo>
                          <a:pt x="18" y="240"/>
                        </a:lnTo>
                        <a:lnTo>
                          <a:pt x="20" y="240"/>
                        </a:lnTo>
                        <a:lnTo>
                          <a:pt x="18" y="241"/>
                        </a:lnTo>
                        <a:lnTo>
                          <a:pt x="13" y="241"/>
                        </a:lnTo>
                        <a:lnTo>
                          <a:pt x="11" y="241"/>
                        </a:lnTo>
                        <a:lnTo>
                          <a:pt x="10" y="241"/>
                        </a:lnTo>
                        <a:lnTo>
                          <a:pt x="8" y="241"/>
                        </a:lnTo>
                        <a:lnTo>
                          <a:pt x="6" y="241"/>
                        </a:lnTo>
                        <a:lnTo>
                          <a:pt x="3" y="243"/>
                        </a:lnTo>
                        <a:lnTo>
                          <a:pt x="0" y="243"/>
                        </a:lnTo>
                        <a:lnTo>
                          <a:pt x="0" y="245"/>
                        </a:lnTo>
                        <a:lnTo>
                          <a:pt x="0" y="246"/>
                        </a:lnTo>
                        <a:lnTo>
                          <a:pt x="1" y="246"/>
                        </a:lnTo>
                        <a:lnTo>
                          <a:pt x="3" y="246"/>
                        </a:lnTo>
                        <a:lnTo>
                          <a:pt x="3" y="248"/>
                        </a:lnTo>
                        <a:lnTo>
                          <a:pt x="3" y="250"/>
                        </a:lnTo>
                        <a:lnTo>
                          <a:pt x="1" y="250"/>
                        </a:lnTo>
                        <a:lnTo>
                          <a:pt x="0" y="251"/>
                        </a:lnTo>
                        <a:lnTo>
                          <a:pt x="1" y="253"/>
                        </a:lnTo>
                        <a:lnTo>
                          <a:pt x="0" y="255"/>
                        </a:lnTo>
                        <a:lnTo>
                          <a:pt x="0" y="257"/>
                        </a:lnTo>
                        <a:lnTo>
                          <a:pt x="1" y="257"/>
                        </a:lnTo>
                        <a:lnTo>
                          <a:pt x="1" y="258"/>
                        </a:lnTo>
                        <a:lnTo>
                          <a:pt x="3" y="258"/>
                        </a:lnTo>
                        <a:lnTo>
                          <a:pt x="5" y="258"/>
                        </a:lnTo>
                        <a:lnTo>
                          <a:pt x="8" y="258"/>
                        </a:lnTo>
                        <a:lnTo>
                          <a:pt x="11" y="257"/>
                        </a:lnTo>
                        <a:lnTo>
                          <a:pt x="15" y="257"/>
                        </a:lnTo>
                        <a:lnTo>
                          <a:pt x="16" y="257"/>
                        </a:lnTo>
                        <a:lnTo>
                          <a:pt x="20" y="257"/>
                        </a:lnTo>
                        <a:lnTo>
                          <a:pt x="20" y="255"/>
                        </a:lnTo>
                        <a:lnTo>
                          <a:pt x="23" y="251"/>
                        </a:lnTo>
                        <a:lnTo>
                          <a:pt x="23" y="253"/>
                        </a:lnTo>
                        <a:lnTo>
                          <a:pt x="21" y="257"/>
                        </a:lnTo>
                        <a:lnTo>
                          <a:pt x="23" y="257"/>
                        </a:lnTo>
                        <a:lnTo>
                          <a:pt x="27" y="257"/>
                        </a:lnTo>
                        <a:lnTo>
                          <a:pt x="28" y="257"/>
                        </a:lnTo>
                        <a:lnTo>
                          <a:pt x="30" y="257"/>
                        </a:lnTo>
                        <a:lnTo>
                          <a:pt x="33" y="255"/>
                        </a:lnTo>
                        <a:lnTo>
                          <a:pt x="33" y="253"/>
                        </a:lnTo>
                        <a:lnTo>
                          <a:pt x="35" y="250"/>
                        </a:lnTo>
                        <a:lnTo>
                          <a:pt x="38" y="248"/>
                        </a:lnTo>
                        <a:lnTo>
                          <a:pt x="38" y="250"/>
                        </a:lnTo>
                        <a:lnTo>
                          <a:pt x="37" y="253"/>
                        </a:lnTo>
                        <a:lnTo>
                          <a:pt x="35" y="255"/>
                        </a:lnTo>
                        <a:lnTo>
                          <a:pt x="35" y="257"/>
                        </a:lnTo>
                        <a:lnTo>
                          <a:pt x="37" y="255"/>
                        </a:lnTo>
                        <a:lnTo>
                          <a:pt x="38" y="255"/>
                        </a:lnTo>
                        <a:lnTo>
                          <a:pt x="40" y="255"/>
                        </a:lnTo>
                        <a:lnTo>
                          <a:pt x="37" y="258"/>
                        </a:lnTo>
                        <a:lnTo>
                          <a:pt x="32" y="258"/>
                        </a:lnTo>
                        <a:lnTo>
                          <a:pt x="30" y="262"/>
                        </a:lnTo>
                        <a:lnTo>
                          <a:pt x="33" y="263"/>
                        </a:lnTo>
                        <a:lnTo>
                          <a:pt x="32" y="263"/>
                        </a:lnTo>
                        <a:lnTo>
                          <a:pt x="28" y="265"/>
                        </a:lnTo>
                        <a:lnTo>
                          <a:pt x="28" y="262"/>
                        </a:lnTo>
                        <a:lnTo>
                          <a:pt x="28" y="260"/>
                        </a:lnTo>
                        <a:lnTo>
                          <a:pt x="25" y="258"/>
                        </a:lnTo>
                        <a:lnTo>
                          <a:pt x="21" y="258"/>
                        </a:lnTo>
                        <a:lnTo>
                          <a:pt x="18" y="260"/>
                        </a:lnTo>
                        <a:lnTo>
                          <a:pt x="15" y="260"/>
                        </a:lnTo>
                        <a:lnTo>
                          <a:pt x="13" y="260"/>
                        </a:lnTo>
                        <a:lnTo>
                          <a:pt x="10" y="260"/>
                        </a:lnTo>
                        <a:lnTo>
                          <a:pt x="8" y="262"/>
                        </a:lnTo>
                        <a:lnTo>
                          <a:pt x="5" y="260"/>
                        </a:lnTo>
                        <a:lnTo>
                          <a:pt x="1" y="260"/>
                        </a:lnTo>
                        <a:lnTo>
                          <a:pt x="1" y="262"/>
                        </a:lnTo>
                        <a:lnTo>
                          <a:pt x="0" y="263"/>
                        </a:lnTo>
                        <a:lnTo>
                          <a:pt x="0" y="265"/>
                        </a:lnTo>
                        <a:lnTo>
                          <a:pt x="3" y="265"/>
                        </a:lnTo>
                        <a:lnTo>
                          <a:pt x="5" y="267"/>
                        </a:lnTo>
                        <a:lnTo>
                          <a:pt x="5" y="268"/>
                        </a:lnTo>
                        <a:lnTo>
                          <a:pt x="1" y="267"/>
                        </a:lnTo>
                        <a:lnTo>
                          <a:pt x="0" y="265"/>
                        </a:lnTo>
                        <a:lnTo>
                          <a:pt x="0" y="267"/>
                        </a:lnTo>
                        <a:lnTo>
                          <a:pt x="1" y="272"/>
                        </a:lnTo>
                        <a:lnTo>
                          <a:pt x="3" y="272"/>
                        </a:lnTo>
                        <a:lnTo>
                          <a:pt x="8" y="270"/>
                        </a:lnTo>
                        <a:lnTo>
                          <a:pt x="10" y="268"/>
                        </a:lnTo>
                        <a:lnTo>
                          <a:pt x="6" y="272"/>
                        </a:lnTo>
                        <a:lnTo>
                          <a:pt x="5" y="273"/>
                        </a:lnTo>
                        <a:lnTo>
                          <a:pt x="6" y="273"/>
                        </a:lnTo>
                        <a:lnTo>
                          <a:pt x="5" y="275"/>
                        </a:lnTo>
                        <a:lnTo>
                          <a:pt x="3" y="275"/>
                        </a:lnTo>
                        <a:lnTo>
                          <a:pt x="1" y="277"/>
                        </a:lnTo>
                        <a:lnTo>
                          <a:pt x="1" y="278"/>
                        </a:lnTo>
                        <a:lnTo>
                          <a:pt x="3" y="280"/>
                        </a:lnTo>
                        <a:lnTo>
                          <a:pt x="5" y="280"/>
                        </a:lnTo>
                        <a:lnTo>
                          <a:pt x="6" y="280"/>
                        </a:lnTo>
                        <a:lnTo>
                          <a:pt x="8" y="278"/>
                        </a:lnTo>
                        <a:lnTo>
                          <a:pt x="8" y="280"/>
                        </a:lnTo>
                        <a:lnTo>
                          <a:pt x="10" y="282"/>
                        </a:lnTo>
                        <a:lnTo>
                          <a:pt x="10" y="284"/>
                        </a:lnTo>
                        <a:lnTo>
                          <a:pt x="8" y="284"/>
                        </a:lnTo>
                        <a:lnTo>
                          <a:pt x="5" y="285"/>
                        </a:lnTo>
                        <a:lnTo>
                          <a:pt x="6" y="287"/>
                        </a:lnTo>
                        <a:lnTo>
                          <a:pt x="10" y="285"/>
                        </a:lnTo>
                        <a:lnTo>
                          <a:pt x="11" y="284"/>
                        </a:lnTo>
                        <a:lnTo>
                          <a:pt x="11" y="280"/>
                        </a:lnTo>
                        <a:lnTo>
                          <a:pt x="15" y="278"/>
                        </a:lnTo>
                        <a:lnTo>
                          <a:pt x="16" y="277"/>
                        </a:lnTo>
                        <a:lnTo>
                          <a:pt x="20" y="272"/>
                        </a:lnTo>
                        <a:lnTo>
                          <a:pt x="23" y="270"/>
                        </a:lnTo>
                        <a:lnTo>
                          <a:pt x="23" y="272"/>
                        </a:lnTo>
                        <a:lnTo>
                          <a:pt x="27" y="272"/>
                        </a:lnTo>
                        <a:lnTo>
                          <a:pt x="30" y="272"/>
                        </a:lnTo>
                        <a:lnTo>
                          <a:pt x="25" y="273"/>
                        </a:lnTo>
                        <a:lnTo>
                          <a:pt x="25" y="275"/>
                        </a:lnTo>
                        <a:lnTo>
                          <a:pt x="25" y="277"/>
                        </a:lnTo>
                        <a:lnTo>
                          <a:pt x="23" y="275"/>
                        </a:lnTo>
                        <a:lnTo>
                          <a:pt x="20" y="277"/>
                        </a:lnTo>
                        <a:lnTo>
                          <a:pt x="16" y="280"/>
                        </a:lnTo>
                        <a:lnTo>
                          <a:pt x="18" y="280"/>
                        </a:lnTo>
                        <a:lnTo>
                          <a:pt x="18" y="282"/>
                        </a:lnTo>
                        <a:lnTo>
                          <a:pt x="16" y="284"/>
                        </a:lnTo>
                        <a:lnTo>
                          <a:pt x="13" y="285"/>
                        </a:lnTo>
                        <a:lnTo>
                          <a:pt x="11" y="287"/>
                        </a:lnTo>
                        <a:lnTo>
                          <a:pt x="10" y="289"/>
                        </a:lnTo>
                        <a:lnTo>
                          <a:pt x="11" y="289"/>
                        </a:lnTo>
                        <a:lnTo>
                          <a:pt x="16" y="289"/>
                        </a:lnTo>
                        <a:lnTo>
                          <a:pt x="18" y="289"/>
                        </a:lnTo>
                        <a:lnTo>
                          <a:pt x="20" y="289"/>
                        </a:lnTo>
                        <a:lnTo>
                          <a:pt x="16" y="290"/>
                        </a:lnTo>
                        <a:lnTo>
                          <a:pt x="15" y="290"/>
                        </a:lnTo>
                        <a:lnTo>
                          <a:pt x="13" y="292"/>
                        </a:lnTo>
                        <a:lnTo>
                          <a:pt x="11" y="294"/>
                        </a:lnTo>
                        <a:lnTo>
                          <a:pt x="10" y="292"/>
                        </a:lnTo>
                        <a:lnTo>
                          <a:pt x="8" y="294"/>
                        </a:lnTo>
                        <a:lnTo>
                          <a:pt x="6" y="292"/>
                        </a:lnTo>
                        <a:lnTo>
                          <a:pt x="3" y="295"/>
                        </a:lnTo>
                        <a:lnTo>
                          <a:pt x="3" y="297"/>
                        </a:lnTo>
                        <a:lnTo>
                          <a:pt x="3" y="299"/>
                        </a:lnTo>
                        <a:lnTo>
                          <a:pt x="3" y="300"/>
                        </a:lnTo>
                        <a:lnTo>
                          <a:pt x="5" y="300"/>
                        </a:lnTo>
                        <a:lnTo>
                          <a:pt x="6" y="300"/>
                        </a:lnTo>
                        <a:lnTo>
                          <a:pt x="8" y="299"/>
                        </a:lnTo>
                        <a:lnTo>
                          <a:pt x="8" y="300"/>
                        </a:lnTo>
                        <a:lnTo>
                          <a:pt x="10" y="300"/>
                        </a:lnTo>
                        <a:lnTo>
                          <a:pt x="11" y="299"/>
                        </a:lnTo>
                        <a:lnTo>
                          <a:pt x="10" y="297"/>
                        </a:lnTo>
                        <a:lnTo>
                          <a:pt x="13" y="299"/>
                        </a:lnTo>
                        <a:lnTo>
                          <a:pt x="16" y="297"/>
                        </a:lnTo>
                        <a:lnTo>
                          <a:pt x="18" y="295"/>
                        </a:lnTo>
                        <a:lnTo>
                          <a:pt x="20" y="297"/>
                        </a:lnTo>
                        <a:lnTo>
                          <a:pt x="16" y="299"/>
                        </a:lnTo>
                        <a:lnTo>
                          <a:pt x="15" y="300"/>
                        </a:lnTo>
                        <a:lnTo>
                          <a:pt x="16" y="300"/>
                        </a:lnTo>
                        <a:lnTo>
                          <a:pt x="16" y="302"/>
                        </a:lnTo>
                        <a:lnTo>
                          <a:pt x="15" y="304"/>
                        </a:lnTo>
                        <a:lnTo>
                          <a:pt x="15" y="305"/>
                        </a:lnTo>
                        <a:lnTo>
                          <a:pt x="13" y="307"/>
                        </a:lnTo>
                        <a:lnTo>
                          <a:pt x="13" y="309"/>
                        </a:lnTo>
                        <a:lnTo>
                          <a:pt x="11" y="309"/>
                        </a:lnTo>
                        <a:lnTo>
                          <a:pt x="10" y="309"/>
                        </a:lnTo>
                        <a:lnTo>
                          <a:pt x="10" y="307"/>
                        </a:lnTo>
                        <a:lnTo>
                          <a:pt x="8" y="307"/>
                        </a:lnTo>
                        <a:lnTo>
                          <a:pt x="8" y="310"/>
                        </a:lnTo>
                        <a:lnTo>
                          <a:pt x="6" y="316"/>
                        </a:lnTo>
                        <a:lnTo>
                          <a:pt x="10" y="319"/>
                        </a:lnTo>
                        <a:lnTo>
                          <a:pt x="16" y="322"/>
                        </a:lnTo>
                        <a:lnTo>
                          <a:pt x="20" y="324"/>
                        </a:lnTo>
                        <a:lnTo>
                          <a:pt x="23" y="326"/>
                        </a:lnTo>
                        <a:lnTo>
                          <a:pt x="25" y="322"/>
                        </a:lnTo>
                        <a:lnTo>
                          <a:pt x="25" y="326"/>
                        </a:lnTo>
                        <a:lnTo>
                          <a:pt x="25" y="329"/>
                        </a:lnTo>
                        <a:lnTo>
                          <a:pt x="27" y="327"/>
                        </a:lnTo>
                        <a:lnTo>
                          <a:pt x="28" y="329"/>
                        </a:lnTo>
                        <a:lnTo>
                          <a:pt x="30" y="327"/>
                        </a:lnTo>
                        <a:lnTo>
                          <a:pt x="35" y="327"/>
                        </a:lnTo>
                        <a:lnTo>
                          <a:pt x="32" y="329"/>
                        </a:lnTo>
                        <a:lnTo>
                          <a:pt x="37" y="331"/>
                        </a:lnTo>
                        <a:lnTo>
                          <a:pt x="40" y="329"/>
                        </a:lnTo>
                        <a:lnTo>
                          <a:pt x="43" y="327"/>
                        </a:lnTo>
                        <a:lnTo>
                          <a:pt x="45" y="324"/>
                        </a:lnTo>
                        <a:lnTo>
                          <a:pt x="47" y="327"/>
                        </a:lnTo>
                        <a:lnTo>
                          <a:pt x="54" y="324"/>
                        </a:lnTo>
                        <a:lnTo>
                          <a:pt x="57" y="321"/>
                        </a:lnTo>
                        <a:lnTo>
                          <a:pt x="59" y="317"/>
                        </a:lnTo>
                        <a:lnTo>
                          <a:pt x="62" y="317"/>
                        </a:lnTo>
                        <a:lnTo>
                          <a:pt x="64" y="314"/>
                        </a:lnTo>
                        <a:lnTo>
                          <a:pt x="65" y="312"/>
                        </a:lnTo>
                        <a:lnTo>
                          <a:pt x="67" y="310"/>
                        </a:lnTo>
                        <a:lnTo>
                          <a:pt x="70" y="307"/>
                        </a:lnTo>
                        <a:lnTo>
                          <a:pt x="69" y="305"/>
                        </a:lnTo>
                        <a:lnTo>
                          <a:pt x="74" y="307"/>
                        </a:lnTo>
                        <a:lnTo>
                          <a:pt x="77" y="307"/>
                        </a:lnTo>
                        <a:lnTo>
                          <a:pt x="79" y="307"/>
                        </a:lnTo>
                        <a:lnTo>
                          <a:pt x="80" y="305"/>
                        </a:lnTo>
                        <a:lnTo>
                          <a:pt x="80" y="304"/>
                        </a:lnTo>
                        <a:lnTo>
                          <a:pt x="80" y="302"/>
                        </a:lnTo>
                        <a:lnTo>
                          <a:pt x="82" y="302"/>
                        </a:lnTo>
                        <a:lnTo>
                          <a:pt x="82" y="300"/>
                        </a:lnTo>
                        <a:lnTo>
                          <a:pt x="82" y="299"/>
                        </a:lnTo>
                        <a:lnTo>
                          <a:pt x="80" y="297"/>
                        </a:lnTo>
                        <a:lnTo>
                          <a:pt x="79" y="295"/>
                        </a:lnTo>
                        <a:lnTo>
                          <a:pt x="80" y="295"/>
                        </a:lnTo>
                        <a:lnTo>
                          <a:pt x="80" y="294"/>
                        </a:lnTo>
                        <a:lnTo>
                          <a:pt x="80" y="292"/>
                        </a:lnTo>
                        <a:lnTo>
                          <a:pt x="82" y="294"/>
                        </a:lnTo>
                        <a:lnTo>
                          <a:pt x="82" y="295"/>
                        </a:lnTo>
                        <a:lnTo>
                          <a:pt x="84" y="295"/>
                        </a:lnTo>
                        <a:lnTo>
                          <a:pt x="84" y="294"/>
                        </a:lnTo>
                        <a:lnTo>
                          <a:pt x="84" y="292"/>
                        </a:lnTo>
                        <a:lnTo>
                          <a:pt x="82" y="290"/>
                        </a:lnTo>
                        <a:lnTo>
                          <a:pt x="82" y="289"/>
                        </a:lnTo>
                        <a:lnTo>
                          <a:pt x="84" y="289"/>
                        </a:lnTo>
                        <a:lnTo>
                          <a:pt x="84" y="287"/>
                        </a:lnTo>
                        <a:lnTo>
                          <a:pt x="86" y="287"/>
                        </a:lnTo>
                        <a:lnTo>
                          <a:pt x="87" y="289"/>
                        </a:lnTo>
                        <a:lnTo>
                          <a:pt x="87" y="290"/>
                        </a:lnTo>
                        <a:lnTo>
                          <a:pt x="86" y="290"/>
                        </a:lnTo>
                        <a:lnTo>
                          <a:pt x="86" y="292"/>
                        </a:lnTo>
                        <a:lnTo>
                          <a:pt x="86" y="294"/>
                        </a:lnTo>
                        <a:lnTo>
                          <a:pt x="86" y="299"/>
                        </a:lnTo>
                        <a:lnTo>
                          <a:pt x="86" y="300"/>
                        </a:lnTo>
                        <a:lnTo>
                          <a:pt x="87" y="302"/>
                        </a:lnTo>
                        <a:lnTo>
                          <a:pt x="89" y="302"/>
                        </a:lnTo>
                        <a:lnTo>
                          <a:pt x="91" y="302"/>
                        </a:lnTo>
                        <a:lnTo>
                          <a:pt x="92" y="304"/>
                        </a:lnTo>
                        <a:lnTo>
                          <a:pt x="94" y="304"/>
                        </a:lnTo>
                        <a:lnTo>
                          <a:pt x="96" y="305"/>
                        </a:lnTo>
                        <a:lnTo>
                          <a:pt x="96" y="30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56" name="Freeform 230">
                    <a:extLst>
                      <a:ext uri="{FF2B5EF4-FFF2-40B4-BE49-F238E27FC236}">
                        <a16:creationId xmlns:a16="http://schemas.microsoft.com/office/drawing/2014/main" id="{8BE66C53-C799-9044-9C38-275550D3ACD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0" y="1"/>
                    <a:ext cx="406" cy="331"/>
                  </a:xfrm>
                  <a:custGeom>
                    <a:avLst/>
                    <a:gdLst>
                      <a:gd name="T0" fmla="*/ 114 w 406"/>
                      <a:gd name="T1" fmla="*/ 273 h 331"/>
                      <a:gd name="T2" fmla="*/ 107 w 406"/>
                      <a:gd name="T3" fmla="*/ 223 h 331"/>
                      <a:gd name="T4" fmla="*/ 138 w 406"/>
                      <a:gd name="T5" fmla="*/ 187 h 331"/>
                      <a:gd name="T6" fmla="*/ 156 w 406"/>
                      <a:gd name="T7" fmla="*/ 133 h 331"/>
                      <a:gd name="T8" fmla="*/ 180 w 406"/>
                      <a:gd name="T9" fmla="*/ 91 h 331"/>
                      <a:gd name="T10" fmla="*/ 212 w 406"/>
                      <a:gd name="T11" fmla="*/ 71 h 331"/>
                      <a:gd name="T12" fmla="*/ 236 w 406"/>
                      <a:gd name="T13" fmla="*/ 59 h 331"/>
                      <a:gd name="T14" fmla="*/ 263 w 406"/>
                      <a:gd name="T15" fmla="*/ 54 h 331"/>
                      <a:gd name="T16" fmla="*/ 310 w 406"/>
                      <a:gd name="T17" fmla="*/ 66 h 331"/>
                      <a:gd name="T18" fmla="*/ 342 w 406"/>
                      <a:gd name="T19" fmla="*/ 32 h 331"/>
                      <a:gd name="T20" fmla="*/ 379 w 406"/>
                      <a:gd name="T21" fmla="*/ 47 h 331"/>
                      <a:gd name="T22" fmla="*/ 387 w 406"/>
                      <a:gd name="T23" fmla="*/ 47 h 331"/>
                      <a:gd name="T24" fmla="*/ 403 w 406"/>
                      <a:gd name="T25" fmla="*/ 41 h 331"/>
                      <a:gd name="T26" fmla="*/ 387 w 406"/>
                      <a:gd name="T27" fmla="*/ 39 h 331"/>
                      <a:gd name="T28" fmla="*/ 376 w 406"/>
                      <a:gd name="T29" fmla="*/ 27 h 331"/>
                      <a:gd name="T30" fmla="*/ 392 w 406"/>
                      <a:gd name="T31" fmla="*/ 15 h 331"/>
                      <a:gd name="T32" fmla="*/ 372 w 406"/>
                      <a:gd name="T33" fmla="*/ 7 h 331"/>
                      <a:gd name="T34" fmla="*/ 355 w 406"/>
                      <a:gd name="T35" fmla="*/ 9 h 331"/>
                      <a:gd name="T36" fmla="*/ 345 w 406"/>
                      <a:gd name="T37" fmla="*/ 14 h 331"/>
                      <a:gd name="T38" fmla="*/ 330 w 406"/>
                      <a:gd name="T39" fmla="*/ 9 h 331"/>
                      <a:gd name="T40" fmla="*/ 313 w 406"/>
                      <a:gd name="T41" fmla="*/ 22 h 331"/>
                      <a:gd name="T42" fmla="*/ 311 w 406"/>
                      <a:gd name="T43" fmla="*/ 4 h 331"/>
                      <a:gd name="T44" fmla="*/ 288 w 406"/>
                      <a:gd name="T45" fmla="*/ 22 h 331"/>
                      <a:gd name="T46" fmla="*/ 269 w 406"/>
                      <a:gd name="T47" fmla="*/ 27 h 331"/>
                      <a:gd name="T48" fmla="*/ 264 w 406"/>
                      <a:gd name="T49" fmla="*/ 31 h 331"/>
                      <a:gd name="T50" fmla="*/ 246 w 406"/>
                      <a:gd name="T51" fmla="*/ 34 h 331"/>
                      <a:gd name="T52" fmla="*/ 232 w 406"/>
                      <a:gd name="T53" fmla="*/ 36 h 331"/>
                      <a:gd name="T54" fmla="*/ 225 w 406"/>
                      <a:gd name="T55" fmla="*/ 51 h 331"/>
                      <a:gd name="T56" fmla="*/ 209 w 406"/>
                      <a:gd name="T57" fmla="*/ 49 h 331"/>
                      <a:gd name="T58" fmla="*/ 197 w 406"/>
                      <a:gd name="T59" fmla="*/ 61 h 331"/>
                      <a:gd name="T60" fmla="*/ 188 w 406"/>
                      <a:gd name="T61" fmla="*/ 71 h 331"/>
                      <a:gd name="T62" fmla="*/ 177 w 406"/>
                      <a:gd name="T63" fmla="*/ 81 h 331"/>
                      <a:gd name="T64" fmla="*/ 161 w 406"/>
                      <a:gd name="T65" fmla="*/ 88 h 331"/>
                      <a:gd name="T66" fmla="*/ 155 w 406"/>
                      <a:gd name="T67" fmla="*/ 98 h 331"/>
                      <a:gd name="T68" fmla="*/ 136 w 406"/>
                      <a:gd name="T69" fmla="*/ 117 h 331"/>
                      <a:gd name="T70" fmla="*/ 124 w 406"/>
                      <a:gd name="T71" fmla="*/ 132 h 331"/>
                      <a:gd name="T72" fmla="*/ 119 w 406"/>
                      <a:gd name="T73" fmla="*/ 144 h 331"/>
                      <a:gd name="T74" fmla="*/ 111 w 406"/>
                      <a:gd name="T75" fmla="*/ 155 h 331"/>
                      <a:gd name="T76" fmla="*/ 97 w 406"/>
                      <a:gd name="T77" fmla="*/ 169 h 331"/>
                      <a:gd name="T78" fmla="*/ 84 w 406"/>
                      <a:gd name="T79" fmla="*/ 181 h 331"/>
                      <a:gd name="T80" fmla="*/ 84 w 406"/>
                      <a:gd name="T81" fmla="*/ 198 h 331"/>
                      <a:gd name="T82" fmla="*/ 80 w 406"/>
                      <a:gd name="T83" fmla="*/ 201 h 331"/>
                      <a:gd name="T84" fmla="*/ 64 w 406"/>
                      <a:gd name="T85" fmla="*/ 203 h 331"/>
                      <a:gd name="T86" fmla="*/ 45 w 406"/>
                      <a:gd name="T87" fmla="*/ 209 h 331"/>
                      <a:gd name="T88" fmla="*/ 37 w 406"/>
                      <a:gd name="T89" fmla="*/ 223 h 331"/>
                      <a:gd name="T90" fmla="*/ 21 w 406"/>
                      <a:gd name="T91" fmla="*/ 228 h 331"/>
                      <a:gd name="T92" fmla="*/ 6 w 406"/>
                      <a:gd name="T93" fmla="*/ 235 h 331"/>
                      <a:gd name="T94" fmla="*/ 16 w 406"/>
                      <a:gd name="T95" fmla="*/ 238 h 331"/>
                      <a:gd name="T96" fmla="*/ 3 w 406"/>
                      <a:gd name="T97" fmla="*/ 248 h 331"/>
                      <a:gd name="T98" fmla="*/ 23 w 406"/>
                      <a:gd name="T99" fmla="*/ 251 h 331"/>
                      <a:gd name="T100" fmla="*/ 40 w 406"/>
                      <a:gd name="T101" fmla="*/ 255 h 331"/>
                      <a:gd name="T102" fmla="*/ 1 w 406"/>
                      <a:gd name="T103" fmla="*/ 260 h 331"/>
                      <a:gd name="T104" fmla="*/ 5 w 406"/>
                      <a:gd name="T105" fmla="*/ 275 h 331"/>
                      <a:gd name="T106" fmla="*/ 15 w 406"/>
                      <a:gd name="T107" fmla="*/ 278 h 331"/>
                      <a:gd name="T108" fmla="*/ 11 w 406"/>
                      <a:gd name="T109" fmla="*/ 287 h 331"/>
                      <a:gd name="T110" fmla="*/ 5 w 406"/>
                      <a:gd name="T111" fmla="*/ 300 h 331"/>
                      <a:gd name="T112" fmla="*/ 13 w 406"/>
                      <a:gd name="T113" fmla="*/ 307 h 331"/>
                      <a:gd name="T114" fmla="*/ 30 w 406"/>
                      <a:gd name="T115" fmla="*/ 327 h 331"/>
                      <a:gd name="T116" fmla="*/ 74 w 406"/>
                      <a:gd name="T117" fmla="*/ 307 h 331"/>
                      <a:gd name="T118" fmla="*/ 84 w 406"/>
                      <a:gd name="T119" fmla="*/ 294 h 331"/>
                      <a:gd name="T120" fmla="*/ 92 w 406"/>
                      <a:gd name="T121" fmla="*/ 304 h 3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406" h="331">
                        <a:moveTo>
                          <a:pt x="96" y="307"/>
                        </a:moveTo>
                        <a:lnTo>
                          <a:pt x="96" y="310"/>
                        </a:lnTo>
                        <a:lnTo>
                          <a:pt x="97" y="309"/>
                        </a:lnTo>
                        <a:lnTo>
                          <a:pt x="97" y="310"/>
                        </a:lnTo>
                        <a:lnTo>
                          <a:pt x="101" y="309"/>
                        </a:lnTo>
                        <a:lnTo>
                          <a:pt x="102" y="300"/>
                        </a:lnTo>
                        <a:lnTo>
                          <a:pt x="101" y="299"/>
                        </a:lnTo>
                        <a:lnTo>
                          <a:pt x="101" y="295"/>
                        </a:lnTo>
                        <a:lnTo>
                          <a:pt x="102" y="294"/>
                        </a:lnTo>
                        <a:lnTo>
                          <a:pt x="104" y="290"/>
                        </a:lnTo>
                        <a:lnTo>
                          <a:pt x="104" y="287"/>
                        </a:lnTo>
                        <a:lnTo>
                          <a:pt x="107" y="287"/>
                        </a:lnTo>
                        <a:lnTo>
                          <a:pt x="113" y="285"/>
                        </a:lnTo>
                        <a:lnTo>
                          <a:pt x="114" y="282"/>
                        </a:lnTo>
                        <a:lnTo>
                          <a:pt x="114" y="280"/>
                        </a:lnTo>
                        <a:lnTo>
                          <a:pt x="113" y="278"/>
                        </a:lnTo>
                        <a:lnTo>
                          <a:pt x="114" y="273"/>
                        </a:lnTo>
                        <a:lnTo>
                          <a:pt x="116" y="272"/>
                        </a:lnTo>
                        <a:lnTo>
                          <a:pt x="114" y="270"/>
                        </a:lnTo>
                        <a:lnTo>
                          <a:pt x="113" y="265"/>
                        </a:lnTo>
                        <a:lnTo>
                          <a:pt x="109" y="262"/>
                        </a:lnTo>
                        <a:lnTo>
                          <a:pt x="111" y="260"/>
                        </a:lnTo>
                        <a:lnTo>
                          <a:pt x="114" y="258"/>
                        </a:lnTo>
                        <a:lnTo>
                          <a:pt x="118" y="257"/>
                        </a:lnTo>
                        <a:lnTo>
                          <a:pt x="119" y="253"/>
                        </a:lnTo>
                        <a:lnTo>
                          <a:pt x="119" y="248"/>
                        </a:lnTo>
                        <a:lnTo>
                          <a:pt x="113" y="245"/>
                        </a:lnTo>
                        <a:lnTo>
                          <a:pt x="111" y="241"/>
                        </a:lnTo>
                        <a:lnTo>
                          <a:pt x="109" y="238"/>
                        </a:lnTo>
                        <a:lnTo>
                          <a:pt x="109" y="233"/>
                        </a:lnTo>
                        <a:lnTo>
                          <a:pt x="111" y="230"/>
                        </a:lnTo>
                        <a:lnTo>
                          <a:pt x="109" y="226"/>
                        </a:lnTo>
                        <a:lnTo>
                          <a:pt x="107" y="226"/>
                        </a:lnTo>
                        <a:lnTo>
                          <a:pt x="107" y="223"/>
                        </a:lnTo>
                        <a:lnTo>
                          <a:pt x="109" y="221"/>
                        </a:lnTo>
                        <a:lnTo>
                          <a:pt x="109" y="219"/>
                        </a:lnTo>
                        <a:lnTo>
                          <a:pt x="109" y="218"/>
                        </a:lnTo>
                        <a:lnTo>
                          <a:pt x="109" y="214"/>
                        </a:lnTo>
                        <a:lnTo>
                          <a:pt x="111" y="213"/>
                        </a:lnTo>
                        <a:lnTo>
                          <a:pt x="113" y="211"/>
                        </a:lnTo>
                        <a:lnTo>
                          <a:pt x="111" y="209"/>
                        </a:lnTo>
                        <a:lnTo>
                          <a:pt x="109" y="208"/>
                        </a:lnTo>
                        <a:lnTo>
                          <a:pt x="107" y="203"/>
                        </a:lnTo>
                        <a:lnTo>
                          <a:pt x="109" y="199"/>
                        </a:lnTo>
                        <a:lnTo>
                          <a:pt x="111" y="196"/>
                        </a:lnTo>
                        <a:lnTo>
                          <a:pt x="114" y="192"/>
                        </a:lnTo>
                        <a:lnTo>
                          <a:pt x="118" y="191"/>
                        </a:lnTo>
                        <a:lnTo>
                          <a:pt x="123" y="187"/>
                        </a:lnTo>
                        <a:lnTo>
                          <a:pt x="129" y="187"/>
                        </a:lnTo>
                        <a:lnTo>
                          <a:pt x="134" y="187"/>
                        </a:lnTo>
                        <a:lnTo>
                          <a:pt x="138" y="187"/>
                        </a:lnTo>
                        <a:lnTo>
                          <a:pt x="141" y="186"/>
                        </a:lnTo>
                        <a:lnTo>
                          <a:pt x="141" y="182"/>
                        </a:lnTo>
                        <a:lnTo>
                          <a:pt x="141" y="179"/>
                        </a:lnTo>
                        <a:lnTo>
                          <a:pt x="139" y="177"/>
                        </a:lnTo>
                        <a:lnTo>
                          <a:pt x="136" y="174"/>
                        </a:lnTo>
                        <a:lnTo>
                          <a:pt x="134" y="172"/>
                        </a:lnTo>
                        <a:lnTo>
                          <a:pt x="138" y="169"/>
                        </a:lnTo>
                        <a:lnTo>
                          <a:pt x="141" y="166"/>
                        </a:lnTo>
                        <a:lnTo>
                          <a:pt x="145" y="160"/>
                        </a:lnTo>
                        <a:lnTo>
                          <a:pt x="146" y="159"/>
                        </a:lnTo>
                        <a:lnTo>
                          <a:pt x="148" y="149"/>
                        </a:lnTo>
                        <a:lnTo>
                          <a:pt x="148" y="142"/>
                        </a:lnTo>
                        <a:lnTo>
                          <a:pt x="148" y="139"/>
                        </a:lnTo>
                        <a:lnTo>
                          <a:pt x="148" y="135"/>
                        </a:lnTo>
                        <a:lnTo>
                          <a:pt x="150" y="135"/>
                        </a:lnTo>
                        <a:lnTo>
                          <a:pt x="153" y="135"/>
                        </a:lnTo>
                        <a:lnTo>
                          <a:pt x="156" y="133"/>
                        </a:lnTo>
                        <a:lnTo>
                          <a:pt x="158" y="132"/>
                        </a:lnTo>
                        <a:lnTo>
                          <a:pt x="160" y="130"/>
                        </a:lnTo>
                        <a:lnTo>
                          <a:pt x="160" y="127"/>
                        </a:lnTo>
                        <a:lnTo>
                          <a:pt x="161" y="123"/>
                        </a:lnTo>
                        <a:lnTo>
                          <a:pt x="165" y="120"/>
                        </a:lnTo>
                        <a:lnTo>
                          <a:pt x="168" y="117"/>
                        </a:lnTo>
                        <a:lnTo>
                          <a:pt x="170" y="115"/>
                        </a:lnTo>
                        <a:lnTo>
                          <a:pt x="175" y="112"/>
                        </a:lnTo>
                        <a:lnTo>
                          <a:pt x="177" y="110"/>
                        </a:lnTo>
                        <a:lnTo>
                          <a:pt x="177" y="108"/>
                        </a:lnTo>
                        <a:lnTo>
                          <a:pt x="177" y="107"/>
                        </a:lnTo>
                        <a:lnTo>
                          <a:pt x="175" y="103"/>
                        </a:lnTo>
                        <a:lnTo>
                          <a:pt x="173" y="101"/>
                        </a:lnTo>
                        <a:lnTo>
                          <a:pt x="173" y="100"/>
                        </a:lnTo>
                        <a:lnTo>
                          <a:pt x="178" y="96"/>
                        </a:lnTo>
                        <a:lnTo>
                          <a:pt x="180" y="95"/>
                        </a:lnTo>
                        <a:lnTo>
                          <a:pt x="180" y="91"/>
                        </a:lnTo>
                        <a:lnTo>
                          <a:pt x="182" y="88"/>
                        </a:lnTo>
                        <a:lnTo>
                          <a:pt x="183" y="86"/>
                        </a:lnTo>
                        <a:lnTo>
                          <a:pt x="187" y="85"/>
                        </a:lnTo>
                        <a:lnTo>
                          <a:pt x="188" y="83"/>
                        </a:lnTo>
                        <a:lnTo>
                          <a:pt x="192" y="83"/>
                        </a:lnTo>
                        <a:lnTo>
                          <a:pt x="195" y="83"/>
                        </a:lnTo>
                        <a:lnTo>
                          <a:pt x="199" y="86"/>
                        </a:lnTo>
                        <a:lnTo>
                          <a:pt x="200" y="86"/>
                        </a:lnTo>
                        <a:lnTo>
                          <a:pt x="202" y="83"/>
                        </a:lnTo>
                        <a:lnTo>
                          <a:pt x="204" y="80"/>
                        </a:lnTo>
                        <a:lnTo>
                          <a:pt x="204" y="78"/>
                        </a:lnTo>
                        <a:lnTo>
                          <a:pt x="204" y="76"/>
                        </a:lnTo>
                        <a:lnTo>
                          <a:pt x="204" y="73"/>
                        </a:lnTo>
                        <a:lnTo>
                          <a:pt x="205" y="71"/>
                        </a:lnTo>
                        <a:lnTo>
                          <a:pt x="207" y="71"/>
                        </a:lnTo>
                        <a:lnTo>
                          <a:pt x="209" y="71"/>
                        </a:lnTo>
                        <a:lnTo>
                          <a:pt x="212" y="71"/>
                        </a:lnTo>
                        <a:lnTo>
                          <a:pt x="215" y="71"/>
                        </a:lnTo>
                        <a:lnTo>
                          <a:pt x="219" y="71"/>
                        </a:lnTo>
                        <a:lnTo>
                          <a:pt x="220" y="71"/>
                        </a:lnTo>
                        <a:lnTo>
                          <a:pt x="224" y="73"/>
                        </a:lnTo>
                        <a:lnTo>
                          <a:pt x="225" y="73"/>
                        </a:lnTo>
                        <a:lnTo>
                          <a:pt x="229" y="73"/>
                        </a:lnTo>
                        <a:lnTo>
                          <a:pt x="231" y="74"/>
                        </a:lnTo>
                        <a:lnTo>
                          <a:pt x="232" y="73"/>
                        </a:lnTo>
                        <a:lnTo>
                          <a:pt x="234" y="73"/>
                        </a:lnTo>
                        <a:lnTo>
                          <a:pt x="234" y="71"/>
                        </a:lnTo>
                        <a:lnTo>
                          <a:pt x="232" y="71"/>
                        </a:lnTo>
                        <a:lnTo>
                          <a:pt x="232" y="68"/>
                        </a:lnTo>
                        <a:lnTo>
                          <a:pt x="234" y="66"/>
                        </a:lnTo>
                        <a:lnTo>
                          <a:pt x="234" y="64"/>
                        </a:lnTo>
                        <a:lnTo>
                          <a:pt x="236" y="63"/>
                        </a:lnTo>
                        <a:lnTo>
                          <a:pt x="236" y="61"/>
                        </a:lnTo>
                        <a:lnTo>
                          <a:pt x="236" y="59"/>
                        </a:lnTo>
                        <a:lnTo>
                          <a:pt x="234" y="58"/>
                        </a:lnTo>
                        <a:lnTo>
                          <a:pt x="234" y="56"/>
                        </a:lnTo>
                        <a:lnTo>
                          <a:pt x="236" y="56"/>
                        </a:lnTo>
                        <a:lnTo>
                          <a:pt x="237" y="56"/>
                        </a:lnTo>
                        <a:lnTo>
                          <a:pt x="239" y="56"/>
                        </a:lnTo>
                        <a:lnTo>
                          <a:pt x="241" y="56"/>
                        </a:lnTo>
                        <a:lnTo>
                          <a:pt x="242" y="56"/>
                        </a:lnTo>
                        <a:lnTo>
                          <a:pt x="242" y="54"/>
                        </a:lnTo>
                        <a:lnTo>
                          <a:pt x="246" y="54"/>
                        </a:lnTo>
                        <a:lnTo>
                          <a:pt x="247" y="54"/>
                        </a:lnTo>
                        <a:lnTo>
                          <a:pt x="251" y="54"/>
                        </a:lnTo>
                        <a:lnTo>
                          <a:pt x="249" y="53"/>
                        </a:lnTo>
                        <a:lnTo>
                          <a:pt x="249" y="51"/>
                        </a:lnTo>
                        <a:lnTo>
                          <a:pt x="252" y="49"/>
                        </a:lnTo>
                        <a:lnTo>
                          <a:pt x="256" y="49"/>
                        </a:lnTo>
                        <a:lnTo>
                          <a:pt x="261" y="53"/>
                        </a:lnTo>
                        <a:lnTo>
                          <a:pt x="263" y="54"/>
                        </a:lnTo>
                        <a:lnTo>
                          <a:pt x="266" y="58"/>
                        </a:lnTo>
                        <a:lnTo>
                          <a:pt x="269" y="59"/>
                        </a:lnTo>
                        <a:lnTo>
                          <a:pt x="269" y="63"/>
                        </a:lnTo>
                        <a:lnTo>
                          <a:pt x="271" y="64"/>
                        </a:lnTo>
                        <a:lnTo>
                          <a:pt x="274" y="64"/>
                        </a:lnTo>
                        <a:lnTo>
                          <a:pt x="279" y="66"/>
                        </a:lnTo>
                        <a:lnTo>
                          <a:pt x="283" y="66"/>
                        </a:lnTo>
                        <a:lnTo>
                          <a:pt x="286" y="66"/>
                        </a:lnTo>
                        <a:lnTo>
                          <a:pt x="288" y="66"/>
                        </a:lnTo>
                        <a:lnTo>
                          <a:pt x="291" y="64"/>
                        </a:lnTo>
                        <a:lnTo>
                          <a:pt x="293" y="63"/>
                        </a:lnTo>
                        <a:lnTo>
                          <a:pt x="296" y="61"/>
                        </a:lnTo>
                        <a:lnTo>
                          <a:pt x="298" y="63"/>
                        </a:lnTo>
                        <a:lnTo>
                          <a:pt x="301" y="64"/>
                        </a:lnTo>
                        <a:lnTo>
                          <a:pt x="301" y="66"/>
                        </a:lnTo>
                        <a:lnTo>
                          <a:pt x="305" y="68"/>
                        </a:lnTo>
                        <a:lnTo>
                          <a:pt x="310" y="66"/>
                        </a:lnTo>
                        <a:lnTo>
                          <a:pt x="313" y="64"/>
                        </a:lnTo>
                        <a:lnTo>
                          <a:pt x="315" y="61"/>
                        </a:lnTo>
                        <a:lnTo>
                          <a:pt x="318" y="59"/>
                        </a:lnTo>
                        <a:lnTo>
                          <a:pt x="323" y="58"/>
                        </a:lnTo>
                        <a:lnTo>
                          <a:pt x="323" y="56"/>
                        </a:lnTo>
                        <a:lnTo>
                          <a:pt x="323" y="54"/>
                        </a:lnTo>
                        <a:lnTo>
                          <a:pt x="323" y="53"/>
                        </a:lnTo>
                        <a:lnTo>
                          <a:pt x="323" y="49"/>
                        </a:lnTo>
                        <a:lnTo>
                          <a:pt x="323" y="47"/>
                        </a:lnTo>
                        <a:lnTo>
                          <a:pt x="323" y="44"/>
                        </a:lnTo>
                        <a:lnTo>
                          <a:pt x="323" y="42"/>
                        </a:lnTo>
                        <a:lnTo>
                          <a:pt x="325" y="39"/>
                        </a:lnTo>
                        <a:lnTo>
                          <a:pt x="327" y="36"/>
                        </a:lnTo>
                        <a:lnTo>
                          <a:pt x="330" y="34"/>
                        </a:lnTo>
                        <a:lnTo>
                          <a:pt x="333" y="32"/>
                        </a:lnTo>
                        <a:lnTo>
                          <a:pt x="337" y="32"/>
                        </a:lnTo>
                        <a:lnTo>
                          <a:pt x="342" y="32"/>
                        </a:lnTo>
                        <a:lnTo>
                          <a:pt x="345" y="32"/>
                        </a:lnTo>
                        <a:lnTo>
                          <a:pt x="349" y="31"/>
                        </a:lnTo>
                        <a:lnTo>
                          <a:pt x="352" y="29"/>
                        </a:lnTo>
                        <a:lnTo>
                          <a:pt x="355" y="29"/>
                        </a:lnTo>
                        <a:lnTo>
                          <a:pt x="359" y="29"/>
                        </a:lnTo>
                        <a:lnTo>
                          <a:pt x="360" y="29"/>
                        </a:lnTo>
                        <a:lnTo>
                          <a:pt x="362" y="31"/>
                        </a:lnTo>
                        <a:lnTo>
                          <a:pt x="364" y="32"/>
                        </a:lnTo>
                        <a:lnTo>
                          <a:pt x="365" y="34"/>
                        </a:lnTo>
                        <a:lnTo>
                          <a:pt x="369" y="36"/>
                        </a:lnTo>
                        <a:lnTo>
                          <a:pt x="370" y="36"/>
                        </a:lnTo>
                        <a:lnTo>
                          <a:pt x="374" y="37"/>
                        </a:lnTo>
                        <a:lnTo>
                          <a:pt x="376" y="39"/>
                        </a:lnTo>
                        <a:lnTo>
                          <a:pt x="377" y="41"/>
                        </a:lnTo>
                        <a:lnTo>
                          <a:pt x="379" y="44"/>
                        </a:lnTo>
                        <a:lnTo>
                          <a:pt x="379" y="46"/>
                        </a:lnTo>
                        <a:lnTo>
                          <a:pt x="379" y="47"/>
                        </a:lnTo>
                        <a:lnTo>
                          <a:pt x="377" y="47"/>
                        </a:lnTo>
                        <a:lnTo>
                          <a:pt x="376" y="49"/>
                        </a:lnTo>
                        <a:lnTo>
                          <a:pt x="372" y="51"/>
                        </a:lnTo>
                        <a:lnTo>
                          <a:pt x="372" y="53"/>
                        </a:lnTo>
                        <a:lnTo>
                          <a:pt x="372" y="54"/>
                        </a:lnTo>
                        <a:lnTo>
                          <a:pt x="376" y="56"/>
                        </a:lnTo>
                        <a:lnTo>
                          <a:pt x="377" y="56"/>
                        </a:lnTo>
                        <a:lnTo>
                          <a:pt x="377" y="54"/>
                        </a:lnTo>
                        <a:lnTo>
                          <a:pt x="379" y="54"/>
                        </a:lnTo>
                        <a:lnTo>
                          <a:pt x="379" y="53"/>
                        </a:lnTo>
                        <a:lnTo>
                          <a:pt x="379" y="51"/>
                        </a:lnTo>
                        <a:lnTo>
                          <a:pt x="381" y="51"/>
                        </a:lnTo>
                        <a:lnTo>
                          <a:pt x="382" y="51"/>
                        </a:lnTo>
                        <a:lnTo>
                          <a:pt x="382" y="49"/>
                        </a:lnTo>
                        <a:lnTo>
                          <a:pt x="384" y="49"/>
                        </a:lnTo>
                        <a:lnTo>
                          <a:pt x="386" y="49"/>
                        </a:lnTo>
                        <a:lnTo>
                          <a:pt x="387" y="47"/>
                        </a:lnTo>
                        <a:lnTo>
                          <a:pt x="389" y="47"/>
                        </a:lnTo>
                        <a:lnTo>
                          <a:pt x="391" y="47"/>
                        </a:lnTo>
                        <a:lnTo>
                          <a:pt x="391" y="46"/>
                        </a:lnTo>
                        <a:lnTo>
                          <a:pt x="391" y="44"/>
                        </a:lnTo>
                        <a:lnTo>
                          <a:pt x="391" y="42"/>
                        </a:lnTo>
                        <a:lnTo>
                          <a:pt x="392" y="42"/>
                        </a:lnTo>
                        <a:lnTo>
                          <a:pt x="392" y="41"/>
                        </a:lnTo>
                        <a:lnTo>
                          <a:pt x="394" y="41"/>
                        </a:lnTo>
                        <a:lnTo>
                          <a:pt x="394" y="42"/>
                        </a:lnTo>
                        <a:lnTo>
                          <a:pt x="396" y="42"/>
                        </a:lnTo>
                        <a:lnTo>
                          <a:pt x="397" y="42"/>
                        </a:lnTo>
                        <a:lnTo>
                          <a:pt x="397" y="44"/>
                        </a:lnTo>
                        <a:lnTo>
                          <a:pt x="399" y="44"/>
                        </a:lnTo>
                        <a:lnTo>
                          <a:pt x="401" y="44"/>
                        </a:lnTo>
                        <a:lnTo>
                          <a:pt x="401" y="42"/>
                        </a:lnTo>
                        <a:lnTo>
                          <a:pt x="403" y="42"/>
                        </a:lnTo>
                        <a:lnTo>
                          <a:pt x="403" y="41"/>
                        </a:lnTo>
                        <a:lnTo>
                          <a:pt x="404" y="41"/>
                        </a:lnTo>
                        <a:lnTo>
                          <a:pt x="404" y="39"/>
                        </a:lnTo>
                        <a:lnTo>
                          <a:pt x="404" y="37"/>
                        </a:lnTo>
                        <a:lnTo>
                          <a:pt x="403" y="37"/>
                        </a:lnTo>
                        <a:lnTo>
                          <a:pt x="399" y="37"/>
                        </a:lnTo>
                        <a:lnTo>
                          <a:pt x="399" y="36"/>
                        </a:lnTo>
                        <a:lnTo>
                          <a:pt x="397" y="36"/>
                        </a:lnTo>
                        <a:lnTo>
                          <a:pt x="396" y="37"/>
                        </a:lnTo>
                        <a:lnTo>
                          <a:pt x="396" y="41"/>
                        </a:lnTo>
                        <a:lnTo>
                          <a:pt x="394" y="41"/>
                        </a:lnTo>
                        <a:lnTo>
                          <a:pt x="394" y="39"/>
                        </a:lnTo>
                        <a:lnTo>
                          <a:pt x="392" y="39"/>
                        </a:lnTo>
                        <a:lnTo>
                          <a:pt x="391" y="37"/>
                        </a:lnTo>
                        <a:lnTo>
                          <a:pt x="391" y="39"/>
                        </a:lnTo>
                        <a:lnTo>
                          <a:pt x="391" y="41"/>
                        </a:lnTo>
                        <a:lnTo>
                          <a:pt x="389" y="39"/>
                        </a:lnTo>
                        <a:lnTo>
                          <a:pt x="387" y="39"/>
                        </a:lnTo>
                        <a:lnTo>
                          <a:pt x="386" y="39"/>
                        </a:lnTo>
                        <a:lnTo>
                          <a:pt x="382" y="41"/>
                        </a:lnTo>
                        <a:lnTo>
                          <a:pt x="384" y="37"/>
                        </a:lnTo>
                        <a:lnTo>
                          <a:pt x="386" y="37"/>
                        </a:lnTo>
                        <a:lnTo>
                          <a:pt x="387" y="36"/>
                        </a:lnTo>
                        <a:lnTo>
                          <a:pt x="389" y="36"/>
                        </a:lnTo>
                        <a:lnTo>
                          <a:pt x="387" y="34"/>
                        </a:lnTo>
                        <a:lnTo>
                          <a:pt x="386" y="34"/>
                        </a:lnTo>
                        <a:lnTo>
                          <a:pt x="381" y="34"/>
                        </a:lnTo>
                        <a:lnTo>
                          <a:pt x="382" y="32"/>
                        </a:lnTo>
                        <a:lnTo>
                          <a:pt x="381" y="32"/>
                        </a:lnTo>
                        <a:lnTo>
                          <a:pt x="376" y="31"/>
                        </a:lnTo>
                        <a:lnTo>
                          <a:pt x="374" y="29"/>
                        </a:lnTo>
                        <a:lnTo>
                          <a:pt x="369" y="27"/>
                        </a:lnTo>
                        <a:lnTo>
                          <a:pt x="369" y="26"/>
                        </a:lnTo>
                        <a:lnTo>
                          <a:pt x="372" y="26"/>
                        </a:lnTo>
                        <a:lnTo>
                          <a:pt x="376" y="27"/>
                        </a:lnTo>
                        <a:lnTo>
                          <a:pt x="377" y="27"/>
                        </a:lnTo>
                        <a:lnTo>
                          <a:pt x="379" y="27"/>
                        </a:lnTo>
                        <a:lnTo>
                          <a:pt x="382" y="27"/>
                        </a:lnTo>
                        <a:lnTo>
                          <a:pt x="386" y="29"/>
                        </a:lnTo>
                        <a:lnTo>
                          <a:pt x="389" y="29"/>
                        </a:lnTo>
                        <a:lnTo>
                          <a:pt x="392" y="27"/>
                        </a:lnTo>
                        <a:lnTo>
                          <a:pt x="396" y="26"/>
                        </a:lnTo>
                        <a:lnTo>
                          <a:pt x="397" y="24"/>
                        </a:lnTo>
                        <a:lnTo>
                          <a:pt x="399" y="24"/>
                        </a:lnTo>
                        <a:lnTo>
                          <a:pt x="403" y="22"/>
                        </a:lnTo>
                        <a:lnTo>
                          <a:pt x="406" y="21"/>
                        </a:lnTo>
                        <a:lnTo>
                          <a:pt x="404" y="19"/>
                        </a:lnTo>
                        <a:lnTo>
                          <a:pt x="401" y="17"/>
                        </a:lnTo>
                        <a:lnTo>
                          <a:pt x="399" y="17"/>
                        </a:lnTo>
                        <a:lnTo>
                          <a:pt x="399" y="15"/>
                        </a:lnTo>
                        <a:lnTo>
                          <a:pt x="394" y="15"/>
                        </a:lnTo>
                        <a:lnTo>
                          <a:pt x="392" y="15"/>
                        </a:lnTo>
                        <a:lnTo>
                          <a:pt x="394" y="14"/>
                        </a:lnTo>
                        <a:lnTo>
                          <a:pt x="392" y="12"/>
                        </a:lnTo>
                        <a:lnTo>
                          <a:pt x="391" y="12"/>
                        </a:lnTo>
                        <a:lnTo>
                          <a:pt x="389" y="10"/>
                        </a:lnTo>
                        <a:lnTo>
                          <a:pt x="387" y="12"/>
                        </a:lnTo>
                        <a:lnTo>
                          <a:pt x="384" y="12"/>
                        </a:lnTo>
                        <a:lnTo>
                          <a:pt x="384" y="10"/>
                        </a:lnTo>
                        <a:lnTo>
                          <a:pt x="381" y="12"/>
                        </a:lnTo>
                        <a:lnTo>
                          <a:pt x="379" y="12"/>
                        </a:lnTo>
                        <a:lnTo>
                          <a:pt x="377" y="12"/>
                        </a:lnTo>
                        <a:lnTo>
                          <a:pt x="377" y="10"/>
                        </a:lnTo>
                        <a:lnTo>
                          <a:pt x="379" y="10"/>
                        </a:lnTo>
                        <a:lnTo>
                          <a:pt x="377" y="9"/>
                        </a:lnTo>
                        <a:lnTo>
                          <a:pt x="377" y="7"/>
                        </a:lnTo>
                        <a:lnTo>
                          <a:pt x="376" y="7"/>
                        </a:lnTo>
                        <a:lnTo>
                          <a:pt x="374" y="7"/>
                        </a:lnTo>
                        <a:lnTo>
                          <a:pt x="372" y="7"/>
                        </a:lnTo>
                        <a:lnTo>
                          <a:pt x="369" y="7"/>
                        </a:lnTo>
                        <a:lnTo>
                          <a:pt x="367" y="9"/>
                        </a:lnTo>
                        <a:lnTo>
                          <a:pt x="367" y="12"/>
                        </a:lnTo>
                        <a:lnTo>
                          <a:pt x="365" y="15"/>
                        </a:lnTo>
                        <a:lnTo>
                          <a:pt x="367" y="17"/>
                        </a:lnTo>
                        <a:lnTo>
                          <a:pt x="364" y="19"/>
                        </a:lnTo>
                        <a:lnTo>
                          <a:pt x="362" y="19"/>
                        </a:lnTo>
                        <a:lnTo>
                          <a:pt x="360" y="17"/>
                        </a:lnTo>
                        <a:lnTo>
                          <a:pt x="359" y="17"/>
                        </a:lnTo>
                        <a:lnTo>
                          <a:pt x="357" y="17"/>
                        </a:lnTo>
                        <a:lnTo>
                          <a:pt x="360" y="15"/>
                        </a:lnTo>
                        <a:lnTo>
                          <a:pt x="362" y="14"/>
                        </a:lnTo>
                        <a:lnTo>
                          <a:pt x="360" y="12"/>
                        </a:lnTo>
                        <a:lnTo>
                          <a:pt x="357" y="14"/>
                        </a:lnTo>
                        <a:lnTo>
                          <a:pt x="354" y="14"/>
                        </a:lnTo>
                        <a:lnTo>
                          <a:pt x="359" y="10"/>
                        </a:lnTo>
                        <a:lnTo>
                          <a:pt x="355" y="9"/>
                        </a:lnTo>
                        <a:lnTo>
                          <a:pt x="357" y="7"/>
                        </a:lnTo>
                        <a:lnTo>
                          <a:pt x="362" y="9"/>
                        </a:lnTo>
                        <a:lnTo>
                          <a:pt x="365" y="5"/>
                        </a:lnTo>
                        <a:lnTo>
                          <a:pt x="365" y="4"/>
                        </a:lnTo>
                        <a:lnTo>
                          <a:pt x="362" y="4"/>
                        </a:lnTo>
                        <a:lnTo>
                          <a:pt x="362" y="2"/>
                        </a:lnTo>
                        <a:lnTo>
                          <a:pt x="360" y="0"/>
                        </a:lnTo>
                        <a:lnTo>
                          <a:pt x="359" y="0"/>
                        </a:lnTo>
                        <a:lnTo>
                          <a:pt x="355" y="2"/>
                        </a:lnTo>
                        <a:lnTo>
                          <a:pt x="354" y="0"/>
                        </a:lnTo>
                        <a:lnTo>
                          <a:pt x="352" y="0"/>
                        </a:lnTo>
                        <a:lnTo>
                          <a:pt x="350" y="4"/>
                        </a:lnTo>
                        <a:lnTo>
                          <a:pt x="350" y="5"/>
                        </a:lnTo>
                        <a:lnTo>
                          <a:pt x="349" y="9"/>
                        </a:lnTo>
                        <a:lnTo>
                          <a:pt x="347" y="10"/>
                        </a:lnTo>
                        <a:lnTo>
                          <a:pt x="345" y="12"/>
                        </a:lnTo>
                        <a:lnTo>
                          <a:pt x="345" y="14"/>
                        </a:lnTo>
                        <a:lnTo>
                          <a:pt x="344" y="14"/>
                        </a:lnTo>
                        <a:lnTo>
                          <a:pt x="344" y="15"/>
                        </a:lnTo>
                        <a:lnTo>
                          <a:pt x="344" y="17"/>
                        </a:lnTo>
                        <a:lnTo>
                          <a:pt x="340" y="17"/>
                        </a:lnTo>
                        <a:lnTo>
                          <a:pt x="337" y="19"/>
                        </a:lnTo>
                        <a:lnTo>
                          <a:pt x="335" y="21"/>
                        </a:lnTo>
                        <a:lnTo>
                          <a:pt x="335" y="17"/>
                        </a:lnTo>
                        <a:lnTo>
                          <a:pt x="337" y="14"/>
                        </a:lnTo>
                        <a:lnTo>
                          <a:pt x="335" y="12"/>
                        </a:lnTo>
                        <a:lnTo>
                          <a:pt x="337" y="10"/>
                        </a:lnTo>
                        <a:lnTo>
                          <a:pt x="337" y="9"/>
                        </a:lnTo>
                        <a:lnTo>
                          <a:pt x="337" y="7"/>
                        </a:lnTo>
                        <a:lnTo>
                          <a:pt x="337" y="5"/>
                        </a:lnTo>
                        <a:lnTo>
                          <a:pt x="335" y="4"/>
                        </a:lnTo>
                        <a:lnTo>
                          <a:pt x="333" y="5"/>
                        </a:lnTo>
                        <a:lnTo>
                          <a:pt x="332" y="7"/>
                        </a:lnTo>
                        <a:lnTo>
                          <a:pt x="330" y="9"/>
                        </a:lnTo>
                        <a:lnTo>
                          <a:pt x="327" y="12"/>
                        </a:lnTo>
                        <a:lnTo>
                          <a:pt x="325" y="15"/>
                        </a:lnTo>
                        <a:lnTo>
                          <a:pt x="323" y="15"/>
                        </a:lnTo>
                        <a:lnTo>
                          <a:pt x="322" y="17"/>
                        </a:lnTo>
                        <a:lnTo>
                          <a:pt x="320" y="19"/>
                        </a:lnTo>
                        <a:lnTo>
                          <a:pt x="318" y="21"/>
                        </a:lnTo>
                        <a:lnTo>
                          <a:pt x="317" y="24"/>
                        </a:lnTo>
                        <a:lnTo>
                          <a:pt x="318" y="22"/>
                        </a:lnTo>
                        <a:lnTo>
                          <a:pt x="317" y="26"/>
                        </a:lnTo>
                        <a:lnTo>
                          <a:pt x="315" y="27"/>
                        </a:lnTo>
                        <a:lnTo>
                          <a:pt x="313" y="29"/>
                        </a:lnTo>
                        <a:lnTo>
                          <a:pt x="310" y="29"/>
                        </a:lnTo>
                        <a:lnTo>
                          <a:pt x="310" y="27"/>
                        </a:lnTo>
                        <a:lnTo>
                          <a:pt x="310" y="26"/>
                        </a:lnTo>
                        <a:lnTo>
                          <a:pt x="311" y="24"/>
                        </a:lnTo>
                        <a:lnTo>
                          <a:pt x="313" y="24"/>
                        </a:lnTo>
                        <a:lnTo>
                          <a:pt x="313" y="22"/>
                        </a:lnTo>
                        <a:lnTo>
                          <a:pt x="313" y="21"/>
                        </a:lnTo>
                        <a:lnTo>
                          <a:pt x="313" y="19"/>
                        </a:lnTo>
                        <a:lnTo>
                          <a:pt x="313" y="17"/>
                        </a:lnTo>
                        <a:lnTo>
                          <a:pt x="315" y="17"/>
                        </a:lnTo>
                        <a:lnTo>
                          <a:pt x="315" y="15"/>
                        </a:lnTo>
                        <a:lnTo>
                          <a:pt x="318" y="12"/>
                        </a:lnTo>
                        <a:lnTo>
                          <a:pt x="320" y="10"/>
                        </a:lnTo>
                        <a:lnTo>
                          <a:pt x="322" y="10"/>
                        </a:lnTo>
                        <a:lnTo>
                          <a:pt x="323" y="7"/>
                        </a:lnTo>
                        <a:lnTo>
                          <a:pt x="322" y="7"/>
                        </a:lnTo>
                        <a:lnTo>
                          <a:pt x="322" y="5"/>
                        </a:lnTo>
                        <a:lnTo>
                          <a:pt x="318" y="7"/>
                        </a:lnTo>
                        <a:lnTo>
                          <a:pt x="317" y="9"/>
                        </a:lnTo>
                        <a:lnTo>
                          <a:pt x="315" y="9"/>
                        </a:lnTo>
                        <a:lnTo>
                          <a:pt x="313" y="7"/>
                        </a:lnTo>
                        <a:lnTo>
                          <a:pt x="311" y="5"/>
                        </a:lnTo>
                        <a:lnTo>
                          <a:pt x="311" y="4"/>
                        </a:lnTo>
                        <a:lnTo>
                          <a:pt x="310" y="4"/>
                        </a:lnTo>
                        <a:lnTo>
                          <a:pt x="308" y="5"/>
                        </a:lnTo>
                        <a:lnTo>
                          <a:pt x="306" y="4"/>
                        </a:lnTo>
                        <a:lnTo>
                          <a:pt x="305" y="4"/>
                        </a:lnTo>
                        <a:lnTo>
                          <a:pt x="305" y="7"/>
                        </a:lnTo>
                        <a:lnTo>
                          <a:pt x="305" y="9"/>
                        </a:lnTo>
                        <a:lnTo>
                          <a:pt x="301" y="7"/>
                        </a:lnTo>
                        <a:lnTo>
                          <a:pt x="300" y="7"/>
                        </a:lnTo>
                        <a:lnTo>
                          <a:pt x="301" y="10"/>
                        </a:lnTo>
                        <a:lnTo>
                          <a:pt x="305" y="12"/>
                        </a:lnTo>
                        <a:lnTo>
                          <a:pt x="301" y="14"/>
                        </a:lnTo>
                        <a:lnTo>
                          <a:pt x="300" y="15"/>
                        </a:lnTo>
                        <a:lnTo>
                          <a:pt x="300" y="17"/>
                        </a:lnTo>
                        <a:lnTo>
                          <a:pt x="298" y="17"/>
                        </a:lnTo>
                        <a:lnTo>
                          <a:pt x="293" y="17"/>
                        </a:lnTo>
                        <a:lnTo>
                          <a:pt x="290" y="21"/>
                        </a:lnTo>
                        <a:lnTo>
                          <a:pt x="288" y="22"/>
                        </a:lnTo>
                        <a:lnTo>
                          <a:pt x="286" y="24"/>
                        </a:lnTo>
                        <a:lnTo>
                          <a:pt x="284" y="24"/>
                        </a:lnTo>
                        <a:lnTo>
                          <a:pt x="284" y="26"/>
                        </a:lnTo>
                        <a:lnTo>
                          <a:pt x="284" y="27"/>
                        </a:lnTo>
                        <a:lnTo>
                          <a:pt x="284" y="29"/>
                        </a:lnTo>
                        <a:lnTo>
                          <a:pt x="283" y="32"/>
                        </a:lnTo>
                        <a:lnTo>
                          <a:pt x="281" y="32"/>
                        </a:lnTo>
                        <a:lnTo>
                          <a:pt x="279" y="31"/>
                        </a:lnTo>
                        <a:lnTo>
                          <a:pt x="279" y="29"/>
                        </a:lnTo>
                        <a:lnTo>
                          <a:pt x="281" y="29"/>
                        </a:lnTo>
                        <a:lnTo>
                          <a:pt x="278" y="27"/>
                        </a:lnTo>
                        <a:lnTo>
                          <a:pt x="279" y="26"/>
                        </a:lnTo>
                        <a:lnTo>
                          <a:pt x="276" y="26"/>
                        </a:lnTo>
                        <a:lnTo>
                          <a:pt x="273" y="26"/>
                        </a:lnTo>
                        <a:lnTo>
                          <a:pt x="271" y="26"/>
                        </a:lnTo>
                        <a:lnTo>
                          <a:pt x="271" y="27"/>
                        </a:lnTo>
                        <a:lnTo>
                          <a:pt x="269" y="27"/>
                        </a:lnTo>
                        <a:lnTo>
                          <a:pt x="268" y="27"/>
                        </a:lnTo>
                        <a:lnTo>
                          <a:pt x="268" y="26"/>
                        </a:lnTo>
                        <a:lnTo>
                          <a:pt x="268" y="24"/>
                        </a:lnTo>
                        <a:lnTo>
                          <a:pt x="266" y="24"/>
                        </a:lnTo>
                        <a:lnTo>
                          <a:pt x="266" y="22"/>
                        </a:lnTo>
                        <a:lnTo>
                          <a:pt x="263" y="24"/>
                        </a:lnTo>
                        <a:lnTo>
                          <a:pt x="263" y="22"/>
                        </a:lnTo>
                        <a:lnTo>
                          <a:pt x="261" y="24"/>
                        </a:lnTo>
                        <a:lnTo>
                          <a:pt x="261" y="27"/>
                        </a:lnTo>
                        <a:lnTo>
                          <a:pt x="259" y="26"/>
                        </a:lnTo>
                        <a:lnTo>
                          <a:pt x="258" y="22"/>
                        </a:lnTo>
                        <a:lnTo>
                          <a:pt x="258" y="26"/>
                        </a:lnTo>
                        <a:lnTo>
                          <a:pt x="258" y="27"/>
                        </a:lnTo>
                        <a:lnTo>
                          <a:pt x="259" y="27"/>
                        </a:lnTo>
                        <a:lnTo>
                          <a:pt x="263" y="29"/>
                        </a:lnTo>
                        <a:lnTo>
                          <a:pt x="264" y="29"/>
                        </a:lnTo>
                        <a:lnTo>
                          <a:pt x="264" y="31"/>
                        </a:lnTo>
                        <a:lnTo>
                          <a:pt x="263" y="32"/>
                        </a:lnTo>
                        <a:lnTo>
                          <a:pt x="263" y="34"/>
                        </a:lnTo>
                        <a:lnTo>
                          <a:pt x="264" y="36"/>
                        </a:lnTo>
                        <a:lnTo>
                          <a:pt x="264" y="39"/>
                        </a:lnTo>
                        <a:lnTo>
                          <a:pt x="263" y="37"/>
                        </a:lnTo>
                        <a:lnTo>
                          <a:pt x="259" y="34"/>
                        </a:lnTo>
                        <a:lnTo>
                          <a:pt x="258" y="32"/>
                        </a:lnTo>
                        <a:lnTo>
                          <a:pt x="254" y="31"/>
                        </a:lnTo>
                        <a:lnTo>
                          <a:pt x="252" y="31"/>
                        </a:lnTo>
                        <a:lnTo>
                          <a:pt x="254" y="34"/>
                        </a:lnTo>
                        <a:lnTo>
                          <a:pt x="252" y="34"/>
                        </a:lnTo>
                        <a:lnTo>
                          <a:pt x="251" y="36"/>
                        </a:lnTo>
                        <a:lnTo>
                          <a:pt x="249" y="36"/>
                        </a:lnTo>
                        <a:lnTo>
                          <a:pt x="247" y="36"/>
                        </a:lnTo>
                        <a:lnTo>
                          <a:pt x="247" y="34"/>
                        </a:lnTo>
                        <a:lnTo>
                          <a:pt x="249" y="32"/>
                        </a:lnTo>
                        <a:lnTo>
                          <a:pt x="246" y="34"/>
                        </a:lnTo>
                        <a:lnTo>
                          <a:pt x="244" y="36"/>
                        </a:lnTo>
                        <a:lnTo>
                          <a:pt x="244" y="37"/>
                        </a:lnTo>
                        <a:lnTo>
                          <a:pt x="242" y="37"/>
                        </a:lnTo>
                        <a:lnTo>
                          <a:pt x="242" y="41"/>
                        </a:lnTo>
                        <a:lnTo>
                          <a:pt x="241" y="42"/>
                        </a:lnTo>
                        <a:lnTo>
                          <a:pt x="239" y="44"/>
                        </a:lnTo>
                        <a:lnTo>
                          <a:pt x="237" y="47"/>
                        </a:lnTo>
                        <a:lnTo>
                          <a:pt x="234" y="49"/>
                        </a:lnTo>
                        <a:lnTo>
                          <a:pt x="236" y="47"/>
                        </a:lnTo>
                        <a:lnTo>
                          <a:pt x="237" y="46"/>
                        </a:lnTo>
                        <a:lnTo>
                          <a:pt x="237" y="44"/>
                        </a:lnTo>
                        <a:lnTo>
                          <a:pt x="237" y="39"/>
                        </a:lnTo>
                        <a:lnTo>
                          <a:pt x="239" y="36"/>
                        </a:lnTo>
                        <a:lnTo>
                          <a:pt x="237" y="32"/>
                        </a:lnTo>
                        <a:lnTo>
                          <a:pt x="236" y="34"/>
                        </a:lnTo>
                        <a:lnTo>
                          <a:pt x="234" y="34"/>
                        </a:lnTo>
                        <a:lnTo>
                          <a:pt x="232" y="36"/>
                        </a:lnTo>
                        <a:lnTo>
                          <a:pt x="231" y="39"/>
                        </a:lnTo>
                        <a:lnTo>
                          <a:pt x="229" y="42"/>
                        </a:lnTo>
                        <a:lnTo>
                          <a:pt x="227" y="46"/>
                        </a:lnTo>
                        <a:lnTo>
                          <a:pt x="227" y="44"/>
                        </a:lnTo>
                        <a:lnTo>
                          <a:pt x="227" y="41"/>
                        </a:lnTo>
                        <a:lnTo>
                          <a:pt x="227" y="39"/>
                        </a:lnTo>
                        <a:lnTo>
                          <a:pt x="227" y="37"/>
                        </a:lnTo>
                        <a:lnTo>
                          <a:pt x="225" y="37"/>
                        </a:lnTo>
                        <a:lnTo>
                          <a:pt x="222" y="37"/>
                        </a:lnTo>
                        <a:lnTo>
                          <a:pt x="220" y="37"/>
                        </a:lnTo>
                        <a:lnTo>
                          <a:pt x="219" y="39"/>
                        </a:lnTo>
                        <a:lnTo>
                          <a:pt x="217" y="41"/>
                        </a:lnTo>
                        <a:lnTo>
                          <a:pt x="217" y="42"/>
                        </a:lnTo>
                        <a:lnTo>
                          <a:pt x="219" y="44"/>
                        </a:lnTo>
                        <a:lnTo>
                          <a:pt x="220" y="47"/>
                        </a:lnTo>
                        <a:lnTo>
                          <a:pt x="224" y="47"/>
                        </a:lnTo>
                        <a:lnTo>
                          <a:pt x="225" y="51"/>
                        </a:lnTo>
                        <a:lnTo>
                          <a:pt x="225" y="53"/>
                        </a:lnTo>
                        <a:lnTo>
                          <a:pt x="222" y="53"/>
                        </a:lnTo>
                        <a:lnTo>
                          <a:pt x="222" y="51"/>
                        </a:lnTo>
                        <a:lnTo>
                          <a:pt x="220" y="49"/>
                        </a:lnTo>
                        <a:lnTo>
                          <a:pt x="217" y="47"/>
                        </a:lnTo>
                        <a:lnTo>
                          <a:pt x="215" y="46"/>
                        </a:lnTo>
                        <a:lnTo>
                          <a:pt x="212" y="44"/>
                        </a:lnTo>
                        <a:lnTo>
                          <a:pt x="210" y="44"/>
                        </a:lnTo>
                        <a:lnTo>
                          <a:pt x="209" y="44"/>
                        </a:lnTo>
                        <a:lnTo>
                          <a:pt x="210" y="46"/>
                        </a:lnTo>
                        <a:lnTo>
                          <a:pt x="212" y="47"/>
                        </a:lnTo>
                        <a:lnTo>
                          <a:pt x="215" y="49"/>
                        </a:lnTo>
                        <a:lnTo>
                          <a:pt x="214" y="51"/>
                        </a:lnTo>
                        <a:lnTo>
                          <a:pt x="212" y="51"/>
                        </a:lnTo>
                        <a:lnTo>
                          <a:pt x="210" y="49"/>
                        </a:lnTo>
                        <a:lnTo>
                          <a:pt x="209" y="51"/>
                        </a:lnTo>
                        <a:lnTo>
                          <a:pt x="209" y="49"/>
                        </a:lnTo>
                        <a:lnTo>
                          <a:pt x="205" y="49"/>
                        </a:lnTo>
                        <a:lnTo>
                          <a:pt x="207" y="46"/>
                        </a:lnTo>
                        <a:lnTo>
                          <a:pt x="205" y="44"/>
                        </a:lnTo>
                        <a:lnTo>
                          <a:pt x="204" y="46"/>
                        </a:lnTo>
                        <a:lnTo>
                          <a:pt x="204" y="47"/>
                        </a:lnTo>
                        <a:lnTo>
                          <a:pt x="202" y="49"/>
                        </a:lnTo>
                        <a:lnTo>
                          <a:pt x="202" y="51"/>
                        </a:lnTo>
                        <a:lnTo>
                          <a:pt x="202" y="53"/>
                        </a:lnTo>
                        <a:lnTo>
                          <a:pt x="204" y="53"/>
                        </a:lnTo>
                        <a:lnTo>
                          <a:pt x="202" y="54"/>
                        </a:lnTo>
                        <a:lnTo>
                          <a:pt x="200" y="54"/>
                        </a:lnTo>
                        <a:lnTo>
                          <a:pt x="197" y="56"/>
                        </a:lnTo>
                        <a:lnTo>
                          <a:pt x="195" y="56"/>
                        </a:lnTo>
                        <a:lnTo>
                          <a:pt x="195" y="58"/>
                        </a:lnTo>
                        <a:lnTo>
                          <a:pt x="195" y="59"/>
                        </a:lnTo>
                        <a:lnTo>
                          <a:pt x="195" y="61"/>
                        </a:lnTo>
                        <a:lnTo>
                          <a:pt x="197" y="61"/>
                        </a:lnTo>
                        <a:lnTo>
                          <a:pt x="199" y="63"/>
                        </a:lnTo>
                        <a:lnTo>
                          <a:pt x="197" y="61"/>
                        </a:lnTo>
                        <a:lnTo>
                          <a:pt x="197" y="64"/>
                        </a:lnTo>
                        <a:lnTo>
                          <a:pt x="193" y="64"/>
                        </a:lnTo>
                        <a:lnTo>
                          <a:pt x="192" y="64"/>
                        </a:lnTo>
                        <a:lnTo>
                          <a:pt x="193" y="66"/>
                        </a:lnTo>
                        <a:lnTo>
                          <a:pt x="193" y="68"/>
                        </a:lnTo>
                        <a:lnTo>
                          <a:pt x="190" y="66"/>
                        </a:lnTo>
                        <a:lnTo>
                          <a:pt x="188" y="68"/>
                        </a:lnTo>
                        <a:lnTo>
                          <a:pt x="187" y="68"/>
                        </a:lnTo>
                        <a:lnTo>
                          <a:pt x="182" y="68"/>
                        </a:lnTo>
                        <a:lnTo>
                          <a:pt x="180" y="69"/>
                        </a:lnTo>
                        <a:lnTo>
                          <a:pt x="178" y="71"/>
                        </a:lnTo>
                        <a:lnTo>
                          <a:pt x="182" y="73"/>
                        </a:lnTo>
                        <a:lnTo>
                          <a:pt x="185" y="71"/>
                        </a:lnTo>
                        <a:lnTo>
                          <a:pt x="187" y="71"/>
                        </a:lnTo>
                        <a:lnTo>
                          <a:pt x="188" y="71"/>
                        </a:lnTo>
                        <a:lnTo>
                          <a:pt x="190" y="73"/>
                        </a:lnTo>
                        <a:lnTo>
                          <a:pt x="193" y="71"/>
                        </a:lnTo>
                        <a:lnTo>
                          <a:pt x="195" y="71"/>
                        </a:lnTo>
                        <a:lnTo>
                          <a:pt x="195" y="73"/>
                        </a:lnTo>
                        <a:lnTo>
                          <a:pt x="193" y="73"/>
                        </a:lnTo>
                        <a:lnTo>
                          <a:pt x="192" y="74"/>
                        </a:lnTo>
                        <a:lnTo>
                          <a:pt x="190" y="76"/>
                        </a:lnTo>
                        <a:lnTo>
                          <a:pt x="188" y="76"/>
                        </a:lnTo>
                        <a:lnTo>
                          <a:pt x="187" y="74"/>
                        </a:lnTo>
                        <a:lnTo>
                          <a:pt x="183" y="74"/>
                        </a:lnTo>
                        <a:lnTo>
                          <a:pt x="180" y="74"/>
                        </a:lnTo>
                        <a:lnTo>
                          <a:pt x="178" y="74"/>
                        </a:lnTo>
                        <a:lnTo>
                          <a:pt x="175" y="74"/>
                        </a:lnTo>
                        <a:lnTo>
                          <a:pt x="175" y="76"/>
                        </a:lnTo>
                        <a:lnTo>
                          <a:pt x="175" y="78"/>
                        </a:lnTo>
                        <a:lnTo>
                          <a:pt x="177" y="80"/>
                        </a:lnTo>
                        <a:lnTo>
                          <a:pt x="177" y="81"/>
                        </a:lnTo>
                        <a:lnTo>
                          <a:pt x="175" y="81"/>
                        </a:lnTo>
                        <a:lnTo>
                          <a:pt x="177" y="83"/>
                        </a:lnTo>
                        <a:lnTo>
                          <a:pt x="177" y="86"/>
                        </a:lnTo>
                        <a:lnTo>
                          <a:pt x="175" y="85"/>
                        </a:lnTo>
                        <a:lnTo>
                          <a:pt x="175" y="86"/>
                        </a:lnTo>
                        <a:lnTo>
                          <a:pt x="173" y="88"/>
                        </a:lnTo>
                        <a:lnTo>
                          <a:pt x="172" y="85"/>
                        </a:lnTo>
                        <a:lnTo>
                          <a:pt x="172" y="83"/>
                        </a:lnTo>
                        <a:lnTo>
                          <a:pt x="172" y="80"/>
                        </a:lnTo>
                        <a:lnTo>
                          <a:pt x="168" y="81"/>
                        </a:lnTo>
                        <a:lnTo>
                          <a:pt x="168" y="83"/>
                        </a:lnTo>
                        <a:lnTo>
                          <a:pt x="165" y="83"/>
                        </a:lnTo>
                        <a:lnTo>
                          <a:pt x="168" y="85"/>
                        </a:lnTo>
                        <a:lnTo>
                          <a:pt x="166" y="85"/>
                        </a:lnTo>
                        <a:lnTo>
                          <a:pt x="165" y="85"/>
                        </a:lnTo>
                        <a:lnTo>
                          <a:pt x="163" y="86"/>
                        </a:lnTo>
                        <a:lnTo>
                          <a:pt x="161" y="88"/>
                        </a:lnTo>
                        <a:lnTo>
                          <a:pt x="163" y="90"/>
                        </a:lnTo>
                        <a:lnTo>
                          <a:pt x="165" y="91"/>
                        </a:lnTo>
                        <a:lnTo>
                          <a:pt x="163" y="91"/>
                        </a:lnTo>
                        <a:lnTo>
                          <a:pt x="165" y="93"/>
                        </a:lnTo>
                        <a:lnTo>
                          <a:pt x="163" y="93"/>
                        </a:lnTo>
                        <a:lnTo>
                          <a:pt x="161" y="95"/>
                        </a:lnTo>
                        <a:lnTo>
                          <a:pt x="160" y="96"/>
                        </a:lnTo>
                        <a:lnTo>
                          <a:pt x="158" y="96"/>
                        </a:lnTo>
                        <a:lnTo>
                          <a:pt x="161" y="96"/>
                        </a:lnTo>
                        <a:lnTo>
                          <a:pt x="165" y="96"/>
                        </a:lnTo>
                        <a:lnTo>
                          <a:pt x="166" y="96"/>
                        </a:lnTo>
                        <a:lnTo>
                          <a:pt x="165" y="98"/>
                        </a:lnTo>
                        <a:lnTo>
                          <a:pt x="163" y="98"/>
                        </a:lnTo>
                        <a:lnTo>
                          <a:pt x="161" y="100"/>
                        </a:lnTo>
                        <a:lnTo>
                          <a:pt x="158" y="98"/>
                        </a:lnTo>
                        <a:lnTo>
                          <a:pt x="156" y="98"/>
                        </a:lnTo>
                        <a:lnTo>
                          <a:pt x="155" y="98"/>
                        </a:lnTo>
                        <a:lnTo>
                          <a:pt x="155" y="96"/>
                        </a:lnTo>
                        <a:lnTo>
                          <a:pt x="153" y="96"/>
                        </a:lnTo>
                        <a:lnTo>
                          <a:pt x="150" y="98"/>
                        </a:lnTo>
                        <a:lnTo>
                          <a:pt x="148" y="101"/>
                        </a:lnTo>
                        <a:lnTo>
                          <a:pt x="145" y="103"/>
                        </a:lnTo>
                        <a:lnTo>
                          <a:pt x="145" y="105"/>
                        </a:lnTo>
                        <a:lnTo>
                          <a:pt x="146" y="105"/>
                        </a:lnTo>
                        <a:lnTo>
                          <a:pt x="146" y="107"/>
                        </a:lnTo>
                        <a:lnTo>
                          <a:pt x="145" y="108"/>
                        </a:lnTo>
                        <a:lnTo>
                          <a:pt x="143" y="110"/>
                        </a:lnTo>
                        <a:lnTo>
                          <a:pt x="143" y="112"/>
                        </a:lnTo>
                        <a:lnTo>
                          <a:pt x="141" y="112"/>
                        </a:lnTo>
                        <a:lnTo>
                          <a:pt x="139" y="112"/>
                        </a:lnTo>
                        <a:lnTo>
                          <a:pt x="136" y="112"/>
                        </a:lnTo>
                        <a:lnTo>
                          <a:pt x="136" y="113"/>
                        </a:lnTo>
                        <a:lnTo>
                          <a:pt x="134" y="113"/>
                        </a:lnTo>
                        <a:lnTo>
                          <a:pt x="136" y="117"/>
                        </a:lnTo>
                        <a:lnTo>
                          <a:pt x="134" y="117"/>
                        </a:lnTo>
                        <a:lnTo>
                          <a:pt x="133" y="117"/>
                        </a:lnTo>
                        <a:lnTo>
                          <a:pt x="133" y="118"/>
                        </a:lnTo>
                        <a:lnTo>
                          <a:pt x="129" y="120"/>
                        </a:lnTo>
                        <a:lnTo>
                          <a:pt x="128" y="122"/>
                        </a:lnTo>
                        <a:lnTo>
                          <a:pt x="128" y="123"/>
                        </a:lnTo>
                        <a:lnTo>
                          <a:pt x="131" y="123"/>
                        </a:lnTo>
                        <a:lnTo>
                          <a:pt x="131" y="125"/>
                        </a:lnTo>
                        <a:lnTo>
                          <a:pt x="128" y="125"/>
                        </a:lnTo>
                        <a:lnTo>
                          <a:pt x="126" y="125"/>
                        </a:lnTo>
                        <a:lnTo>
                          <a:pt x="126" y="127"/>
                        </a:lnTo>
                        <a:lnTo>
                          <a:pt x="128" y="128"/>
                        </a:lnTo>
                        <a:lnTo>
                          <a:pt x="129" y="128"/>
                        </a:lnTo>
                        <a:lnTo>
                          <a:pt x="131" y="128"/>
                        </a:lnTo>
                        <a:lnTo>
                          <a:pt x="129" y="130"/>
                        </a:lnTo>
                        <a:lnTo>
                          <a:pt x="128" y="130"/>
                        </a:lnTo>
                        <a:lnTo>
                          <a:pt x="124" y="132"/>
                        </a:lnTo>
                        <a:lnTo>
                          <a:pt x="123" y="132"/>
                        </a:lnTo>
                        <a:lnTo>
                          <a:pt x="123" y="133"/>
                        </a:lnTo>
                        <a:lnTo>
                          <a:pt x="123" y="135"/>
                        </a:lnTo>
                        <a:lnTo>
                          <a:pt x="121" y="135"/>
                        </a:lnTo>
                        <a:lnTo>
                          <a:pt x="118" y="137"/>
                        </a:lnTo>
                        <a:lnTo>
                          <a:pt x="116" y="139"/>
                        </a:lnTo>
                        <a:lnTo>
                          <a:pt x="119" y="139"/>
                        </a:lnTo>
                        <a:lnTo>
                          <a:pt x="121" y="137"/>
                        </a:lnTo>
                        <a:lnTo>
                          <a:pt x="124" y="137"/>
                        </a:lnTo>
                        <a:lnTo>
                          <a:pt x="124" y="139"/>
                        </a:lnTo>
                        <a:lnTo>
                          <a:pt x="126" y="140"/>
                        </a:lnTo>
                        <a:lnTo>
                          <a:pt x="123" y="140"/>
                        </a:lnTo>
                        <a:lnTo>
                          <a:pt x="121" y="139"/>
                        </a:lnTo>
                        <a:lnTo>
                          <a:pt x="119" y="140"/>
                        </a:lnTo>
                        <a:lnTo>
                          <a:pt x="121" y="142"/>
                        </a:lnTo>
                        <a:lnTo>
                          <a:pt x="119" y="142"/>
                        </a:lnTo>
                        <a:lnTo>
                          <a:pt x="119" y="144"/>
                        </a:lnTo>
                        <a:lnTo>
                          <a:pt x="119" y="145"/>
                        </a:lnTo>
                        <a:lnTo>
                          <a:pt x="118" y="145"/>
                        </a:lnTo>
                        <a:lnTo>
                          <a:pt x="116" y="145"/>
                        </a:lnTo>
                        <a:lnTo>
                          <a:pt x="116" y="147"/>
                        </a:lnTo>
                        <a:lnTo>
                          <a:pt x="116" y="149"/>
                        </a:lnTo>
                        <a:lnTo>
                          <a:pt x="118" y="149"/>
                        </a:lnTo>
                        <a:lnTo>
                          <a:pt x="118" y="152"/>
                        </a:lnTo>
                        <a:lnTo>
                          <a:pt x="119" y="154"/>
                        </a:lnTo>
                        <a:lnTo>
                          <a:pt x="116" y="152"/>
                        </a:lnTo>
                        <a:lnTo>
                          <a:pt x="114" y="150"/>
                        </a:lnTo>
                        <a:lnTo>
                          <a:pt x="113" y="149"/>
                        </a:lnTo>
                        <a:lnTo>
                          <a:pt x="113" y="150"/>
                        </a:lnTo>
                        <a:lnTo>
                          <a:pt x="113" y="152"/>
                        </a:lnTo>
                        <a:lnTo>
                          <a:pt x="113" y="154"/>
                        </a:lnTo>
                        <a:lnTo>
                          <a:pt x="111" y="154"/>
                        </a:lnTo>
                        <a:lnTo>
                          <a:pt x="109" y="155"/>
                        </a:lnTo>
                        <a:lnTo>
                          <a:pt x="111" y="155"/>
                        </a:lnTo>
                        <a:lnTo>
                          <a:pt x="113" y="155"/>
                        </a:lnTo>
                        <a:lnTo>
                          <a:pt x="114" y="154"/>
                        </a:lnTo>
                        <a:lnTo>
                          <a:pt x="114" y="155"/>
                        </a:lnTo>
                        <a:lnTo>
                          <a:pt x="114" y="157"/>
                        </a:lnTo>
                        <a:lnTo>
                          <a:pt x="114" y="159"/>
                        </a:lnTo>
                        <a:lnTo>
                          <a:pt x="113" y="159"/>
                        </a:lnTo>
                        <a:lnTo>
                          <a:pt x="111" y="159"/>
                        </a:lnTo>
                        <a:lnTo>
                          <a:pt x="109" y="159"/>
                        </a:lnTo>
                        <a:lnTo>
                          <a:pt x="107" y="160"/>
                        </a:lnTo>
                        <a:lnTo>
                          <a:pt x="107" y="159"/>
                        </a:lnTo>
                        <a:lnTo>
                          <a:pt x="106" y="159"/>
                        </a:lnTo>
                        <a:lnTo>
                          <a:pt x="104" y="162"/>
                        </a:lnTo>
                        <a:lnTo>
                          <a:pt x="104" y="164"/>
                        </a:lnTo>
                        <a:lnTo>
                          <a:pt x="101" y="164"/>
                        </a:lnTo>
                        <a:lnTo>
                          <a:pt x="99" y="166"/>
                        </a:lnTo>
                        <a:lnTo>
                          <a:pt x="99" y="167"/>
                        </a:lnTo>
                        <a:lnTo>
                          <a:pt x="97" y="169"/>
                        </a:lnTo>
                        <a:lnTo>
                          <a:pt x="101" y="169"/>
                        </a:lnTo>
                        <a:lnTo>
                          <a:pt x="102" y="167"/>
                        </a:lnTo>
                        <a:lnTo>
                          <a:pt x="104" y="167"/>
                        </a:lnTo>
                        <a:lnTo>
                          <a:pt x="102" y="169"/>
                        </a:lnTo>
                        <a:lnTo>
                          <a:pt x="99" y="169"/>
                        </a:lnTo>
                        <a:lnTo>
                          <a:pt x="99" y="171"/>
                        </a:lnTo>
                        <a:lnTo>
                          <a:pt x="101" y="174"/>
                        </a:lnTo>
                        <a:lnTo>
                          <a:pt x="99" y="176"/>
                        </a:lnTo>
                        <a:lnTo>
                          <a:pt x="96" y="176"/>
                        </a:lnTo>
                        <a:lnTo>
                          <a:pt x="94" y="174"/>
                        </a:lnTo>
                        <a:lnTo>
                          <a:pt x="92" y="174"/>
                        </a:lnTo>
                        <a:lnTo>
                          <a:pt x="91" y="174"/>
                        </a:lnTo>
                        <a:lnTo>
                          <a:pt x="89" y="176"/>
                        </a:lnTo>
                        <a:lnTo>
                          <a:pt x="87" y="177"/>
                        </a:lnTo>
                        <a:lnTo>
                          <a:pt x="86" y="177"/>
                        </a:lnTo>
                        <a:lnTo>
                          <a:pt x="86" y="179"/>
                        </a:lnTo>
                        <a:lnTo>
                          <a:pt x="84" y="181"/>
                        </a:lnTo>
                        <a:lnTo>
                          <a:pt x="82" y="181"/>
                        </a:lnTo>
                        <a:lnTo>
                          <a:pt x="80" y="182"/>
                        </a:lnTo>
                        <a:lnTo>
                          <a:pt x="80" y="184"/>
                        </a:lnTo>
                        <a:lnTo>
                          <a:pt x="79" y="186"/>
                        </a:lnTo>
                        <a:lnTo>
                          <a:pt x="77" y="186"/>
                        </a:lnTo>
                        <a:lnTo>
                          <a:pt x="79" y="187"/>
                        </a:lnTo>
                        <a:lnTo>
                          <a:pt x="79" y="189"/>
                        </a:lnTo>
                        <a:lnTo>
                          <a:pt x="75" y="191"/>
                        </a:lnTo>
                        <a:lnTo>
                          <a:pt x="72" y="191"/>
                        </a:lnTo>
                        <a:lnTo>
                          <a:pt x="72" y="194"/>
                        </a:lnTo>
                        <a:lnTo>
                          <a:pt x="74" y="194"/>
                        </a:lnTo>
                        <a:lnTo>
                          <a:pt x="77" y="194"/>
                        </a:lnTo>
                        <a:lnTo>
                          <a:pt x="75" y="196"/>
                        </a:lnTo>
                        <a:lnTo>
                          <a:pt x="77" y="199"/>
                        </a:lnTo>
                        <a:lnTo>
                          <a:pt x="79" y="199"/>
                        </a:lnTo>
                        <a:lnTo>
                          <a:pt x="82" y="198"/>
                        </a:lnTo>
                        <a:lnTo>
                          <a:pt x="84" y="198"/>
                        </a:lnTo>
                        <a:lnTo>
                          <a:pt x="87" y="196"/>
                        </a:lnTo>
                        <a:lnTo>
                          <a:pt x="91" y="194"/>
                        </a:lnTo>
                        <a:lnTo>
                          <a:pt x="94" y="192"/>
                        </a:lnTo>
                        <a:lnTo>
                          <a:pt x="96" y="192"/>
                        </a:lnTo>
                        <a:lnTo>
                          <a:pt x="97" y="191"/>
                        </a:lnTo>
                        <a:lnTo>
                          <a:pt x="99" y="191"/>
                        </a:lnTo>
                        <a:lnTo>
                          <a:pt x="97" y="192"/>
                        </a:lnTo>
                        <a:lnTo>
                          <a:pt x="96" y="194"/>
                        </a:lnTo>
                        <a:lnTo>
                          <a:pt x="94" y="194"/>
                        </a:lnTo>
                        <a:lnTo>
                          <a:pt x="92" y="194"/>
                        </a:lnTo>
                        <a:lnTo>
                          <a:pt x="89" y="196"/>
                        </a:lnTo>
                        <a:lnTo>
                          <a:pt x="87" y="198"/>
                        </a:lnTo>
                        <a:lnTo>
                          <a:pt x="89" y="199"/>
                        </a:lnTo>
                        <a:lnTo>
                          <a:pt x="87" y="199"/>
                        </a:lnTo>
                        <a:lnTo>
                          <a:pt x="86" y="201"/>
                        </a:lnTo>
                        <a:lnTo>
                          <a:pt x="82" y="201"/>
                        </a:lnTo>
                        <a:lnTo>
                          <a:pt x="80" y="201"/>
                        </a:lnTo>
                        <a:lnTo>
                          <a:pt x="79" y="201"/>
                        </a:lnTo>
                        <a:lnTo>
                          <a:pt x="80" y="203"/>
                        </a:lnTo>
                        <a:lnTo>
                          <a:pt x="79" y="203"/>
                        </a:lnTo>
                        <a:lnTo>
                          <a:pt x="75" y="203"/>
                        </a:lnTo>
                        <a:lnTo>
                          <a:pt x="75" y="201"/>
                        </a:lnTo>
                        <a:lnTo>
                          <a:pt x="75" y="199"/>
                        </a:lnTo>
                        <a:lnTo>
                          <a:pt x="74" y="198"/>
                        </a:lnTo>
                        <a:lnTo>
                          <a:pt x="72" y="198"/>
                        </a:lnTo>
                        <a:lnTo>
                          <a:pt x="70" y="198"/>
                        </a:lnTo>
                        <a:lnTo>
                          <a:pt x="69" y="198"/>
                        </a:lnTo>
                        <a:lnTo>
                          <a:pt x="67" y="199"/>
                        </a:lnTo>
                        <a:lnTo>
                          <a:pt x="65" y="199"/>
                        </a:lnTo>
                        <a:lnTo>
                          <a:pt x="65" y="201"/>
                        </a:lnTo>
                        <a:lnTo>
                          <a:pt x="67" y="203"/>
                        </a:lnTo>
                        <a:lnTo>
                          <a:pt x="69" y="203"/>
                        </a:lnTo>
                        <a:lnTo>
                          <a:pt x="65" y="204"/>
                        </a:lnTo>
                        <a:lnTo>
                          <a:pt x="64" y="203"/>
                        </a:lnTo>
                        <a:lnTo>
                          <a:pt x="64" y="201"/>
                        </a:lnTo>
                        <a:lnTo>
                          <a:pt x="60" y="201"/>
                        </a:lnTo>
                        <a:lnTo>
                          <a:pt x="59" y="201"/>
                        </a:lnTo>
                        <a:lnTo>
                          <a:pt x="57" y="203"/>
                        </a:lnTo>
                        <a:lnTo>
                          <a:pt x="55" y="203"/>
                        </a:lnTo>
                        <a:lnTo>
                          <a:pt x="54" y="203"/>
                        </a:lnTo>
                        <a:lnTo>
                          <a:pt x="54" y="204"/>
                        </a:lnTo>
                        <a:lnTo>
                          <a:pt x="54" y="206"/>
                        </a:lnTo>
                        <a:lnTo>
                          <a:pt x="52" y="206"/>
                        </a:lnTo>
                        <a:lnTo>
                          <a:pt x="52" y="208"/>
                        </a:lnTo>
                        <a:lnTo>
                          <a:pt x="50" y="208"/>
                        </a:lnTo>
                        <a:lnTo>
                          <a:pt x="48" y="208"/>
                        </a:lnTo>
                        <a:lnTo>
                          <a:pt x="48" y="206"/>
                        </a:lnTo>
                        <a:lnTo>
                          <a:pt x="47" y="206"/>
                        </a:lnTo>
                        <a:lnTo>
                          <a:pt x="47" y="208"/>
                        </a:lnTo>
                        <a:lnTo>
                          <a:pt x="47" y="209"/>
                        </a:lnTo>
                        <a:lnTo>
                          <a:pt x="45" y="209"/>
                        </a:lnTo>
                        <a:lnTo>
                          <a:pt x="43" y="209"/>
                        </a:lnTo>
                        <a:lnTo>
                          <a:pt x="42" y="209"/>
                        </a:lnTo>
                        <a:lnTo>
                          <a:pt x="40" y="209"/>
                        </a:lnTo>
                        <a:lnTo>
                          <a:pt x="38" y="211"/>
                        </a:lnTo>
                        <a:lnTo>
                          <a:pt x="38" y="213"/>
                        </a:lnTo>
                        <a:lnTo>
                          <a:pt x="37" y="214"/>
                        </a:lnTo>
                        <a:lnTo>
                          <a:pt x="35" y="214"/>
                        </a:lnTo>
                        <a:lnTo>
                          <a:pt x="33" y="214"/>
                        </a:lnTo>
                        <a:lnTo>
                          <a:pt x="30" y="216"/>
                        </a:lnTo>
                        <a:lnTo>
                          <a:pt x="32" y="218"/>
                        </a:lnTo>
                        <a:lnTo>
                          <a:pt x="30" y="219"/>
                        </a:lnTo>
                        <a:lnTo>
                          <a:pt x="33" y="219"/>
                        </a:lnTo>
                        <a:lnTo>
                          <a:pt x="37" y="219"/>
                        </a:lnTo>
                        <a:lnTo>
                          <a:pt x="38" y="221"/>
                        </a:lnTo>
                        <a:lnTo>
                          <a:pt x="40" y="221"/>
                        </a:lnTo>
                        <a:lnTo>
                          <a:pt x="38" y="221"/>
                        </a:lnTo>
                        <a:lnTo>
                          <a:pt x="37" y="223"/>
                        </a:lnTo>
                        <a:lnTo>
                          <a:pt x="38" y="225"/>
                        </a:lnTo>
                        <a:lnTo>
                          <a:pt x="37" y="223"/>
                        </a:lnTo>
                        <a:lnTo>
                          <a:pt x="33" y="223"/>
                        </a:lnTo>
                        <a:lnTo>
                          <a:pt x="32" y="223"/>
                        </a:lnTo>
                        <a:lnTo>
                          <a:pt x="30" y="223"/>
                        </a:lnTo>
                        <a:lnTo>
                          <a:pt x="27" y="223"/>
                        </a:lnTo>
                        <a:lnTo>
                          <a:pt x="25" y="223"/>
                        </a:lnTo>
                        <a:lnTo>
                          <a:pt x="23" y="223"/>
                        </a:lnTo>
                        <a:lnTo>
                          <a:pt x="21" y="223"/>
                        </a:lnTo>
                        <a:lnTo>
                          <a:pt x="20" y="225"/>
                        </a:lnTo>
                        <a:lnTo>
                          <a:pt x="21" y="225"/>
                        </a:lnTo>
                        <a:lnTo>
                          <a:pt x="21" y="226"/>
                        </a:lnTo>
                        <a:lnTo>
                          <a:pt x="20" y="226"/>
                        </a:lnTo>
                        <a:lnTo>
                          <a:pt x="23" y="226"/>
                        </a:lnTo>
                        <a:lnTo>
                          <a:pt x="25" y="226"/>
                        </a:lnTo>
                        <a:lnTo>
                          <a:pt x="23" y="228"/>
                        </a:lnTo>
                        <a:lnTo>
                          <a:pt x="21" y="228"/>
                        </a:lnTo>
                        <a:lnTo>
                          <a:pt x="21" y="230"/>
                        </a:lnTo>
                        <a:lnTo>
                          <a:pt x="23" y="231"/>
                        </a:lnTo>
                        <a:lnTo>
                          <a:pt x="23" y="233"/>
                        </a:lnTo>
                        <a:lnTo>
                          <a:pt x="21" y="230"/>
                        </a:lnTo>
                        <a:lnTo>
                          <a:pt x="20" y="230"/>
                        </a:lnTo>
                        <a:lnTo>
                          <a:pt x="16" y="230"/>
                        </a:lnTo>
                        <a:lnTo>
                          <a:pt x="16" y="231"/>
                        </a:lnTo>
                        <a:lnTo>
                          <a:pt x="15" y="233"/>
                        </a:lnTo>
                        <a:lnTo>
                          <a:pt x="15" y="235"/>
                        </a:lnTo>
                        <a:lnTo>
                          <a:pt x="16" y="235"/>
                        </a:lnTo>
                        <a:lnTo>
                          <a:pt x="16" y="236"/>
                        </a:lnTo>
                        <a:lnTo>
                          <a:pt x="15" y="236"/>
                        </a:lnTo>
                        <a:lnTo>
                          <a:pt x="15" y="235"/>
                        </a:lnTo>
                        <a:lnTo>
                          <a:pt x="13" y="233"/>
                        </a:lnTo>
                        <a:lnTo>
                          <a:pt x="11" y="235"/>
                        </a:lnTo>
                        <a:lnTo>
                          <a:pt x="10" y="235"/>
                        </a:lnTo>
                        <a:lnTo>
                          <a:pt x="6" y="235"/>
                        </a:lnTo>
                        <a:lnTo>
                          <a:pt x="6" y="236"/>
                        </a:lnTo>
                        <a:lnTo>
                          <a:pt x="5" y="235"/>
                        </a:lnTo>
                        <a:lnTo>
                          <a:pt x="3" y="233"/>
                        </a:lnTo>
                        <a:lnTo>
                          <a:pt x="1" y="235"/>
                        </a:lnTo>
                        <a:lnTo>
                          <a:pt x="3" y="236"/>
                        </a:lnTo>
                        <a:lnTo>
                          <a:pt x="3" y="238"/>
                        </a:lnTo>
                        <a:lnTo>
                          <a:pt x="1" y="238"/>
                        </a:lnTo>
                        <a:lnTo>
                          <a:pt x="3" y="240"/>
                        </a:lnTo>
                        <a:lnTo>
                          <a:pt x="5" y="240"/>
                        </a:lnTo>
                        <a:lnTo>
                          <a:pt x="6" y="240"/>
                        </a:lnTo>
                        <a:lnTo>
                          <a:pt x="8" y="240"/>
                        </a:lnTo>
                        <a:lnTo>
                          <a:pt x="10" y="240"/>
                        </a:lnTo>
                        <a:lnTo>
                          <a:pt x="13" y="240"/>
                        </a:lnTo>
                        <a:lnTo>
                          <a:pt x="15" y="238"/>
                        </a:lnTo>
                        <a:lnTo>
                          <a:pt x="16" y="238"/>
                        </a:lnTo>
                        <a:lnTo>
                          <a:pt x="18" y="238"/>
                        </a:lnTo>
                        <a:lnTo>
                          <a:pt x="16" y="238"/>
                        </a:lnTo>
                        <a:lnTo>
                          <a:pt x="13" y="240"/>
                        </a:lnTo>
                        <a:lnTo>
                          <a:pt x="15" y="240"/>
                        </a:lnTo>
                        <a:lnTo>
                          <a:pt x="18" y="240"/>
                        </a:lnTo>
                        <a:lnTo>
                          <a:pt x="20" y="240"/>
                        </a:lnTo>
                        <a:lnTo>
                          <a:pt x="18" y="241"/>
                        </a:lnTo>
                        <a:lnTo>
                          <a:pt x="13" y="241"/>
                        </a:lnTo>
                        <a:lnTo>
                          <a:pt x="11" y="241"/>
                        </a:lnTo>
                        <a:lnTo>
                          <a:pt x="10" y="241"/>
                        </a:lnTo>
                        <a:lnTo>
                          <a:pt x="8" y="241"/>
                        </a:lnTo>
                        <a:lnTo>
                          <a:pt x="6" y="241"/>
                        </a:lnTo>
                        <a:lnTo>
                          <a:pt x="3" y="243"/>
                        </a:lnTo>
                        <a:lnTo>
                          <a:pt x="0" y="243"/>
                        </a:lnTo>
                        <a:lnTo>
                          <a:pt x="0" y="245"/>
                        </a:lnTo>
                        <a:lnTo>
                          <a:pt x="0" y="246"/>
                        </a:lnTo>
                        <a:lnTo>
                          <a:pt x="1" y="246"/>
                        </a:lnTo>
                        <a:lnTo>
                          <a:pt x="3" y="246"/>
                        </a:lnTo>
                        <a:lnTo>
                          <a:pt x="3" y="248"/>
                        </a:lnTo>
                        <a:lnTo>
                          <a:pt x="3" y="250"/>
                        </a:lnTo>
                        <a:lnTo>
                          <a:pt x="1" y="250"/>
                        </a:lnTo>
                        <a:lnTo>
                          <a:pt x="0" y="251"/>
                        </a:lnTo>
                        <a:lnTo>
                          <a:pt x="1" y="253"/>
                        </a:lnTo>
                        <a:lnTo>
                          <a:pt x="0" y="255"/>
                        </a:lnTo>
                        <a:lnTo>
                          <a:pt x="0" y="257"/>
                        </a:lnTo>
                        <a:lnTo>
                          <a:pt x="1" y="257"/>
                        </a:lnTo>
                        <a:lnTo>
                          <a:pt x="1" y="258"/>
                        </a:lnTo>
                        <a:lnTo>
                          <a:pt x="3" y="258"/>
                        </a:lnTo>
                        <a:lnTo>
                          <a:pt x="5" y="258"/>
                        </a:lnTo>
                        <a:lnTo>
                          <a:pt x="8" y="258"/>
                        </a:lnTo>
                        <a:lnTo>
                          <a:pt x="11" y="257"/>
                        </a:lnTo>
                        <a:lnTo>
                          <a:pt x="15" y="257"/>
                        </a:lnTo>
                        <a:lnTo>
                          <a:pt x="16" y="257"/>
                        </a:lnTo>
                        <a:lnTo>
                          <a:pt x="20" y="257"/>
                        </a:lnTo>
                        <a:lnTo>
                          <a:pt x="20" y="255"/>
                        </a:lnTo>
                        <a:lnTo>
                          <a:pt x="23" y="251"/>
                        </a:lnTo>
                        <a:lnTo>
                          <a:pt x="23" y="253"/>
                        </a:lnTo>
                        <a:lnTo>
                          <a:pt x="21" y="257"/>
                        </a:lnTo>
                        <a:lnTo>
                          <a:pt x="23" y="257"/>
                        </a:lnTo>
                        <a:lnTo>
                          <a:pt x="27" y="257"/>
                        </a:lnTo>
                        <a:lnTo>
                          <a:pt x="28" y="257"/>
                        </a:lnTo>
                        <a:lnTo>
                          <a:pt x="30" y="257"/>
                        </a:lnTo>
                        <a:lnTo>
                          <a:pt x="33" y="255"/>
                        </a:lnTo>
                        <a:lnTo>
                          <a:pt x="33" y="253"/>
                        </a:lnTo>
                        <a:lnTo>
                          <a:pt x="35" y="250"/>
                        </a:lnTo>
                        <a:lnTo>
                          <a:pt x="38" y="248"/>
                        </a:lnTo>
                        <a:lnTo>
                          <a:pt x="38" y="250"/>
                        </a:lnTo>
                        <a:lnTo>
                          <a:pt x="37" y="253"/>
                        </a:lnTo>
                        <a:lnTo>
                          <a:pt x="35" y="255"/>
                        </a:lnTo>
                        <a:lnTo>
                          <a:pt x="35" y="257"/>
                        </a:lnTo>
                        <a:lnTo>
                          <a:pt x="37" y="255"/>
                        </a:lnTo>
                        <a:lnTo>
                          <a:pt x="38" y="255"/>
                        </a:lnTo>
                        <a:lnTo>
                          <a:pt x="40" y="255"/>
                        </a:lnTo>
                        <a:lnTo>
                          <a:pt x="37" y="258"/>
                        </a:lnTo>
                        <a:lnTo>
                          <a:pt x="32" y="258"/>
                        </a:lnTo>
                        <a:lnTo>
                          <a:pt x="30" y="262"/>
                        </a:lnTo>
                        <a:lnTo>
                          <a:pt x="33" y="263"/>
                        </a:lnTo>
                        <a:lnTo>
                          <a:pt x="32" y="263"/>
                        </a:lnTo>
                        <a:lnTo>
                          <a:pt x="28" y="265"/>
                        </a:lnTo>
                        <a:lnTo>
                          <a:pt x="28" y="262"/>
                        </a:lnTo>
                        <a:lnTo>
                          <a:pt x="28" y="260"/>
                        </a:lnTo>
                        <a:lnTo>
                          <a:pt x="25" y="258"/>
                        </a:lnTo>
                        <a:lnTo>
                          <a:pt x="21" y="258"/>
                        </a:lnTo>
                        <a:lnTo>
                          <a:pt x="18" y="260"/>
                        </a:lnTo>
                        <a:lnTo>
                          <a:pt x="15" y="260"/>
                        </a:lnTo>
                        <a:lnTo>
                          <a:pt x="13" y="260"/>
                        </a:lnTo>
                        <a:lnTo>
                          <a:pt x="10" y="260"/>
                        </a:lnTo>
                        <a:lnTo>
                          <a:pt x="8" y="262"/>
                        </a:lnTo>
                        <a:lnTo>
                          <a:pt x="5" y="260"/>
                        </a:lnTo>
                        <a:lnTo>
                          <a:pt x="1" y="260"/>
                        </a:lnTo>
                        <a:lnTo>
                          <a:pt x="1" y="262"/>
                        </a:lnTo>
                        <a:lnTo>
                          <a:pt x="0" y="263"/>
                        </a:lnTo>
                        <a:lnTo>
                          <a:pt x="0" y="265"/>
                        </a:lnTo>
                        <a:lnTo>
                          <a:pt x="3" y="265"/>
                        </a:lnTo>
                        <a:lnTo>
                          <a:pt x="5" y="267"/>
                        </a:lnTo>
                        <a:lnTo>
                          <a:pt x="5" y="268"/>
                        </a:lnTo>
                        <a:lnTo>
                          <a:pt x="1" y="267"/>
                        </a:lnTo>
                        <a:lnTo>
                          <a:pt x="0" y="265"/>
                        </a:lnTo>
                        <a:lnTo>
                          <a:pt x="0" y="267"/>
                        </a:lnTo>
                        <a:lnTo>
                          <a:pt x="1" y="272"/>
                        </a:lnTo>
                        <a:lnTo>
                          <a:pt x="3" y="272"/>
                        </a:lnTo>
                        <a:lnTo>
                          <a:pt x="8" y="270"/>
                        </a:lnTo>
                        <a:lnTo>
                          <a:pt x="10" y="268"/>
                        </a:lnTo>
                        <a:lnTo>
                          <a:pt x="6" y="272"/>
                        </a:lnTo>
                        <a:lnTo>
                          <a:pt x="5" y="273"/>
                        </a:lnTo>
                        <a:lnTo>
                          <a:pt x="6" y="273"/>
                        </a:lnTo>
                        <a:lnTo>
                          <a:pt x="5" y="275"/>
                        </a:lnTo>
                        <a:lnTo>
                          <a:pt x="3" y="275"/>
                        </a:lnTo>
                        <a:lnTo>
                          <a:pt x="1" y="277"/>
                        </a:lnTo>
                        <a:lnTo>
                          <a:pt x="1" y="278"/>
                        </a:lnTo>
                        <a:lnTo>
                          <a:pt x="3" y="280"/>
                        </a:lnTo>
                        <a:lnTo>
                          <a:pt x="5" y="280"/>
                        </a:lnTo>
                        <a:lnTo>
                          <a:pt x="6" y="280"/>
                        </a:lnTo>
                        <a:lnTo>
                          <a:pt x="8" y="278"/>
                        </a:lnTo>
                        <a:lnTo>
                          <a:pt x="8" y="280"/>
                        </a:lnTo>
                        <a:lnTo>
                          <a:pt x="10" y="282"/>
                        </a:lnTo>
                        <a:lnTo>
                          <a:pt x="10" y="284"/>
                        </a:lnTo>
                        <a:lnTo>
                          <a:pt x="8" y="284"/>
                        </a:lnTo>
                        <a:lnTo>
                          <a:pt x="5" y="285"/>
                        </a:lnTo>
                        <a:lnTo>
                          <a:pt x="6" y="287"/>
                        </a:lnTo>
                        <a:lnTo>
                          <a:pt x="10" y="285"/>
                        </a:lnTo>
                        <a:lnTo>
                          <a:pt x="11" y="284"/>
                        </a:lnTo>
                        <a:lnTo>
                          <a:pt x="11" y="280"/>
                        </a:lnTo>
                        <a:lnTo>
                          <a:pt x="15" y="278"/>
                        </a:lnTo>
                        <a:lnTo>
                          <a:pt x="16" y="277"/>
                        </a:lnTo>
                        <a:lnTo>
                          <a:pt x="20" y="272"/>
                        </a:lnTo>
                        <a:lnTo>
                          <a:pt x="23" y="270"/>
                        </a:lnTo>
                        <a:lnTo>
                          <a:pt x="23" y="272"/>
                        </a:lnTo>
                        <a:lnTo>
                          <a:pt x="27" y="272"/>
                        </a:lnTo>
                        <a:lnTo>
                          <a:pt x="30" y="272"/>
                        </a:lnTo>
                        <a:lnTo>
                          <a:pt x="25" y="273"/>
                        </a:lnTo>
                        <a:lnTo>
                          <a:pt x="25" y="275"/>
                        </a:lnTo>
                        <a:lnTo>
                          <a:pt x="25" y="277"/>
                        </a:lnTo>
                        <a:lnTo>
                          <a:pt x="23" y="275"/>
                        </a:lnTo>
                        <a:lnTo>
                          <a:pt x="20" y="277"/>
                        </a:lnTo>
                        <a:lnTo>
                          <a:pt x="16" y="280"/>
                        </a:lnTo>
                        <a:lnTo>
                          <a:pt x="18" y="280"/>
                        </a:lnTo>
                        <a:lnTo>
                          <a:pt x="18" y="282"/>
                        </a:lnTo>
                        <a:lnTo>
                          <a:pt x="16" y="284"/>
                        </a:lnTo>
                        <a:lnTo>
                          <a:pt x="13" y="285"/>
                        </a:lnTo>
                        <a:lnTo>
                          <a:pt x="11" y="287"/>
                        </a:lnTo>
                        <a:lnTo>
                          <a:pt x="10" y="289"/>
                        </a:lnTo>
                        <a:lnTo>
                          <a:pt x="11" y="289"/>
                        </a:lnTo>
                        <a:lnTo>
                          <a:pt x="16" y="289"/>
                        </a:lnTo>
                        <a:lnTo>
                          <a:pt x="18" y="289"/>
                        </a:lnTo>
                        <a:lnTo>
                          <a:pt x="20" y="289"/>
                        </a:lnTo>
                        <a:lnTo>
                          <a:pt x="16" y="290"/>
                        </a:lnTo>
                        <a:lnTo>
                          <a:pt x="15" y="290"/>
                        </a:lnTo>
                        <a:lnTo>
                          <a:pt x="13" y="292"/>
                        </a:lnTo>
                        <a:lnTo>
                          <a:pt x="11" y="294"/>
                        </a:lnTo>
                        <a:lnTo>
                          <a:pt x="10" y="292"/>
                        </a:lnTo>
                        <a:lnTo>
                          <a:pt x="8" y="294"/>
                        </a:lnTo>
                        <a:lnTo>
                          <a:pt x="6" y="292"/>
                        </a:lnTo>
                        <a:lnTo>
                          <a:pt x="3" y="295"/>
                        </a:lnTo>
                        <a:lnTo>
                          <a:pt x="3" y="297"/>
                        </a:lnTo>
                        <a:lnTo>
                          <a:pt x="3" y="299"/>
                        </a:lnTo>
                        <a:lnTo>
                          <a:pt x="3" y="300"/>
                        </a:lnTo>
                        <a:lnTo>
                          <a:pt x="5" y="300"/>
                        </a:lnTo>
                        <a:lnTo>
                          <a:pt x="6" y="300"/>
                        </a:lnTo>
                        <a:lnTo>
                          <a:pt x="8" y="299"/>
                        </a:lnTo>
                        <a:lnTo>
                          <a:pt x="8" y="300"/>
                        </a:lnTo>
                        <a:lnTo>
                          <a:pt x="10" y="300"/>
                        </a:lnTo>
                        <a:lnTo>
                          <a:pt x="11" y="299"/>
                        </a:lnTo>
                        <a:lnTo>
                          <a:pt x="10" y="297"/>
                        </a:lnTo>
                        <a:lnTo>
                          <a:pt x="13" y="299"/>
                        </a:lnTo>
                        <a:lnTo>
                          <a:pt x="16" y="297"/>
                        </a:lnTo>
                        <a:lnTo>
                          <a:pt x="18" y="295"/>
                        </a:lnTo>
                        <a:lnTo>
                          <a:pt x="20" y="297"/>
                        </a:lnTo>
                        <a:lnTo>
                          <a:pt x="16" y="299"/>
                        </a:lnTo>
                        <a:lnTo>
                          <a:pt x="15" y="300"/>
                        </a:lnTo>
                        <a:lnTo>
                          <a:pt x="16" y="300"/>
                        </a:lnTo>
                        <a:lnTo>
                          <a:pt x="16" y="302"/>
                        </a:lnTo>
                        <a:lnTo>
                          <a:pt x="15" y="304"/>
                        </a:lnTo>
                        <a:lnTo>
                          <a:pt x="15" y="305"/>
                        </a:lnTo>
                        <a:lnTo>
                          <a:pt x="13" y="307"/>
                        </a:lnTo>
                        <a:lnTo>
                          <a:pt x="13" y="309"/>
                        </a:lnTo>
                        <a:lnTo>
                          <a:pt x="11" y="309"/>
                        </a:lnTo>
                        <a:lnTo>
                          <a:pt x="10" y="309"/>
                        </a:lnTo>
                        <a:lnTo>
                          <a:pt x="10" y="307"/>
                        </a:lnTo>
                        <a:lnTo>
                          <a:pt x="8" y="307"/>
                        </a:lnTo>
                        <a:lnTo>
                          <a:pt x="8" y="310"/>
                        </a:lnTo>
                        <a:lnTo>
                          <a:pt x="6" y="316"/>
                        </a:lnTo>
                        <a:lnTo>
                          <a:pt x="10" y="319"/>
                        </a:lnTo>
                        <a:lnTo>
                          <a:pt x="16" y="322"/>
                        </a:lnTo>
                        <a:lnTo>
                          <a:pt x="20" y="324"/>
                        </a:lnTo>
                        <a:lnTo>
                          <a:pt x="23" y="326"/>
                        </a:lnTo>
                        <a:lnTo>
                          <a:pt x="25" y="322"/>
                        </a:lnTo>
                        <a:lnTo>
                          <a:pt x="25" y="326"/>
                        </a:lnTo>
                        <a:lnTo>
                          <a:pt x="25" y="329"/>
                        </a:lnTo>
                        <a:lnTo>
                          <a:pt x="27" y="327"/>
                        </a:lnTo>
                        <a:lnTo>
                          <a:pt x="28" y="329"/>
                        </a:lnTo>
                        <a:lnTo>
                          <a:pt x="30" y="327"/>
                        </a:lnTo>
                        <a:lnTo>
                          <a:pt x="35" y="327"/>
                        </a:lnTo>
                        <a:lnTo>
                          <a:pt x="32" y="329"/>
                        </a:lnTo>
                        <a:lnTo>
                          <a:pt x="37" y="331"/>
                        </a:lnTo>
                        <a:lnTo>
                          <a:pt x="40" y="329"/>
                        </a:lnTo>
                        <a:lnTo>
                          <a:pt x="43" y="327"/>
                        </a:lnTo>
                        <a:lnTo>
                          <a:pt x="45" y="324"/>
                        </a:lnTo>
                        <a:lnTo>
                          <a:pt x="47" y="327"/>
                        </a:lnTo>
                        <a:lnTo>
                          <a:pt x="54" y="324"/>
                        </a:lnTo>
                        <a:lnTo>
                          <a:pt x="57" y="321"/>
                        </a:lnTo>
                        <a:lnTo>
                          <a:pt x="59" y="317"/>
                        </a:lnTo>
                        <a:lnTo>
                          <a:pt x="62" y="317"/>
                        </a:lnTo>
                        <a:lnTo>
                          <a:pt x="64" y="314"/>
                        </a:lnTo>
                        <a:lnTo>
                          <a:pt x="65" y="312"/>
                        </a:lnTo>
                        <a:lnTo>
                          <a:pt x="67" y="310"/>
                        </a:lnTo>
                        <a:lnTo>
                          <a:pt x="70" y="307"/>
                        </a:lnTo>
                        <a:lnTo>
                          <a:pt x="69" y="305"/>
                        </a:lnTo>
                        <a:lnTo>
                          <a:pt x="74" y="307"/>
                        </a:lnTo>
                        <a:lnTo>
                          <a:pt x="77" y="307"/>
                        </a:lnTo>
                        <a:lnTo>
                          <a:pt x="79" y="307"/>
                        </a:lnTo>
                        <a:lnTo>
                          <a:pt x="80" y="305"/>
                        </a:lnTo>
                        <a:lnTo>
                          <a:pt x="80" y="304"/>
                        </a:lnTo>
                        <a:lnTo>
                          <a:pt x="80" y="302"/>
                        </a:lnTo>
                        <a:lnTo>
                          <a:pt x="82" y="302"/>
                        </a:lnTo>
                        <a:lnTo>
                          <a:pt x="82" y="300"/>
                        </a:lnTo>
                        <a:lnTo>
                          <a:pt x="82" y="299"/>
                        </a:lnTo>
                        <a:lnTo>
                          <a:pt x="80" y="297"/>
                        </a:lnTo>
                        <a:lnTo>
                          <a:pt x="79" y="295"/>
                        </a:lnTo>
                        <a:lnTo>
                          <a:pt x="80" y="295"/>
                        </a:lnTo>
                        <a:lnTo>
                          <a:pt x="80" y="294"/>
                        </a:lnTo>
                        <a:lnTo>
                          <a:pt x="80" y="292"/>
                        </a:lnTo>
                        <a:lnTo>
                          <a:pt x="82" y="294"/>
                        </a:lnTo>
                        <a:lnTo>
                          <a:pt x="82" y="295"/>
                        </a:lnTo>
                        <a:lnTo>
                          <a:pt x="84" y="295"/>
                        </a:lnTo>
                        <a:lnTo>
                          <a:pt x="84" y="294"/>
                        </a:lnTo>
                        <a:lnTo>
                          <a:pt x="84" y="292"/>
                        </a:lnTo>
                        <a:lnTo>
                          <a:pt x="82" y="290"/>
                        </a:lnTo>
                        <a:lnTo>
                          <a:pt x="82" y="289"/>
                        </a:lnTo>
                        <a:lnTo>
                          <a:pt x="84" y="289"/>
                        </a:lnTo>
                        <a:lnTo>
                          <a:pt x="84" y="287"/>
                        </a:lnTo>
                        <a:lnTo>
                          <a:pt x="86" y="287"/>
                        </a:lnTo>
                        <a:lnTo>
                          <a:pt x="87" y="289"/>
                        </a:lnTo>
                        <a:lnTo>
                          <a:pt x="87" y="290"/>
                        </a:lnTo>
                        <a:lnTo>
                          <a:pt x="86" y="290"/>
                        </a:lnTo>
                        <a:lnTo>
                          <a:pt x="86" y="292"/>
                        </a:lnTo>
                        <a:lnTo>
                          <a:pt x="86" y="294"/>
                        </a:lnTo>
                        <a:lnTo>
                          <a:pt x="86" y="299"/>
                        </a:lnTo>
                        <a:lnTo>
                          <a:pt x="86" y="300"/>
                        </a:lnTo>
                        <a:lnTo>
                          <a:pt x="87" y="302"/>
                        </a:lnTo>
                        <a:lnTo>
                          <a:pt x="89" y="302"/>
                        </a:lnTo>
                        <a:lnTo>
                          <a:pt x="91" y="302"/>
                        </a:lnTo>
                        <a:lnTo>
                          <a:pt x="92" y="304"/>
                        </a:lnTo>
                        <a:lnTo>
                          <a:pt x="94" y="304"/>
                        </a:lnTo>
                        <a:lnTo>
                          <a:pt x="96" y="305"/>
                        </a:lnTo>
                        <a:lnTo>
                          <a:pt x="96" y="307"/>
                        </a:lnTo>
                        <a:close/>
                      </a:path>
                    </a:pathLst>
                  </a:custGeom>
                  <a:solidFill>
                    <a:srgbClr val="EB1562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92" name="Group 1791">
                  <a:extLst>
                    <a:ext uri="{FF2B5EF4-FFF2-40B4-BE49-F238E27FC236}">
                      <a16:creationId xmlns:a16="http://schemas.microsoft.com/office/drawing/2014/main" id="{E4FD9E14-C68E-EE4B-8122-C82F1AC80E5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83" y="60"/>
                  <a:ext cx="37" cy="21"/>
                  <a:chOff x="383" y="60"/>
                  <a:chExt cx="37" cy="21"/>
                </a:xfrm>
              </p:grpSpPr>
              <p:sp>
                <p:nvSpPr>
                  <p:cNvPr id="1853" name="Freeform 227">
                    <a:extLst>
                      <a:ext uri="{FF2B5EF4-FFF2-40B4-BE49-F238E27FC236}">
                        <a16:creationId xmlns:a16="http://schemas.microsoft.com/office/drawing/2014/main" id="{133B71E8-163E-A248-A914-F55D0D2230F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3" y="60"/>
                    <a:ext cx="37" cy="21"/>
                  </a:xfrm>
                  <a:custGeom>
                    <a:avLst/>
                    <a:gdLst>
                      <a:gd name="T0" fmla="*/ 22 w 37"/>
                      <a:gd name="T1" fmla="*/ 2 h 21"/>
                      <a:gd name="T2" fmla="*/ 20 w 37"/>
                      <a:gd name="T3" fmla="*/ 2 h 21"/>
                      <a:gd name="T4" fmla="*/ 20 w 37"/>
                      <a:gd name="T5" fmla="*/ 4 h 21"/>
                      <a:gd name="T6" fmla="*/ 20 w 37"/>
                      <a:gd name="T7" fmla="*/ 5 h 21"/>
                      <a:gd name="T8" fmla="*/ 20 w 37"/>
                      <a:gd name="T9" fmla="*/ 7 h 21"/>
                      <a:gd name="T10" fmla="*/ 18 w 37"/>
                      <a:gd name="T11" fmla="*/ 7 h 21"/>
                      <a:gd name="T12" fmla="*/ 18 w 37"/>
                      <a:gd name="T13" fmla="*/ 9 h 21"/>
                      <a:gd name="T14" fmla="*/ 18 w 37"/>
                      <a:gd name="T15" fmla="*/ 10 h 21"/>
                      <a:gd name="T16" fmla="*/ 17 w 37"/>
                      <a:gd name="T17" fmla="*/ 10 h 21"/>
                      <a:gd name="T18" fmla="*/ 15 w 37"/>
                      <a:gd name="T19" fmla="*/ 12 h 21"/>
                      <a:gd name="T20" fmla="*/ 13 w 37"/>
                      <a:gd name="T21" fmla="*/ 14 h 21"/>
                      <a:gd name="T22" fmla="*/ 12 w 37"/>
                      <a:gd name="T23" fmla="*/ 14 h 21"/>
                      <a:gd name="T24" fmla="*/ 10 w 37"/>
                      <a:gd name="T25" fmla="*/ 14 h 21"/>
                      <a:gd name="T26" fmla="*/ 8 w 37"/>
                      <a:gd name="T27" fmla="*/ 15 h 21"/>
                      <a:gd name="T28" fmla="*/ 5 w 37"/>
                      <a:gd name="T29" fmla="*/ 15 h 21"/>
                      <a:gd name="T30" fmla="*/ 3 w 37"/>
                      <a:gd name="T31" fmla="*/ 15 h 21"/>
                      <a:gd name="T32" fmla="*/ 2 w 37"/>
                      <a:gd name="T33" fmla="*/ 17 h 21"/>
                      <a:gd name="T34" fmla="*/ 2 w 37"/>
                      <a:gd name="T35" fmla="*/ 19 h 21"/>
                      <a:gd name="T36" fmla="*/ 0 w 37"/>
                      <a:gd name="T37" fmla="*/ 21 h 21"/>
                      <a:gd name="T38" fmla="*/ 2 w 37"/>
                      <a:gd name="T39" fmla="*/ 21 h 21"/>
                      <a:gd name="T40" fmla="*/ 3 w 37"/>
                      <a:gd name="T41" fmla="*/ 21 h 21"/>
                      <a:gd name="T42" fmla="*/ 7 w 37"/>
                      <a:gd name="T43" fmla="*/ 21 h 21"/>
                      <a:gd name="T44" fmla="*/ 8 w 37"/>
                      <a:gd name="T45" fmla="*/ 19 h 21"/>
                      <a:gd name="T46" fmla="*/ 10 w 37"/>
                      <a:gd name="T47" fmla="*/ 19 h 21"/>
                      <a:gd name="T48" fmla="*/ 10 w 37"/>
                      <a:gd name="T49" fmla="*/ 21 h 21"/>
                      <a:gd name="T50" fmla="*/ 12 w 37"/>
                      <a:gd name="T51" fmla="*/ 19 h 21"/>
                      <a:gd name="T52" fmla="*/ 15 w 37"/>
                      <a:gd name="T53" fmla="*/ 17 h 21"/>
                      <a:gd name="T54" fmla="*/ 18 w 37"/>
                      <a:gd name="T55" fmla="*/ 15 h 21"/>
                      <a:gd name="T56" fmla="*/ 20 w 37"/>
                      <a:gd name="T57" fmla="*/ 14 h 21"/>
                      <a:gd name="T58" fmla="*/ 20 w 37"/>
                      <a:gd name="T59" fmla="*/ 15 h 21"/>
                      <a:gd name="T60" fmla="*/ 22 w 37"/>
                      <a:gd name="T61" fmla="*/ 17 h 21"/>
                      <a:gd name="T62" fmla="*/ 23 w 37"/>
                      <a:gd name="T63" fmla="*/ 17 h 21"/>
                      <a:gd name="T64" fmla="*/ 23 w 37"/>
                      <a:gd name="T65" fmla="*/ 15 h 21"/>
                      <a:gd name="T66" fmla="*/ 23 w 37"/>
                      <a:gd name="T67" fmla="*/ 14 h 21"/>
                      <a:gd name="T68" fmla="*/ 25 w 37"/>
                      <a:gd name="T69" fmla="*/ 14 h 21"/>
                      <a:gd name="T70" fmla="*/ 27 w 37"/>
                      <a:gd name="T71" fmla="*/ 12 h 21"/>
                      <a:gd name="T72" fmla="*/ 27 w 37"/>
                      <a:gd name="T73" fmla="*/ 14 h 21"/>
                      <a:gd name="T74" fmla="*/ 29 w 37"/>
                      <a:gd name="T75" fmla="*/ 12 h 21"/>
                      <a:gd name="T76" fmla="*/ 30 w 37"/>
                      <a:gd name="T77" fmla="*/ 10 h 21"/>
                      <a:gd name="T78" fmla="*/ 34 w 37"/>
                      <a:gd name="T79" fmla="*/ 10 h 21"/>
                      <a:gd name="T80" fmla="*/ 35 w 37"/>
                      <a:gd name="T81" fmla="*/ 9 h 21"/>
                      <a:gd name="T82" fmla="*/ 37 w 37"/>
                      <a:gd name="T83" fmla="*/ 7 h 21"/>
                      <a:gd name="T84" fmla="*/ 35 w 37"/>
                      <a:gd name="T85" fmla="*/ 5 h 21"/>
                      <a:gd name="T86" fmla="*/ 34 w 37"/>
                      <a:gd name="T87" fmla="*/ 4 h 21"/>
                      <a:gd name="T88" fmla="*/ 30 w 37"/>
                      <a:gd name="T89" fmla="*/ 2 h 21"/>
                      <a:gd name="T90" fmla="*/ 30 w 37"/>
                      <a:gd name="T91" fmla="*/ 4 h 21"/>
                      <a:gd name="T92" fmla="*/ 30 w 37"/>
                      <a:gd name="T93" fmla="*/ 5 h 21"/>
                      <a:gd name="T94" fmla="*/ 29 w 37"/>
                      <a:gd name="T95" fmla="*/ 5 h 21"/>
                      <a:gd name="T96" fmla="*/ 27 w 37"/>
                      <a:gd name="T97" fmla="*/ 9 h 21"/>
                      <a:gd name="T98" fmla="*/ 25 w 37"/>
                      <a:gd name="T99" fmla="*/ 9 h 21"/>
                      <a:gd name="T100" fmla="*/ 23 w 37"/>
                      <a:gd name="T101" fmla="*/ 10 h 21"/>
                      <a:gd name="T102" fmla="*/ 25 w 37"/>
                      <a:gd name="T103" fmla="*/ 9 h 21"/>
                      <a:gd name="T104" fmla="*/ 27 w 37"/>
                      <a:gd name="T105" fmla="*/ 5 h 21"/>
                      <a:gd name="T106" fmla="*/ 25 w 37"/>
                      <a:gd name="T107" fmla="*/ 5 h 21"/>
                      <a:gd name="T108" fmla="*/ 25 w 37"/>
                      <a:gd name="T109" fmla="*/ 4 h 21"/>
                      <a:gd name="T110" fmla="*/ 25 w 37"/>
                      <a:gd name="T111" fmla="*/ 2 h 21"/>
                      <a:gd name="T112" fmla="*/ 23 w 37"/>
                      <a:gd name="T113" fmla="*/ 0 h 21"/>
                      <a:gd name="T114" fmla="*/ 22 w 37"/>
                      <a:gd name="T115" fmla="*/ 0 h 21"/>
                      <a:gd name="T116" fmla="*/ 22 w 37"/>
                      <a:gd name="T117" fmla="*/ 2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37" h="21">
                        <a:moveTo>
                          <a:pt x="22" y="2"/>
                        </a:moveTo>
                        <a:lnTo>
                          <a:pt x="20" y="2"/>
                        </a:lnTo>
                        <a:lnTo>
                          <a:pt x="20" y="4"/>
                        </a:lnTo>
                        <a:lnTo>
                          <a:pt x="20" y="5"/>
                        </a:lnTo>
                        <a:lnTo>
                          <a:pt x="20" y="7"/>
                        </a:lnTo>
                        <a:lnTo>
                          <a:pt x="18" y="7"/>
                        </a:lnTo>
                        <a:lnTo>
                          <a:pt x="18" y="9"/>
                        </a:lnTo>
                        <a:lnTo>
                          <a:pt x="18" y="10"/>
                        </a:lnTo>
                        <a:lnTo>
                          <a:pt x="17" y="10"/>
                        </a:lnTo>
                        <a:lnTo>
                          <a:pt x="15" y="12"/>
                        </a:lnTo>
                        <a:lnTo>
                          <a:pt x="13" y="14"/>
                        </a:lnTo>
                        <a:lnTo>
                          <a:pt x="12" y="14"/>
                        </a:lnTo>
                        <a:lnTo>
                          <a:pt x="10" y="14"/>
                        </a:lnTo>
                        <a:lnTo>
                          <a:pt x="8" y="15"/>
                        </a:lnTo>
                        <a:lnTo>
                          <a:pt x="5" y="15"/>
                        </a:lnTo>
                        <a:lnTo>
                          <a:pt x="3" y="15"/>
                        </a:lnTo>
                        <a:lnTo>
                          <a:pt x="2" y="17"/>
                        </a:lnTo>
                        <a:lnTo>
                          <a:pt x="2" y="19"/>
                        </a:lnTo>
                        <a:lnTo>
                          <a:pt x="0" y="21"/>
                        </a:lnTo>
                        <a:lnTo>
                          <a:pt x="2" y="21"/>
                        </a:lnTo>
                        <a:lnTo>
                          <a:pt x="3" y="21"/>
                        </a:lnTo>
                        <a:lnTo>
                          <a:pt x="7" y="21"/>
                        </a:lnTo>
                        <a:lnTo>
                          <a:pt x="8" y="19"/>
                        </a:lnTo>
                        <a:lnTo>
                          <a:pt x="10" y="19"/>
                        </a:lnTo>
                        <a:lnTo>
                          <a:pt x="10" y="21"/>
                        </a:lnTo>
                        <a:lnTo>
                          <a:pt x="12" y="19"/>
                        </a:lnTo>
                        <a:lnTo>
                          <a:pt x="15" y="17"/>
                        </a:lnTo>
                        <a:lnTo>
                          <a:pt x="18" y="15"/>
                        </a:lnTo>
                        <a:lnTo>
                          <a:pt x="20" y="14"/>
                        </a:lnTo>
                        <a:lnTo>
                          <a:pt x="20" y="15"/>
                        </a:lnTo>
                        <a:lnTo>
                          <a:pt x="22" y="17"/>
                        </a:lnTo>
                        <a:lnTo>
                          <a:pt x="23" y="17"/>
                        </a:lnTo>
                        <a:lnTo>
                          <a:pt x="23" y="15"/>
                        </a:lnTo>
                        <a:lnTo>
                          <a:pt x="23" y="14"/>
                        </a:lnTo>
                        <a:lnTo>
                          <a:pt x="25" y="14"/>
                        </a:lnTo>
                        <a:lnTo>
                          <a:pt x="27" y="12"/>
                        </a:lnTo>
                        <a:lnTo>
                          <a:pt x="27" y="14"/>
                        </a:lnTo>
                        <a:lnTo>
                          <a:pt x="29" y="12"/>
                        </a:lnTo>
                        <a:lnTo>
                          <a:pt x="30" y="10"/>
                        </a:lnTo>
                        <a:lnTo>
                          <a:pt x="34" y="10"/>
                        </a:lnTo>
                        <a:lnTo>
                          <a:pt x="35" y="9"/>
                        </a:lnTo>
                        <a:lnTo>
                          <a:pt x="37" y="7"/>
                        </a:lnTo>
                        <a:lnTo>
                          <a:pt x="35" y="5"/>
                        </a:lnTo>
                        <a:lnTo>
                          <a:pt x="34" y="4"/>
                        </a:lnTo>
                        <a:lnTo>
                          <a:pt x="30" y="2"/>
                        </a:lnTo>
                        <a:lnTo>
                          <a:pt x="30" y="4"/>
                        </a:lnTo>
                        <a:lnTo>
                          <a:pt x="30" y="5"/>
                        </a:lnTo>
                        <a:lnTo>
                          <a:pt x="29" y="5"/>
                        </a:lnTo>
                        <a:lnTo>
                          <a:pt x="27" y="9"/>
                        </a:lnTo>
                        <a:lnTo>
                          <a:pt x="25" y="9"/>
                        </a:lnTo>
                        <a:lnTo>
                          <a:pt x="23" y="10"/>
                        </a:lnTo>
                        <a:lnTo>
                          <a:pt x="25" y="9"/>
                        </a:lnTo>
                        <a:lnTo>
                          <a:pt x="27" y="5"/>
                        </a:lnTo>
                        <a:lnTo>
                          <a:pt x="25" y="5"/>
                        </a:lnTo>
                        <a:lnTo>
                          <a:pt x="25" y="4"/>
                        </a:lnTo>
                        <a:lnTo>
                          <a:pt x="25" y="2"/>
                        </a:lnTo>
                        <a:lnTo>
                          <a:pt x="23" y="0"/>
                        </a:lnTo>
                        <a:lnTo>
                          <a:pt x="22" y="0"/>
                        </a:lnTo>
                        <a:lnTo>
                          <a:pt x="22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54" name="Freeform 228">
                    <a:extLst>
                      <a:ext uri="{FF2B5EF4-FFF2-40B4-BE49-F238E27FC236}">
                        <a16:creationId xmlns:a16="http://schemas.microsoft.com/office/drawing/2014/main" id="{C3D5E4E5-309D-5C4E-9AF7-BF9FADC8A92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3" y="60"/>
                    <a:ext cx="37" cy="21"/>
                  </a:xfrm>
                  <a:custGeom>
                    <a:avLst/>
                    <a:gdLst>
                      <a:gd name="T0" fmla="*/ 22 w 37"/>
                      <a:gd name="T1" fmla="*/ 2 h 21"/>
                      <a:gd name="T2" fmla="*/ 20 w 37"/>
                      <a:gd name="T3" fmla="*/ 2 h 21"/>
                      <a:gd name="T4" fmla="*/ 20 w 37"/>
                      <a:gd name="T5" fmla="*/ 4 h 21"/>
                      <a:gd name="T6" fmla="*/ 20 w 37"/>
                      <a:gd name="T7" fmla="*/ 5 h 21"/>
                      <a:gd name="T8" fmla="*/ 20 w 37"/>
                      <a:gd name="T9" fmla="*/ 7 h 21"/>
                      <a:gd name="T10" fmla="*/ 18 w 37"/>
                      <a:gd name="T11" fmla="*/ 7 h 21"/>
                      <a:gd name="T12" fmla="*/ 18 w 37"/>
                      <a:gd name="T13" fmla="*/ 9 h 21"/>
                      <a:gd name="T14" fmla="*/ 18 w 37"/>
                      <a:gd name="T15" fmla="*/ 10 h 21"/>
                      <a:gd name="T16" fmla="*/ 17 w 37"/>
                      <a:gd name="T17" fmla="*/ 10 h 21"/>
                      <a:gd name="T18" fmla="*/ 15 w 37"/>
                      <a:gd name="T19" fmla="*/ 12 h 21"/>
                      <a:gd name="T20" fmla="*/ 13 w 37"/>
                      <a:gd name="T21" fmla="*/ 14 h 21"/>
                      <a:gd name="T22" fmla="*/ 12 w 37"/>
                      <a:gd name="T23" fmla="*/ 14 h 21"/>
                      <a:gd name="T24" fmla="*/ 10 w 37"/>
                      <a:gd name="T25" fmla="*/ 14 h 21"/>
                      <a:gd name="T26" fmla="*/ 8 w 37"/>
                      <a:gd name="T27" fmla="*/ 15 h 21"/>
                      <a:gd name="T28" fmla="*/ 5 w 37"/>
                      <a:gd name="T29" fmla="*/ 15 h 21"/>
                      <a:gd name="T30" fmla="*/ 3 w 37"/>
                      <a:gd name="T31" fmla="*/ 15 h 21"/>
                      <a:gd name="T32" fmla="*/ 2 w 37"/>
                      <a:gd name="T33" fmla="*/ 17 h 21"/>
                      <a:gd name="T34" fmla="*/ 2 w 37"/>
                      <a:gd name="T35" fmla="*/ 19 h 21"/>
                      <a:gd name="T36" fmla="*/ 0 w 37"/>
                      <a:gd name="T37" fmla="*/ 21 h 21"/>
                      <a:gd name="T38" fmla="*/ 2 w 37"/>
                      <a:gd name="T39" fmla="*/ 21 h 21"/>
                      <a:gd name="T40" fmla="*/ 3 w 37"/>
                      <a:gd name="T41" fmla="*/ 21 h 21"/>
                      <a:gd name="T42" fmla="*/ 7 w 37"/>
                      <a:gd name="T43" fmla="*/ 21 h 21"/>
                      <a:gd name="T44" fmla="*/ 8 w 37"/>
                      <a:gd name="T45" fmla="*/ 19 h 21"/>
                      <a:gd name="T46" fmla="*/ 10 w 37"/>
                      <a:gd name="T47" fmla="*/ 19 h 21"/>
                      <a:gd name="T48" fmla="*/ 10 w 37"/>
                      <a:gd name="T49" fmla="*/ 21 h 21"/>
                      <a:gd name="T50" fmla="*/ 12 w 37"/>
                      <a:gd name="T51" fmla="*/ 19 h 21"/>
                      <a:gd name="T52" fmla="*/ 15 w 37"/>
                      <a:gd name="T53" fmla="*/ 17 h 21"/>
                      <a:gd name="T54" fmla="*/ 18 w 37"/>
                      <a:gd name="T55" fmla="*/ 15 h 21"/>
                      <a:gd name="T56" fmla="*/ 20 w 37"/>
                      <a:gd name="T57" fmla="*/ 14 h 21"/>
                      <a:gd name="T58" fmla="*/ 20 w 37"/>
                      <a:gd name="T59" fmla="*/ 15 h 21"/>
                      <a:gd name="T60" fmla="*/ 22 w 37"/>
                      <a:gd name="T61" fmla="*/ 17 h 21"/>
                      <a:gd name="T62" fmla="*/ 23 w 37"/>
                      <a:gd name="T63" fmla="*/ 17 h 21"/>
                      <a:gd name="T64" fmla="*/ 23 w 37"/>
                      <a:gd name="T65" fmla="*/ 15 h 21"/>
                      <a:gd name="T66" fmla="*/ 23 w 37"/>
                      <a:gd name="T67" fmla="*/ 14 h 21"/>
                      <a:gd name="T68" fmla="*/ 25 w 37"/>
                      <a:gd name="T69" fmla="*/ 14 h 21"/>
                      <a:gd name="T70" fmla="*/ 27 w 37"/>
                      <a:gd name="T71" fmla="*/ 12 h 21"/>
                      <a:gd name="T72" fmla="*/ 27 w 37"/>
                      <a:gd name="T73" fmla="*/ 14 h 21"/>
                      <a:gd name="T74" fmla="*/ 29 w 37"/>
                      <a:gd name="T75" fmla="*/ 12 h 21"/>
                      <a:gd name="T76" fmla="*/ 30 w 37"/>
                      <a:gd name="T77" fmla="*/ 10 h 21"/>
                      <a:gd name="T78" fmla="*/ 34 w 37"/>
                      <a:gd name="T79" fmla="*/ 10 h 21"/>
                      <a:gd name="T80" fmla="*/ 35 w 37"/>
                      <a:gd name="T81" fmla="*/ 9 h 21"/>
                      <a:gd name="T82" fmla="*/ 37 w 37"/>
                      <a:gd name="T83" fmla="*/ 7 h 21"/>
                      <a:gd name="T84" fmla="*/ 35 w 37"/>
                      <a:gd name="T85" fmla="*/ 5 h 21"/>
                      <a:gd name="T86" fmla="*/ 34 w 37"/>
                      <a:gd name="T87" fmla="*/ 4 h 21"/>
                      <a:gd name="T88" fmla="*/ 30 w 37"/>
                      <a:gd name="T89" fmla="*/ 2 h 21"/>
                      <a:gd name="T90" fmla="*/ 30 w 37"/>
                      <a:gd name="T91" fmla="*/ 4 h 21"/>
                      <a:gd name="T92" fmla="*/ 30 w 37"/>
                      <a:gd name="T93" fmla="*/ 5 h 21"/>
                      <a:gd name="T94" fmla="*/ 29 w 37"/>
                      <a:gd name="T95" fmla="*/ 5 h 21"/>
                      <a:gd name="T96" fmla="*/ 27 w 37"/>
                      <a:gd name="T97" fmla="*/ 9 h 21"/>
                      <a:gd name="T98" fmla="*/ 25 w 37"/>
                      <a:gd name="T99" fmla="*/ 9 h 21"/>
                      <a:gd name="T100" fmla="*/ 23 w 37"/>
                      <a:gd name="T101" fmla="*/ 10 h 21"/>
                      <a:gd name="T102" fmla="*/ 25 w 37"/>
                      <a:gd name="T103" fmla="*/ 9 h 21"/>
                      <a:gd name="T104" fmla="*/ 27 w 37"/>
                      <a:gd name="T105" fmla="*/ 5 h 21"/>
                      <a:gd name="T106" fmla="*/ 25 w 37"/>
                      <a:gd name="T107" fmla="*/ 5 h 21"/>
                      <a:gd name="T108" fmla="*/ 25 w 37"/>
                      <a:gd name="T109" fmla="*/ 4 h 21"/>
                      <a:gd name="T110" fmla="*/ 25 w 37"/>
                      <a:gd name="T111" fmla="*/ 2 h 21"/>
                      <a:gd name="T112" fmla="*/ 23 w 37"/>
                      <a:gd name="T113" fmla="*/ 0 h 21"/>
                      <a:gd name="T114" fmla="*/ 22 w 37"/>
                      <a:gd name="T115" fmla="*/ 0 h 21"/>
                      <a:gd name="T116" fmla="*/ 22 w 37"/>
                      <a:gd name="T117" fmla="*/ 2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37" h="21">
                        <a:moveTo>
                          <a:pt x="22" y="2"/>
                        </a:moveTo>
                        <a:lnTo>
                          <a:pt x="20" y="2"/>
                        </a:lnTo>
                        <a:lnTo>
                          <a:pt x="20" y="4"/>
                        </a:lnTo>
                        <a:lnTo>
                          <a:pt x="20" y="5"/>
                        </a:lnTo>
                        <a:lnTo>
                          <a:pt x="20" y="7"/>
                        </a:lnTo>
                        <a:lnTo>
                          <a:pt x="18" y="7"/>
                        </a:lnTo>
                        <a:lnTo>
                          <a:pt x="18" y="9"/>
                        </a:lnTo>
                        <a:lnTo>
                          <a:pt x="18" y="10"/>
                        </a:lnTo>
                        <a:lnTo>
                          <a:pt x="17" y="10"/>
                        </a:lnTo>
                        <a:lnTo>
                          <a:pt x="15" y="12"/>
                        </a:lnTo>
                        <a:lnTo>
                          <a:pt x="13" y="14"/>
                        </a:lnTo>
                        <a:lnTo>
                          <a:pt x="12" y="14"/>
                        </a:lnTo>
                        <a:lnTo>
                          <a:pt x="10" y="14"/>
                        </a:lnTo>
                        <a:lnTo>
                          <a:pt x="8" y="15"/>
                        </a:lnTo>
                        <a:lnTo>
                          <a:pt x="5" y="15"/>
                        </a:lnTo>
                        <a:lnTo>
                          <a:pt x="3" y="15"/>
                        </a:lnTo>
                        <a:lnTo>
                          <a:pt x="2" y="17"/>
                        </a:lnTo>
                        <a:lnTo>
                          <a:pt x="2" y="19"/>
                        </a:lnTo>
                        <a:lnTo>
                          <a:pt x="0" y="21"/>
                        </a:lnTo>
                        <a:lnTo>
                          <a:pt x="2" y="21"/>
                        </a:lnTo>
                        <a:lnTo>
                          <a:pt x="3" y="21"/>
                        </a:lnTo>
                        <a:lnTo>
                          <a:pt x="7" y="21"/>
                        </a:lnTo>
                        <a:lnTo>
                          <a:pt x="8" y="19"/>
                        </a:lnTo>
                        <a:lnTo>
                          <a:pt x="10" y="19"/>
                        </a:lnTo>
                        <a:lnTo>
                          <a:pt x="10" y="21"/>
                        </a:lnTo>
                        <a:lnTo>
                          <a:pt x="12" y="19"/>
                        </a:lnTo>
                        <a:lnTo>
                          <a:pt x="15" y="17"/>
                        </a:lnTo>
                        <a:lnTo>
                          <a:pt x="18" y="15"/>
                        </a:lnTo>
                        <a:lnTo>
                          <a:pt x="20" y="14"/>
                        </a:lnTo>
                        <a:lnTo>
                          <a:pt x="20" y="15"/>
                        </a:lnTo>
                        <a:lnTo>
                          <a:pt x="22" y="17"/>
                        </a:lnTo>
                        <a:lnTo>
                          <a:pt x="23" y="17"/>
                        </a:lnTo>
                        <a:lnTo>
                          <a:pt x="23" y="15"/>
                        </a:lnTo>
                        <a:lnTo>
                          <a:pt x="23" y="14"/>
                        </a:lnTo>
                        <a:lnTo>
                          <a:pt x="25" y="14"/>
                        </a:lnTo>
                        <a:lnTo>
                          <a:pt x="27" y="12"/>
                        </a:lnTo>
                        <a:lnTo>
                          <a:pt x="27" y="14"/>
                        </a:lnTo>
                        <a:lnTo>
                          <a:pt x="29" y="12"/>
                        </a:lnTo>
                        <a:lnTo>
                          <a:pt x="30" y="10"/>
                        </a:lnTo>
                        <a:lnTo>
                          <a:pt x="34" y="10"/>
                        </a:lnTo>
                        <a:lnTo>
                          <a:pt x="35" y="9"/>
                        </a:lnTo>
                        <a:lnTo>
                          <a:pt x="37" y="7"/>
                        </a:lnTo>
                        <a:lnTo>
                          <a:pt x="35" y="5"/>
                        </a:lnTo>
                        <a:lnTo>
                          <a:pt x="34" y="4"/>
                        </a:lnTo>
                        <a:lnTo>
                          <a:pt x="30" y="2"/>
                        </a:lnTo>
                        <a:lnTo>
                          <a:pt x="30" y="4"/>
                        </a:lnTo>
                        <a:lnTo>
                          <a:pt x="30" y="5"/>
                        </a:lnTo>
                        <a:lnTo>
                          <a:pt x="29" y="5"/>
                        </a:lnTo>
                        <a:lnTo>
                          <a:pt x="27" y="9"/>
                        </a:lnTo>
                        <a:lnTo>
                          <a:pt x="25" y="9"/>
                        </a:lnTo>
                        <a:lnTo>
                          <a:pt x="23" y="10"/>
                        </a:lnTo>
                        <a:lnTo>
                          <a:pt x="25" y="9"/>
                        </a:lnTo>
                        <a:lnTo>
                          <a:pt x="27" y="5"/>
                        </a:lnTo>
                        <a:lnTo>
                          <a:pt x="25" y="5"/>
                        </a:lnTo>
                        <a:lnTo>
                          <a:pt x="25" y="4"/>
                        </a:lnTo>
                        <a:lnTo>
                          <a:pt x="25" y="2"/>
                        </a:lnTo>
                        <a:lnTo>
                          <a:pt x="23" y="0"/>
                        </a:lnTo>
                        <a:lnTo>
                          <a:pt x="22" y="0"/>
                        </a:lnTo>
                        <a:lnTo>
                          <a:pt x="22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93" name="Group 1792">
                  <a:extLst>
                    <a:ext uri="{FF2B5EF4-FFF2-40B4-BE49-F238E27FC236}">
                      <a16:creationId xmlns:a16="http://schemas.microsoft.com/office/drawing/2014/main" id="{205AD371-BE41-E34C-8EC5-C9A2D2986FC1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86" y="60"/>
                  <a:ext cx="14" cy="10"/>
                  <a:chOff x="386" y="60"/>
                  <a:chExt cx="14" cy="10"/>
                </a:xfrm>
              </p:grpSpPr>
              <p:sp>
                <p:nvSpPr>
                  <p:cNvPr id="1851" name="Freeform 225">
                    <a:extLst>
                      <a:ext uri="{FF2B5EF4-FFF2-40B4-BE49-F238E27FC236}">
                        <a16:creationId xmlns:a16="http://schemas.microsoft.com/office/drawing/2014/main" id="{D9A3990E-3AB3-B546-9B35-7E41AE782EE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" y="60"/>
                    <a:ext cx="14" cy="10"/>
                  </a:xfrm>
                  <a:custGeom>
                    <a:avLst/>
                    <a:gdLst>
                      <a:gd name="T0" fmla="*/ 0 w 14"/>
                      <a:gd name="T1" fmla="*/ 9 h 10"/>
                      <a:gd name="T2" fmla="*/ 0 w 14"/>
                      <a:gd name="T3" fmla="*/ 10 h 10"/>
                      <a:gd name="T4" fmla="*/ 4 w 14"/>
                      <a:gd name="T5" fmla="*/ 9 h 10"/>
                      <a:gd name="T6" fmla="*/ 5 w 14"/>
                      <a:gd name="T7" fmla="*/ 9 h 10"/>
                      <a:gd name="T8" fmla="*/ 7 w 14"/>
                      <a:gd name="T9" fmla="*/ 7 h 10"/>
                      <a:gd name="T10" fmla="*/ 9 w 14"/>
                      <a:gd name="T11" fmla="*/ 9 h 10"/>
                      <a:gd name="T12" fmla="*/ 10 w 14"/>
                      <a:gd name="T13" fmla="*/ 7 h 10"/>
                      <a:gd name="T14" fmla="*/ 9 w 14"/>
                      <a:gd name="T15" fmla="*/ 7 h 10"/>
                      <a:gd name="T16" fmla="*/ 7 w 14"/>
                      <a:gd name="T17" fmla="*/ 9 h 10"/>
                      <a:gd name="T18" fmla="*/ 7 w 14"/>
                      <a:gd name="T19" fmla="*/ 10 h 10"/>
                      <a:gd name="T20" fmla="*/ 10 w 14"/>
                      <a:gd name="T21" fmla="*/ 10 h 10"/>
                      <a:gd name="T22" fmla="*/ 12 w 14"/>
                      <a:gd name="T23" fmla="*/ 9 h 10"/>
                      <a:gd name="T24" fmla="*/ 14 w 14"/>
                      <a:gd name="T25" fmla="*/ 9 h 10"/>
                      <a:gd name="T26" fmla="*/ 14 w 14"/>
                      <a:gd name="T27" fmla="*/ 7 h 10"/>
                      <a:gd name="T28" fmla="*/ 14 w 14"/>
                      <a:gd name="T29" fmla="*/ 5 h 10"/>
                      <a:gd name="T30" fmla="*/ 14 w 14"/>
                      <a:gd name="T31" fmla="*/ 4 h 10"/>
                      <a:gd name="T32" fmla="*/ 12 w 14"/>
                      <a:gd name="T33" fmla="*/ 2 h 10"/>
                      <a:gd name="T34" fmla="*/ 10 w 14"/>
                      <a:gd name="T35" fmla="*/ 0 h 10"/>
                      <a:gd name="T36" fmla="*/ 10 w 14"/>
                      <a:gd name="T37" fmla="*/ 2 h 10"/>
                      <a:gd name="T38" fmla="*/ 10 w 14"/>
                      <a:gd name="T39" fmla="*/ 4 h 10"/>
                      <a:gd name="T40" fmla="*/ 7 w 14"/>
                      <a:gd name="T41" fmla="*/ 4 h 10"/>
                      <a:gd name="T42" fmla="*/ 7 w 14"/>
                      <a:gd name="T43" fmla="*/ 2 h 10"/>
                      <a:gd name="T44" fmla="*/ 5 w 14"/>
                      <a:gd name="T45" fmla="*/ 4 h 10"/>
                      <a:gd name="T46" fmla="*/ 5 w 14"/>
                      <a:gd name="T47" fmla="*/ 5 h 10"/>
                      <a:gd name="T48" fmla="*/ 4 w 14"/>
                      <a:gd name="T49" fmla="*/ 5 h 10"/>
                      <a:gd name="T50" fmla="*/ 2 w 14"/>
                      <a:gd name="T51" fmla="*/ 5 h 10"/>
                      <a:gd name="T52" fmla="*/ 0 w 14"/>
                      <a:gd name="T53" fmla="*/ 7 h 10"/>
                      <a:gd name="T54" fmla="*/ 2 w 14"/>
                      <a:gd name="T55" fmla="*/ 7 h 10"/>
                      <a:gd name="T56" fmla="*/ 0 w 14"/>
                      <a:gd name="T57" fmla="*/ 7 h 10"/>
                      <a:gd name="T58" fmla="*/ 0 w 14"/>
                      <a:gd name="T59" fmla="*/ 9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</a:cxnLst>
                    <a:rect l="0" t="0" r="r" b="b"/>
                    <a:pathLst>
                      <a:path w="14" h="10">
                        <a:moveTo>
                          <a:pt x="0" y="9"/>
                        </a:moveTo>
                        <a:lnTo>
                          <a:pt x="0" y="10"/>
                        </a:lnTo>
                        <a:lnTo>
                          <a:pt x="4" y="9"/>
                        </a:lnTo>
                        <a:lnTo>
                          <a:pt x="5" y="9"/>
                        </a:lnTo>
                        <a:lnTo>
                          <a:pt x="7" y="7"/>
                        </a:lnTo>
                        <a:lnTo>
                          <a:pt x="9" y="9"/>
                        </a:lnTo>
                        <a:lnTo>
                          <a:pt x="10" y="7"/>
                        </a:lnTo>
                        <a:lnTo>
                          <a:pt x="9" y="7"/>
                        </a:lnTo>
                        <a:lnTo>
                          <a:pt x="7" y="9"/>
                        </a:lnTo>
                        <a:lnTo>
                          <a:pt x="7" y="10"/>
                        </a:lnTo>
                        <a:lnTo>
                          <a:pt x="10" y="10"/>
                        </a:lnTo>
                        <a:lnTo>
                          <a:pt x="12" y="9"/>
                        </a:lnTo>
                        <a:lnTo>
                          <a:pt x="14" y="9"/>
                        </a:lnTo>
                        <a:lnTo>
                          <a:pt x="14" y="7"/>
                        </a:lnTo>
                        <a:lnTo>
                          <a:pt x="14" y="5"/>
                        </a:lnTo>
                        <a:lnTo>
                          <a:pt x="14" y="4"/>
                        </a:lnTo>
                        <a:lnTo>
                          <a:pt x="12" y="2"/>
                        </a:lnTo>
                        <a:lnTo>
                          <a:pt x="10" y="0"/>
                        </a:lnTo>
                        <a:lnTo>
                          <a:pt x="10" y="2"/>
                        </a:lnTo>
                        <a:lnTo>
                          <a:pt x="10" y="4"/>
                        </a:lnTo>
                        <a:lnTo>
                          <a:pt x="7" y="4"/>
                        </a:lnTo>
                        <a:lnTo>
                          <a:pt x="7" y="2"/>
                        </a:lnTo>
                        <a:lnTo>
                          <a:pt x="5" y="4"/>
                        </a:lnTo>
                        <a:lnTo>
                          <a:pt x="5" y="5"/>
                        </a:lnTo>
                        <a:lnTo>
                          <a:pt x="4" y="5"/>
                        </a:lnTo>
                        <a:lnTo>
                          <a:pt x="2" y="5"/>
                        </a:lnTo>
                        <a:lnTo>
                          <a:pt x="0" y="7"/>
                        </a:lnTo>
                        <a:lnTo>
                          <a:pt x="2" y="7"/>
                        </a:lnTo>
                        <a:lnTo>
                          <a:pt x="0" y="7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52" name="Freeform 226">
                    <a:extLst>
                      <a:ext uri="{FF2B5EF4-FFF2-40B4-BE49-F238E27FC236}">
                        <a16:creationId xmlns:a16="http://schemas.microsoft.com/office/drawing/2014/main" id="{2636AC23-B8C5-5849-9500-97E1FCD2C96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" y="60"/>
                    <a:ext cx="14" cy="10"/>
                  </a:xfrm>
                  <a:custGeom>
                    <a:avLst/>
                    <a:gdLst>
                      <a:gd name="T0" fmla="*/ 0 w 14"/>
                      <a:gd name="T1" fmla="*/ 9 h 10"/>
                      <a:gd name="T2" fmla="*/ 0 w 14"/>
                      <a:gd name="T3" fmla="*/ 10 h 10"/>
                      <a:gd name="T4" fmla="*/ 4 w 14"/>
                      <a:gd name="T5" fmla="*/ 9 h 10"/>
                      <a:gd name="T6" fmla="*/ 5 w 14"/>
                      <a:gd name="T7" fmla="*/ 9 h 10"/>
                      <a:gd name="T8" fmla="*/ 7 w 14"/>
                      <a:gd name="T9" fmla="*/ 7 h 10"/>
                      <a:gd name="T10" fmla="*/ 9 w 14"/>
                      <a:gd name="T11" fmla="*/ 9 h 10"/>
                      <a:gd name="T12" fmla="*/ 10 w 14"/>
                      <a:gd name="T13" fmla="*/ 7 h 10"/>
                      <a:gd name="T14" fmla="*/ 9 w 14"/>
                      <a:gd name="T15" fmla="*/ 7 h 10"/>
                      <a:gd name="T16" fmla="*/ 7 w 14"/>
                      <a:gd name="T17" fmla="*/ 9 h 10"/>
                      <a:gd name="T18" fmla="*/ 7 w 14"/>
                      <a:gd name="T19" fmla="*/ 10 h 10"/>
                      <a:gd name="T20" fmla="*/ 10 w 14"/>
                      <a:gd name="T21" fmla="*/ 10 h 10"/>
                      <a:gd name="T22" fmla="*/ 12 w 14"/>
                      <a:gd name="T23" fmla="*/ 9 h 10"/>
                      <a:gd name="T24" fmla="*/ 14 w 14"/>
                      <a:gd name="T25" fmla="*/ 9 h 10"/>
                      <a:gd name="T26" fmla="*/ 14 w 14"/>
                      <a:gd name="T27" fmla="*/ 7 h 10"/>
                      <a:gd name="T28" fmla="*/ 14 w 14"/>
                      <a:gd name="T29" fmla="*/ 5 h 10"/>
                      <a:gd name="T30" fmla="*/ 14 w 14"/>
                      <a:gd name="T31" fmla="*/ 4 h 10"/>
                      <a:gd name="T32" fmla="*/ 12 w 14"/>
                      <a:gd name="T33" fmla="*/ 2 h 10"/>
                      <a:gd name="T34" fmla="*/ 10 w 14"/>
                      <a:gd name="T35" fmla="*/ 0 h 10"/>
                      <a:gd name="T36" fmla="*/ 10 w 14"/>
                      <a:gd name="T37" fmla="*/ 2 h 10"/>
                      <a:gd name="T38" fmla="*/ 10 w 14"/>
                      <a:gd name="T39" fmla="*/ 4 h 10"/>
                      <a:gd name="T40" fmla="*/ 7 w 14"/>
                      <a:gd name="T41" fmla="*/ 4 h 10"/>
                      <a:gd name="T42" fmla="*/ 7 w 14"/>
                      <a:gd name="T43" fmla="*/ 2 h 10"/>
                      <a:gd name="T44" fmla="*/ 5 w 14"/>
                      <a:gd name="T45" fmla="*/ 4 h 10"/>
                      <a:gd name="T46" fmla="*/ 5 w 14"/>
                      <a:gd name="T47" fmla="*/ 5 h 10"/>
                      <a:gd name="T48" fmla="*/ 4 w 14"/>
                      <a:gd name="T49" fmla="*/ 5 h 10"/>
                      <a:gd name="T50" fmla="*/ 2 w 14"/>
                      <a:gd name="T51" fmla="*/ 5 h 10"/>
                      <a:gd name="T52" fmla="*/ 0 w 14"/>
                      <a:gd name="T53" fmla="*/ 7 h 10"/>
                      <a:gd name="T54" fmla="*/ 2 w 14"/>
                      <a:gd name="T55" fmla="*/ 7 h 10"/>
                      <a:gd name="T56" fmla="*/ 0 w 14"/>
                      <a:gd name="T57" fmla="*/ 7 h 10"/>
                      <a:gd name="T58" fmla="*/ 0 w 14"/>
                      <a:gd name="T59" fmla="*/ 9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</a:cxnLst>
                    <a:rect l="0" t="0" r="r" b="b"/>
                    <a:pathLst>
                      <a:path w="14" h="10">
                        <a:moveTo>
                          <a:pt x="0" y="9"/>
                        </a:moveTo>
                        <a:lnTo>
                          <a:pt x="0" y="10"/>
                        </a:lnTo>
                        <a:lnTo>
                          <a:pt x="4" y="9"/>
                        </a:lnTo>
                        <a:lnTo>
                          <a:pt x="5" y="9"/>
                        </a:lnTo>
                        <a:lnTo>
                          <a:pt x="7" y="7"/>
                        </a:lnTo>
                        <a:lnTo>
                          <a:pt x="9" y="9"/>
                        </a:lnTo>
                        <a:lnTo>
                          <a:pt x="10" y="7"/>
                        </a:lnTo>
                        <a:lnTo>
                          <a:pt x="9" y="7"/>
                        </a:lnTo>
                        <a:lnTo>
                          <a:pt x="7" y="9"/>
                        </a:lnTo>
                        <a:lnTo>
                          <a:pt x="7" y="10"/>
                        </a:lnTo>
                        <a:lnTo>
                          <a:pt x="10" y="10"/>
                        </a:lnTo>
                        <a:lnTo>
                          <a:pt x="12" y="9"/>
                        </a:lnTo>
                        <a:lnTo>
                          <a:pt x="14" y="9"/>
                        </a:lnTo>
                        <a:lnTo>
                          <a:pt x="14" y="7"/>
                        </a:lnTo>
                        <a:lnTo>
                          <a:pt x="14" y="5"/>
                        </a:lnTo>
                        <a:lnTo>
                          <a:pt x="14" y="4"/>
                        </a:lnTo>
                        <a:lnTo>
                          <a:pt x="12" y="2"/>
                        </a:lnTo>
                        <a:lnTo>
                          <a:pt x="10" y="0"/>
                        </a:lnTo>
                        <a:lnTo>
                          <a:pt x="10" y="2"/>
                        </a:lnTo>
                        <a:lnTo>
                          <a:pt x="10" y="4"/>
                        </a:lnTo>
                        <a:lnTo>
                          <a:pt x="7" y="4"/>
                        </a:lnTo>
                        <a:lnTo>
                          <a:pt x="7" y="2"/>
                        </a:lnTo>
                        <a:lnTo>
                          <a:pt x="5" y="4"/>
                        </a:lnTo>
                        <a:lnTo>
                          <a:pt x="5" y="5"/>
                        </a:lnTo>
                        <a:lnTo>
                          <a:pt x="4" y="5"/>
                        </a:lnTo>
                        <a:lnTo>
                          <a:pt x="2" y="5"/>
                        </a:lnTo>
                        <a:lnTo>
                          <a:pt x="0" y="7"/>
                        </a:lnTo>
                        <a:lnTo>
                          <a:pt x="2" y="7"/>
                        </a:lnTo>
                        <a:lnTo>
                          <a:pt x="0" y="7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94" name="Group 1793">
                  <a:extLst>
                    <a:ext uri="{FF2B5EF4-FFF2-40B4-BE49-F238E27FC236}">
                      <a16:creationId xmlns:a16="http://schemas.microsoft.com/office/drawing/2014/main" id="{57CC7BE1-8CB1-AF41-9F4E-4F0E4269AB5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03" y="50"/>
                  <a:ext cx="10" cy="10"/>
                  <a:chOff x="403" y="50"/>
                  <a:chExt cx="10" cy="10"/>
                </a:xfrm>
              </p:grpSpPr>
              <p:sp>
                <p:nvSpPr>
                  <p:cNvPr id="1849" name="Freeform 223">
                    <a:extLst>
                      <a:ext uri="{FF2B5EF4-FFF2-40B4-BE49-F238E27FC236}">
                        <a16:creationId xmlns:a16="http://schemas.microsoft.com/office/drawing/2014/main" id="{267D8589-541E-4B4C-BBDB-0A01B764693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3" y="50"/>
                    <a:ext cx="10" cy="10"/>
                  </a:xfrm>
                  <a:custGeom>
                    <a:avLst/>
                    <a:gdLst>
                      <a:gd name="T0" fmla="*/ 3 w 10"/>
                      <a:gd name="T1" fmla="*/ 5 h 10"/>
                      <a:gd name="T2" fmla="*/ 2 w 10"/>
                      <a:gd name="T3" fmla="*/ 5 h 10"/>
                      <a:gd name="T4" fmla="*/ 0 w 10"/>
                      <a:gd name="T5" fmla="*/ 5 h 10"/>
                      <a:gd name="T6" fmla="*/ 0 w 10"/>
                      <a:gd name="T7" fmla="*/ 9 h 10"/>
                      <a:gd name="T8" fmla="*/ 2 w 10"/>
                      <a:gd name="T9" fmla="*/ 10 h 10"/>
                      <a:gd name="T10" fmla="*/ 5 w 10"/>
                      <a:gd name="T11" fmla="*/ 9 h 10"/>
                      <a:gd name="T12" fmla="*/ 7 w 10"/>
                      <a:gd name="T13" fmla="*/ 9 h 10"/>
                      <a:gd name="T14" fmla="*/ 7 w 10"/>
                      <a:gd name="T15" fmla="*/ 7 h 10"/>
                      <a:gd name="T16" fmla="*/ 9 w 10"/>
                      <a:gd name="T17" fmla="*/ 5 h 10"/>
                      <a:gd name="T18" fmla="*/ 10 w 10"/>
                      <a:gd name="T19" fmla="*/ 4 h 10"/>
                      <a:gd name="T20" fmla="*/ 10 w 10"/>
                      <a:gd name="T21" fmla="*/ 2 h 10"/>
                      <a:gd name="T22" fmla="*/ 9 w 10"/>
                      <a:gd name="T23" fmla="*/ 2 h 10"/>
                      <a:gd name="T24" fmla="*/ 9 w 10"/>
                      <a:gd name="T25" fmla="*/ 0 h 10"/>
                      <a:gd name="T26" fmla="*/ 7 w 10"/>
                      <a:gd name="T27" fmla="*/ 0 h 10"/>
                      <a:gd name="T28" fmla="*/ 5 w 10"/>
                      <a:gd name="T29" fmla="*/ 2 h 10"/>
                      <a:gd name="T30" fmla="*/ 5 w 10"/>
                      <a:gd name="T31" fmla="*/ 4 h 10"/>
                      <a:gd name="T32" fmla="*/ 3 w 10"/>
                      <a:gd name="T33" fmla="*/ 4 h 10"/>
                      <a:gd name="T34" fmla="*/ 3 w 10"/>
                      <a:gd name="T35" fmla="*/ 5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0" h="10">
                        <a:moveTo>
                          <a:pt x="3" y="5"/>
                        </a:moveTo>
                        <a:lnTo>
                          <a:pt x="2" y="5"/>
                        </a:lnTo>
                        <a:lnTo>
                          <a:pt x="0" y="5"/>
                        </a:lnTo>
                        <a:lnTo>
                          <a:pt x="0" y="9"/>
                        </a:lnTo>
                        <a:lnTo>
                          <a:pt x="2" y="10"/>
                        </a:lnTo>
                        <a:lnTo>
                          <a:pt x="5" y="9"/>
                        </a:lnTo>
                        <a:lnTo>
                          <a:pt x="7" y="9"/>
                        </a:lnTo>
                        <a:lnTo>
                          <a:pt x="7" y="7"/>
                        </a:lnTo>
                        <a:lnTo>
                          <a:pt x="9" y="5"/>
                        </a:lnTo>
                        <a:lnTo>
                          <a:pt x="10" y="4"/>
                        </a:lnTo>
                        <a:lnTo>
                          <a:pt x="10" y="2"/>
                        </a:lnTo>
                        <a:lnTo>
                          <a:pt x="9" y="2"/>
                        </a:lnTo>
                        <a:lnTo>
                          <a:pt x="9" y="0"/>
                        </a:lnTo>
                        <a:lnTo>
                          <a:pt x="7" y="0"/>
                        </a:lnTo>
                        <a:lnTo>
                          <a:pt x="5" y="2"/>
                        </a:lnTo>
                        <a:lnTo>
                          <a:pt x="5" y="4"/>
                        </a:lnTo>
                        <a:lnTo>
                          <a:pt x="3" y="4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50" name="Freeform 224">
                    <a:extLst>
                      <a:ext uri="{FF2B5EF4-FFF2-40B4-BE49-F238E27FC236}">
                        <a16:creationId xmlns:a16="http://schemas.microsoft.com/office/drawing/2014/main" id="{783F1C77-4438-A546-877A-5D4DE8E7169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3" y="50"/>
                    <a:ext cx="10" cy="10"/>
                  </a:xfrm>
                  <a:custGeom>
                    <a:avLst/>
                    <a:gdLst>
                      <a:gd name="T0" fmla="*/ 3 w 10"/>
                      <a:gd name="T1" fmla="*/ 5 h 10"/>
                      <a:gd name="T2" fmla="*/ 2 w 10"/>
                      <a:gd name="T3" fmla="*/ 5 h 10"/>
                      <a:gd name="T4" fmla="*/ 0 w 10"/>
                      <a:gd name="T5" fmla="*/ 5 h 10"/>
                      <a:gd name="T6" fmla="*/ 0 w 10"/>
                      <a:gd name="T7" fmla="*/ 9 h 10"/>
                      <a:gd name="T8" fmla="*/ 2 w 10"/>
                      <a:gd name="T9" fmla="*/ 10 h 10"/>
                      <a:gd name="T10" fmla="*/ 5 w 10"/>
                      <a:gd name="T11" fmla="*/ 9 h 10"/>
                      <a:gd name="T12" fmla="*/ 7 w 10"/>
                      <a:gd name="T13" fmla="*/ 9 h 10"/>
                      <a:gd name="T14" fmla="*/ 7 w 10"/>
                      <a:gd name="T15" fmla="*/ 7 h 10"/>
                      <a:gd name="T16" fmla="*/ 9 w 10"/>
                      <a:gd name="T17" fmla="*/ 5 h 10"/>
                      <a:gd name="T18" fmla="*/ 10 w 10"/>
                      <a:gd name="T19" fmla="*/ 4 h 10"/>
                      <a:gd name="T20" fmla="*/ 10 w 10"/>
                      <a:gd name="T21" fmla="*/ 2 h 10"/>
                      <a:gd name="T22" fmla="*/ 9 w 10"/>
                      <a:gd name="T23" fmla="*/ 2 h 10"/>
                      <a:gd name="T24" fmla="*/ 9 w 10"/>
                      <a:gd name="T25" fmla="*/ 0 h 10"/>
                      <a:gd name="T26" fmla="*/ 7 w 10"/>
                      <a:gd name="T27" fmla="*/ 0 h 10"/>
                      <a:gd name="T28" fmla="*/ 5 w 10"/>
                      <a:gd name="T29" fmla="*/ 2 h 10"/>
                      <a:gd name="T30" fmla="*/ 5 w 10"/>
                      <a:gd name="T31" fmla="*/ 4 h 10"/>
                      <a:gd name="T32" fmla="*/ 3 w 10"/>
                      <a:gd name="T33" fmla="*/ 4 h 10"/>
                      <a:gd name="T34" fmla="*/ 3 w 10"/>
                      <a:gd name="T35" fmla="*/ 5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0" h="10">
                        <a:moveTo>
                          <a:pt x="3" y="5"/>
                        </a:moveTo>
                        <a:lnTo>
                          <a:pt x="2" y="5"/>
                        </a:lnTo>
                        <a:lnTo>
                          <a:pt x="0" y="5"/>
                        </a:lnTo>
                        <a:lnTo>
                          <a:pt x="0" y="9"/>
                        </a:lnTo>
                        <a:lnTo>
                          <a:pt x="2" y="10"/>
                        </a:lnTo>
                        <a:lnTo>
                          <a:pt x="5" y="9"/>
                        </a:lnTo>
                        <a:lnTo>
                          <a:pt x="7" y="9"/>
                        </a:lnTo>
                        <a:lnTo>
                          <a:pt x="7" y="7"/>
                        </a:lnTo>
                        <a:lnTo>
                          <a:pt x="9" y="5"/>
                        </a:lnTo>
                        <a:lnTo>
                          <a:pt x="10" y="4"/>
                        </a:lnTo>
                        <a:lnTo>
                          <a:pt x="10" y="2"/>
                        </a:lnTo>
                        <a:lnTo>
                          <a:pt x="9" y="2"/>
                        </a:lnTo>
                        <a:lnTo>
                          <a:pt x="9" y="0"/>
                        </a:lnTo>
                        <a:lnTo>
                          <a:pt x="7" y="0"/>
                        </a:lnTo>
                        <a:lnTo>
                          <a:pt x="5" y="2"/>
                        </a:lnTo>
                        <a:lnTo>
                          <a:pt x="5" y="4"/>
                        </a:lnTo>
                        <a:lnTo>
                          <a:pt x="3" y="4"/>
                        </a:lnTo>
                        <a:lnTo>
                          <a:pt x="3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95" name="Group 1794">
                  <a:extLst>
                    <a:ext uri="{FF2B5EF4-FFF2-40B4-BE49-F238E27FC236}">
                      <a16:creationId xmlns:a16="http://schemas.microsoft.com/office/drawing/2014/main" id="{80883D23-51DD-B145-89B5-5BCE7CDC5061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91" y="89"/>
                  <a:ext cx="9" cy="5"/>
                  <a:chOff x="391" y="89"/>
                  <a:chExt cx="9" cy="5"/>
                </a:xfrm>
              </p:grpSpPr>
              <p:sp>
                <p:nvSpPr>
                  <p:cNvPr id="1847" name="Freeform 221">
                    <a:extLst>
                      <a:ext uri="{FF2B5EF4-FFF2-40B4-BE49-F238E27FC236}">
                        <a16:creationId xmlns:a16="http://schemas.microsoft.com/office/drawing/2014/main" id="{1280AFE5-4CDE-234D-8B26-CC368A75015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1" y="89"/>
                    <a:ext cx="9" cy="5"/>
                  </a:xfrm>
                  <a:custGeom>
                    <a:avLst/>
                    <a:gdLst>
                      <a:gd name="T0" fmla="*/ 4 w 9"/>
                      <a:gd name="T1" fmla="*/ 3 h 5"/>
                      <a:gd name="T2" fmla="*/ 2 w 9"/>
                      <a:gd name="T3" fmla="*/ 3 h 5"/>
                      <a:gd name="T4" fmla="*/ 0 w 9"/>
                      <a:gd name="T5" fmla="*/ 5 h 5"/>
                      <a:gd name="T6" fmla="*/ 2 w 9"/>
                      <a:gd name="T7" fmla="*/ 5 h 5"/>
                      <a:gd name="T8" fmla="*/ 5 w 9"/>
                      <a:gd name="T9" fmla="*/ 5 h 5"/>
                      <a:gd name="T10" fmla="*/ 7 w 9"/>
                      <a:gd name="T11" fmla="*/ 3 h 5"/>
                      <a:gd name="T12" fmla="*/ 9 w 9"/>
                      <a:gd name="T13" fmla="*/ 2 h 5"/>
                      <a:gd name="T14" fmla="*/ 9 w 9"/>
                      <a:gd name="T15" fmla="*/ 0 h 5"/>
                      <a:gd name="T16" fmla="*/ 7 w 9"/>
                      <a:gd name="T17" fmla="*/ 0 h 5"/>
                      <a:gd name="T18" fmla="*/ 5 w 9"/>
                      <a:gd name="T19" fmla="*/ 2 h 5"/>
                      <a:gd name="T20" fmla="*/ 4 w 9"/>
                      <a:gd name="T21" fmla="*/ 2 h 5"/>
                      <a:gd name="T22" fmla="*/ 2 w 9"/>
                      <a:gd name="T23" fmla="*/ 0 h 5"/>
                      <a:gd name="T24" fmla="*/ 2 w 9"/>
                      <a:gd name="T25" fmla="*/ 2 h 5"/>
                      <a:gd name="T26" fmla="*/ 4 w 9"/>
                      <a:gd name="T27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9" h="5">
                        <a:moveTo>
                          <a:pt x="4" y="3"/>
                        </a:moveTo>
                        <a:lnTo>
                          <a:pt x="2" y="3"/>
                        </a:lnTo>
                        <a:lnTo>
                          <a:pt x="0" y="5"/>
                        </a:lnTo>
                        <a:lnTo>
                          <a:pt x="2" y="5"/>
                        </a:lnTo>
                        <a:lnTo>
                          <a:pt x="5" y="5"/>
                        </a:lnTo>
                        <a:lnTo>
                          <a:pt x="7" y="3"/>
                        </a:lnTo>
                        <a:lnTo>
                          <a:pt x="9" y="2"/>
                        </a:lnTo>
                        <a:lnTo>
                          <a:pt x="9" y="0"/>
                        </a:lnTo>
                        <a:lnTo>
                          <a:pt x="7" y="0"/>
                        </a:lnTo>
                        <a:lnTo>
                          <a:pt x="5" y="2"/>
                        </a:lnTo>
                        <a:lnTo>
                          <a:pt x="4" y="2"/>
                        </a:lnTo>
                        <a:lnTo>
                          <a:pt x="2" y="0"/>
                        </a:lnTo>
                        <a:lnTo>
                          <a:pt x="2" y="2"/>
                        </a:lnTo>
                        <a:lnTo>
                          <a:pt x="4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48" name="Freeform 222">
                    <a:extLst>
                      <a:ext uri="{FF2B5EF4-FFF2-40B4-BE49-F238E27FC236}">
                        <a16:creationId xmlns:a16="http://schemas.microsoft.com/office/drawing/2014/main" id="{3579F999-6507-B84F-BAF1-11E800CE8E9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1" y="89"/>
                    <a:ext cx="9" cy="5"/>
                  </a:xfrm>
                  <a:custGeom>
                    <a:avLst/>
                    <a:gdLst>
                      <a:gd name="T0" fmla="*/ 4 w 9"/>
                      <a:gd name="T1" fmla="*/ 3 h 5"/>
                      <a:gd name="T2" fmla="*/ 2 w 9"/>
                      <a:gd name="T3" fmla="*/ 3 h 5"/>
                      <a:gd name="T4" fmla="*/ 0 w 9"/>
                      <a:gd name="T5" fmla="*/ 5 h 5"/>
                      <a:gd name="T6" fmla="*/ 2 w 9"/>
                      <a:gd name="T7" fmla="*/ 5 h 5"/>
                      <a:gd name="T8" fmla="*/ 5 w 9"/>
                      <a:gd name="T9" fmla="*/ 5 h 5"/>
                      <a:gd name="T10" fmla="*/ 7 w 9"/>
                      <a:gd name="T11" fmla="*/ 3 h 5"/>
                      <a:gd name="T12" fmla="*/ 9 w 9"/>
                      <a:gd name="T13" fmla="*/ 2 h 5"/>
                      <a:gd name="T14" fmla="*/ 9 w 9"/>
                      <a:gd name="T15" fmla="*/ 0 h 5"/>
                      <a:gd name="T16" fmla="*/ 7 w 9"/>
                      <a:gd name="T17" fmla="*/ 0 h 5"/>
                      <a:gd name="T18" fmla="*/ 5 w 9"/>
                      <a:gd name="T19" fmla="*/ 2 h 5"/>
                      <a:gd name="T20" fmla="*/ 4 w 9"/>
                      <a:gd name="T21" fmla="*/ 2 h 5"/>
                      <a:gd name="T22" fmla="*/ 2 w 9"/>
                      <a:gd name="T23" fmla="*/ 0 h 5"/>
                      <a:gd name="T24" fmla="*/ 2 w 9"/>
                      <a:gd name="T25" fmla="*/ 2 h 5"/>
                      <a:gd name="T26" fmla="*/ 4 w 9"/>
                      <a:gd name="T27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9" h="5">
                        <a:moveTo>
                          <a:pt x="4" y="3"/>
                        </a:moveTo>
                        <a:lnTo>
                          <a:pt x="2" y="3"/>
                        </a:lnTo>
                        <a:lnTo>
                          <a:pt x="0" y="5"/>
                        </a:lnTo>
                        <a:lnTo>
                          <a:pt x="2" y="5"/>
                        </a:lnTo>
                        <a:lnTo>
                          <a:pt x="5" y="5"/>
                        </a:lnTo>
                        <a:lnTo>
                          <a:pt x="7" y="3"/>
                        </a:lnTo>
                        <a:lnTo>
                          <a:pt x="9" y="2"/>
                        </a:lnTo>
                        <a:lnTo>
                          <a:pt x="9" y="0"/>
                        </a:lnTo>
                        <a:lnTo>
                          <a:pt x="7" y="0"/>
                        </a:lnTo>
                        <a:lnTo>
                          <a:pt x="5" y="2"/>
                        </a:lnTo>
                        <a:lnTo>
                          <a:pt x="4" y="2"/>
                        </a:lnTo>
                        <a:lnTo>
                          <a:pt x="2" y="0"/>
                        </a:lnTo>
                        <a:lnTo>
                          <a:pt x="2" y="2"/>
                        </a:lnTo>
                        <a:lnTo>
                          <a:pt x="4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96" name="Group 1795">
                  <a:extLst>
                    <a:ext uri="{FF2B5EF4-FFF2-40B4-BE49-F238E27FC236}">
                      <a16:creationId xmlns:a16="http://schemas.microsoft.com/office/drawing/2014/main" id="{7A22494F-E664-794F-A63D-D5376F70B481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23" y="43"/>
                  <a:ext cx="19" cy="16"/>
                  <a:chOff x="423" y="43"/>
                  <a:chExt cx="19" cy="16"/>
                </a:xfrm>
              </p:grpSpPr>
              <p:sp>
                <p:nvSpPr>
                  <p:cNvPr id="1845" name="Freeform 219">
                    <a:extLst>
                      <a:ext uri="{FF2B5EF4-FFF2-40B4-BE49-F238E27FC236}">
                        <a16:creationId xmlns:a16="http://schemas.microsoft.com/office/drawing/2014/main" id="{C31D4DC3-EDEC-DF45-B384-1DF027EC8C0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23" y="43"/>
                    <a:ext cx="19" cy="16"/>
                  </a:xfrm>
                  <a:custGeom>
                    <a:avLst/>
                    <a:gdLst>
                      <a:gd name="T0" fmla="*/ 4 w 19"/>
                      <a:gd name="T1" fmla="*/ 11 h 16"/>
                      <a:gd name="T2" fmla="*/ 4 w 19"/>
                      <a:gd name="T3" fmla="*/ 12 h 16"/>
                      <a:gd name="T4" fmla="*/ 2 w 19"/>
                      <a:gd name="T5" fmla="*/ 12 h 16"/>
                      <a:gd name="T6" fmla="*/ 0 w 19"/>
                      <a:gd name="T7" fmla="*/ 14 h 16"/>
                      <a:gd name="T8" fmla="*/ 2 w 19"/>
                      <a:gd name="T9" fmla="*/ 16 h 16"/>
                      <a:gd name="T10" fmla="*/ 4 w 19"/>
                      <a:gd name="T11" fmla="*/ 14 h 16"/>
                      <a:gd name="T12" fmla="*/ 5 w 19"/>
                      <a:gd name="T13" fmla="*/ 14 h 16"/>
                      <a:gd name="T14" fmla="*/ 9 w 19"/>
                      <a:gd name="T15" fmla="*/ 14 h 16"/>
                      <a:gd name="T16" fmla="*/ 10 w 19"/>
                      <a:gd name="T17" fmla="*/ 11 h 16"/>
                      <a:gd name="T18" fmla="*/ 12 w 19"/>
                      <a:gd name="T19" fmla="*/ 11 h 16"/>
                      <a:gd name="T20" fmla="*/ 12 w 19"/>
                      <a:gd name="T21" fmla="*/ 12 h 16"/>
                      <a:gd name="T22" fmla="*/ 14 w 19"/>
                      <a:gd name="T23" fmla="*/ 12 h 16"/>
                      <a:gd name="T24" fmla="*/ 17 w 19"/>
                      <a:gd name="T25" fmla="*/ 12 h 16"/>
                      <a:gd name="T26" fmla="*/ 17 w 19"/>
                      <a:gd name="T27" fmla="*/ 9 h 16"/>
                      <a:gd name="T28" fmla="*/ 17 w 19"/>
                      <a:gd name="T29" fmla="*/ 7 h 16"/>
                      <a:gd name="T30" fmla="*/ 19 w 19"/>
                      <a:gd name="T31" fmla="*/ 5 h 16"/>
                      <a:gd name="T32" fmla="*/ 17 w 19"/>
                      <a:gd name="T33" fmla="*/ 4 h 16"/>
                      <a:gd name="T34" fmla="*/ 16 w 19"/>
                      <a:gd name="T35" fmla="*/ 2 h 16"/>
                      <a:gd name="T36" fmla="*/ 14 w 19"/>
                      <a:gd name="T37" fmla="*/ 0 h 16"/>
                      <a:gd name="T38" fmla="*/ 12 w 19"/>
                      <a:gd name="T39" fmla="*/ 0 h 16"/>
                      <a:gd name="T40" fmla="*/ 12 w 19"/>
                      <a:gd name="T41" fmla="*/ 2 h 16"/>
                      <a:gd name="T42" fmla="*/ 10 w 19"/>
                      <a:gd name="T43" fmla="*/ 0 h 16"/>
                      <a:gd name="T44" fmla="*/ 12 w 19"/>
                      <a:gd name="T45" fmla="*/ 2 h 16"/>
                      <a:gd name="T46" fmla="*/ 10 w 19"/>
                      <a:gd name="T47" fmla="*/ 4 h 16"/>
                      <a:gd name="T48" fmla="*/ 9 w 19"/>
                      <a:gd name="T49" fmla="*/ 2 h 16"/>
                      <a:gd name="T50" fmla="*/ 7 w 19"/>
                      <a:gd name="T51" fmla="*/ 4 h 16"/>
                      <a:gd name="T52" fmla="*/ 9 w 19"/>
                      <a:gd name="T53" fmla="*/ 4 h 16"/>
                      <a:gd name="T54" fmla="*/ 7 w 19"/>
                      <a:gd name="T55" fmla="*/ 5 h 16"/>
                      <a:gd name="T56" fmla="*/ 4 w 19"/>
                      <a:gd name="T57" fmla="*/ 5 h 16"/>
                      <a:gd name="T58" fmla="*/ 2 w 19"/>
                      <a:gd name="T59" fmla="*/ 7 h 16"/>
                      <a:gd name="T60" fmla="*/ 4 w 19"/>
                      <a:gd name="T61" fmla="*/ 7 h 16"/>
                      <a:gd name="T62" fmla="*/ 2 w 19"/>
                      <a:gd name="T63" fmla="*/ 7 h 16"/>
                      <a:gd name="T64" fmla="*/ 4 w 19"/>
                      <a:gd name="T65" fmla="*/ 9 h 16"/>
                      <a:gd name="T66" fmla="*/ 2 w 19"/>
                      <a:gd name="T67" fmla="*/ 11 h 16"/>
                      <a:gd name="T68" fmla="*/ 0 w 19"/>
                      <a:gd name="T69" fmla="*/ 9 h 16"/>
                      <a:gd name="T70" fmla="*/ 2 w 19"/>
                      <a:gd name="T71" fmla="*/ 11 h 16"/>
                      <a:gd name="T72" fmla="*/ 4 w 19"/>
                      <a:gd name="T73" fmla="*/ 11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19" h="16">
                        <a:moveTo>
                          <a:pt x="4" y="11"/>
                        </a:moveTo>
                        <a:lnTo>
                          <a:pt x="4" y="12"/>
                        </a:lnTo>
                        <a:lnTo>
                          <a:pt x="2" y="12"/>
                        </a:lnTo>
                        <a:lnTo>
                          <a:pt x="0" y="14"/>
                        </a:lnTo>
                        <a:lnTo>
                          <a:pt x="2" y="16"/>
                        </a:lnTo>
                        <a:lnTo>
                          <a:pt x="4" y="14"/>
                        </a:lnTo>
                        <a:lnTo>
                          <a:pt x="5" y="14"/>
                        </a:lnTo>
                        <a:lnTo>
                          <a:pt x="9" y="14"/>
                        </a:lnTo>
                        <a:lnTo>
                          <a:pt x="10" y="11"/>
                        </a:lnTo>
                        <a:lnTo>
                          <a:pt x="12" y="11"/>
                        </a:lnTo>
                        <a:lnTo>
                          <a:pt x="12" y="12"/>
                        </a:lnTo>
                        <a:lnTo>
                          <a:pt x="14" y="12"/>
                        </a:lnTo>
                        <a:lnTo>
                          <a:pt x="17" y="12"/>
                        </a:lnTo>
                        <a:lnTo>
                          <a:pt x="17" y="9"/>
                        </a:lnTo>
                        <a:lnTo>
                          <a:pt x="17" y="7"/>
                        </a:lnTo>
                        <a:lnTo>
                          <a:pt x="19" y="5"/>
                        </a:lnTo>
                        <a:lnTo>
                          <a:pt x="17" y="4"/>
                        </a:lnTo>
                        <a:lnTo>
                          <a:pt x="16" y="2"/>
                        </a:lnTo>
                        <a:lnTo>
                          <a:pt x="14" y="0"/>
                        </a:lnTo>
                        <a:lnTo>
                          <a:pt x="12" y="0"/>
                        </a:lnTo>
                        <a:lnTo>
                          <a:pt x="12" y="2"/>
                        </a:lnTo>
                        <a:lnTo>
                          <a:pt x="10" y="0"/>
                        </a:lnTo>
                        <a:lnTo>
                          <a:pt x="12" y="2"/>
                        </a:lnTo>
                        <a:lnTo>
                          <a:pt x="10" y="4"/>
                        </a:lnTo>
                        <a:lnTo>
                          <a:pt x="9" y="2"/>
                        </a:lnTo>
                        <a:lnTo>
                          <a:pt x="7" y="4"/>
                        </a:lnTo>
                        <a:lnTo>
                          <a:pt x="9" y="4"/>
                        </a:lnTo>
                        <a:lnTo>
                          <a:pt x="7" y="5"/>
                        </a:lnTo>
                        <a:lnTo>
                          <a:pt x="4" y="5"/>
                        </a:lnTo>
                        <a:lnTo>
                          <a:pt x="2" y="7"/>
                        </a:lnTo>
                        <a:lnTo>
                          <a:pt x="4" y="7"/>
                        </a:lnTo>
                        <a:lnTo>
                          <a:pt x="2" y="7"/>
                        </a:lnTo>
                        <a:lnTo>
                          <a:pt x="4" y="9"/>
                        </a:lnTo>
                        <a:lnTo>
                          <a:pt x="2" y="11"/>
                        </a:lnTo>
                        <a:lnTo>
                          <a:pt x="0" y="9"/>
                        </a:lnTo>
                        <a:lnTo>
                          <a:pt x="2" y="11"/>
                        </a:lnTo>
                        <a:lnTo>
                          <a:pt x="4" y="1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46" name="Freeform 220">
                    <a:extLst>
                      <a:ext uri="{FF2B5EF4-FFF2-40B4-BE49-F238E27FC236}">
                        <a16:creationId xmlns:a16="http://schemas.microsoft.com/office/drawing/2014/main" id="{6004F44F-7D5B-EC4A-B3FB-F08928275BA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23" y="43"/>
                    <a:ext cx="19" cy="16"/>
                  </a:xfrm>
                  <a:custGeom>
                    <a:avLst/>
                    <a:gdLst>
                      <a:gd name="T0" fmla="*/ 4 w 19"/>
                      <a:gd name="T1" fmla="*/ 11 h 16"/>
                      <a:gd name="T2" fmla="*/ 4 w 19"/>
                      <a:gd name="T3" fmla="*/ 12 h 16"/>
                      <a:gd name="T4" fmla="*/ 2 w 19"/>
                      <a:gd name="T5" fmla="*/ 12 h 16"/>
                      <a:gd name="T6" fmla="*/ 0 w 19"/>
                      <a:gd name="T7" fmla="*/ 14 h 16"/>
                      <a:gd name="T8" fmla="*/ 2 w 19"/>
                      <a:gd name="T9" fmla="*/ 16 h 16"/>
                      <a:gd name="T10" fmla="*/ 4 w 19"/>
                      <a:gd name="T11" fmla="*/ 14 h 16"/>
                      <a:gd name="T12" fmla="*/ 5 w 19"/>
                      <a:gd name="T13" fmla="*/ 14 h 16"/>
                      <a:gd name="T14" fmla="*/ 9 w 19"/>
                      <a:gd name="T15" fmla="*/ 14 h 16"/>
                      <a:gd name="T16" fmla="*/ 10 w 19"/>
                      <a:gd name="T17" fmla="*/ 11 h 16"/>
                      <a:gd name="T18" fmla="*/ 12 w 19"/>
                      <a:gd name="T19" fmla="*/ 11 h 16"/>
                      <a:gd name="T20" fmla="*/ 12 w 19"/>
                      <a:gd name="T21" fmla="*/ 12 h 16"/>
                      <a:gd name="T22" fmla="*/ 14 w 19"/>
                      <a:gd name="T23" fmla="*/ 12 h 16"/>
                      <a:gd name="T24" fmla="*/ 17 w 19"/>
                      <a:gd name="T25" fmla="*/ 12 h 16"/>
                      <a:gd name="T26" fmla="*/ 17 w 19"/>
                      <a:gd name="T27" fmla="*/ 9 h 16"/>
                      <a:gd name="T28" fmla="*/ 17 w 19"/>
                      <a:gd name="T29" fmla="*/ 7 h 16"/>
                      <a:gd name="T30" fmla="*/ 19 w 19"/>
                      <a:gd name="T31" fmla="*/ 5 h 16"/>
                      <a:gd name="T32" fmla="*/ 17 w 19"/>
                      <a:gd name="T33" fmla="*/ 4 h 16"/>
                      <a:gd name="T34" fmla="*/ 16 w 19"/>
                      <a:gd name="T35" fmla="*/ 2 h 16"/>
                      <a:gd name="T36" fmla="*/ 14 w 19"/>
                      <a:gd name="T37" fmla="*/ 0 h 16"/>
                      <a:gd name="T38" fmla="*/ 12 w 19"/>
                      <a:gd name="T39" fmla="*/ 0 h 16"/>
                      <a:gd name="T40" fmla="*/ 12 w 19"/>
                      <a:gd name="T41" fmla="*/ 2 h 16"/>
                      <a:gd name="T42" fmla="*/ 10 w 19"/>
                      <a:gd name="T43" fmla="*/ 0 h 16"/>
                      <a:gd name="T44" fmla="*/ 12 w 19"/>
                      <a:gd name="T45" fmla="*/ 2 h 16"/>
                      <a:gd name="T46" fmla="*/ 10 w 19"/>
                      <a:gd name="T47" fmla="*/ 4 h 16"/>
                      <a:gd name="T48" fmla="*/ 9 w 19"/>
                      <a:gd name="T49" fmla="*/ 2 h 16"/>
                      <a:gd name="T50" fmla="*/ 7 w 19"/>
                      <a:gd name="T51" fmla="*/ 4 h 16"/>
                      <a:gd name="T52" fmla="*/ 9 w 19"/>
                      <a:gd name="T53" fmla="*/ 4 h 16"/>
                      <a:gd name="T54" fmla="*/ 7 w 19"/>
                      <a:gd name="T55" fmla="*/ 5 h 16"/>
                      <a:gd name="T56" fmla="*/ 4 w 19"/>
                      <a:gd name="T57" fmla="*/ 5 h 16"/>
                      <a:gd name="T58" fmla="*/ 2 w 19"/>
                      <a:gd name="T59" fmla="*/ 7 h 16"/>
                      <a:gd name="T60" fmla="*/ 4 w 19"/>
                      <a:gd name="T61" fmla="*/ 7 h 16"/>
                      <a:gd name="T62" fmla="*/ 2 w 19"/>
                      <a:gd name="T63" fmla="*/ 7 h 16"/>
                      <a:gd name="T64" fmla="*/ 4 w 19"/>
                      <a:gd name="T65" fmla="*/ 9 h 16"/>
                      <a:gd name="T66" fmla="*/ 2 w 19"/>
                      <a:gd name="T67" fmla="*/ 11 h 16"/>
                      <a:gd name="T68" fmla="*/ 0 w 19"/>
                      <a:gd name="T69" fmla="*/ 9 h 16"/>
                      <a:gd name="T70" fmla="*/ 2 w 19"/>
                      <a:gd name="T71" fmla="*/ 11 h 16"/>
                      <a:gd name="T72" fmla="*/ 4 w 19"/>
                      <a:gd name="T73" fmla="*/ 11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19" h="16">
                        <a:moveTo>
                          <a:pt x="4" y="11"/>
                        </a:moveTo>
                        <a:lnTo>
                          <a:pt x="4" y="12"/>
                        </a:lnTo>
                        <a:lnTo>
                          <a:pt x="2" y="12"/>
                        </a:lnTo>
                        <a:lnTo>
                          <a:pt x="0" y="14"/>
                        </a:lnTo>
                        <a:lnTo>
                          <a:pt x="2" y="16"/>
                        </a:lnTo>
                        <a:lnTo>
                          <a:pt x="4" y="14"/>
                        </a:lnTo>
                        <a:lnTo>
                          <a:pt x="5" y="14"/>
                        </a:lnTo>
                        <a:lnTo>
                          <a:pt x="9" y="14"/>
                        </a:lnTo>
                        <a:lnTo>
                          <a:pt x="10" y="11"/>
                        </a:lnTo>
                        <a:lnTo>
                          <a:pt x="12" y="11"/>
                        </a:lnTo>
                        <a:lnTo>
                          <a:pt x="12" y="12"/>
                        </a:lnTo>
                        <a:lnTo>
                          <a:pt x="14" y="12"/>
                        </a:lnTo>
                        <a:lnTo>
                          <a:pt x="17" y="12"/>
                        </a:lnTo>
                        <a:lnTo>
                          <a:pt x="17" y="9"/>
                        </a:lnTo>
                        <a:lnTo>
                          <a:pt x="17" y="7"/>
                        </a:lnTo>
                        <a:lnTo>
                          <a:pt x="19" y="5"/>
                        </a:lnTo>
                        <a:lnTo>
                          <a:pt x="17" y="4"/>
                        </a:lnTo>
                        <a:lnTo>
                          <a:pt x="16" y="2"/>
                        </a:lnTo>
                        <a:lnTo>
                          <a:pt x="14" y="0"/>
                        </a:lnTo>
                        <a:lnTo>
                          <a:pt x="12" y="0"/>
                        </a:lnTo>
                        <a:lnTo>
                          <a:pt x="12" y="2"/>
                        </a:lnTo>
                        <a:lnTo>
                          <a:pt x="10" y="0"/>
                        </a:lnTo>
                        <a:lnTo>
                          <a:pt x="12" y="2"/>
                        </a:lnTo>
                        <a:lnTo>
                          <a:pt x="10" y="4"/>
                        </a:lnTo>
                        <a:lnTo>
                          <a:pt x="9" y="2"/>
                        </a:lnTo>
                        <a:lnTo>
                          <a:pt x="7" y="4"/>
                        </a:lnTo>
                        <a:lnTo>
                          <a:pt x="9" y="4"/>
                        </a:lnTo>
                        <a:lnTo>
                          <a:pt x="7" y="5"/>
                        </a:lnTo>
                        <a:lnTo>
                          <a:pt x="4" y="5"/>
                        </a:lnTo>
                        <a:lnTo>
                          <a:pt x="2" y="7"/>
                        </a:lnTo>
                        <a:lnTo>
                          <a:pt x="4" y="7"/>
                        </a:lnTo>
                        <a:lnTo>
                          <a:pt x="2" y="7"/>
                        </a:lnTo>
                        <a:lnTo>
                          <a:pt x="4" y="9"/>
                        </a:lnTo>
                        <a:lnTo>
                          <a:pt x="2" y="11"/>
                        </a:lnTo>
                        <a:lnTo>
                          <a:pt x="0" y="9"/>
                        </a:lnTo>
                        <a:lnTo>
                          <a:pt x="2" y="11"/>
                        </a:lnTo>
                        <a:lnTo>
                          <a:pt x="4" y="1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97" name="Group 1796">
                  <a:extLst>
                    <a:ext uri="{FF2B5EF4-FFF2-40B4-BE49-F238E27FC236}">
                      <a16:creationId xmlns:a16="http://schemas.microsoft.com/office/drawing/2014/main" id="{A3E89202-D3F0-F744-BB90-171A769F8D0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44" y="35"/>
                  <a:ext cx="13" cy="8"/>
                  <a:chOff x="444" y="35"/>
                  <a:chExt cx="13" cy="8"/>
                </a:xfrm>
              </p:grpSpPr>
              <p:sp>
                <p:nvSpPr>
                  <p:cNvPr id="1843" name="Freeform 217">
                    <a:extLst>
                      <a:ext uri="{FF2B5EF4-FFF2-40B4-BE49-F238E27FC236}">
                        <a16:creationId xmlns:a16="http://schemas.microsoft.com/office/drawing/2014/main" id="{D97F0117-B6DB-B74B-A7C1-3E04727758B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4" y="35"/>
                    <a:ext cx="13" cy="8"/>
                  </a:xfrm>
                  <a:custGeom>
                    <a:avLst/>
                    <a:gdLst>
                      <a:gd name="T0" fmla="*/ 1 w 13"/>
                      <a:gd name="T1" fmla="*/ 7 h 8"/>
                      <a:gd name="T2" fmla="*/ 0 w 13"/>
                      <a:gd name="T3" fmla="*/ 7 h 8"/>
                      <a:gd name="T4" fmla="*/ 0 w 13"/>
                      <a:gd name="T5" fmla="*/ 8 h 8"/>
                      <a:gd name="T6" fmla="*/ 1 w 13"/>
                      <a:gd name="T7" fmla="*/ 8 h 8"/>
                      <a:gd name="T8" fmla="*/ 3 w 13"/>
                      <a:gd name="T9" fmla="*/ 8 h 8"/>
                      <a:gd name="T10" fmla="*/ 6 w 13"/>
                      <a:gd name="T11" fmla="*/ 8 h 8"/>
                      <a:gd name="T12" fmla="*/ 8 w 13"/>
                      <a:gd name="T13" fmla="*/ 8 h 8"/>
                      <a:gd name="T14" fmla="*/ 11 w 13"/>
                      <a:gd name="T15" fmla="*/ 7 h 8"/>
                      <a:gd name="T16" fmla="*/ 11 w 13"/>
                      <a:gd name="T17" fmla="*/ 5 h 8"/>
                      <a:gd name="T18" fmla="*/ 11 w 13"/>
                      <a:gd name="T19" fmla="*/ 3 h 8"/>
                      <a:gd name="T20" fmla="*/ 13 w 13"/>
                      <a:gd name="T21" fmla="*/ 3 h 8"/>
                      <a:gd name="T22" fmla="*/ 11 w 13"/>
                      <a:gd name="T23" fmla="*/ 2 h 8"/>
                      <a:gd name="T24" fmla="*/ 10 w 13"/>
                      <a:gd name="T25" fmla="*/ 0 h 8"/>
                      <a:gd name="T26" fmla="*/ 10 w 13"/>
                      <a:gd name="T27" fmla="*/ 2 h 8"/>
                      <a:gd name="T28" fmla="*/ 8 w 13"/>
                      <a:gd name="T29" fmla="*/ 3 h 8"/>
                      <a:gd name="T30" fmla="*/ 6 w 13"/>
                      <a:gd name="T31" fmla="*/ 2 h 8"/>
                      <a:gd name="T32" fmla="*/ 6 w 13"/>
                      <a:gd name="T33" fmla="*/ 5 h 8"/>
                      <a:gd name="T34" fmla="*/ 5 w 13"/>
                      <a:gd name="T35" fmla="*/ 5 h 8"/>
                      <a:gd name="T36" fmla="*/ 3 w 13"/>
                      <a:gd name="T37" fmla="*/ 5 h 8"/>
                      <a:gd name="T38" fmla="*/ 1 w 13"/>
                      <a:gd name="T39" fmla="*/ 5 h 8"/>
                      <a:gd name="T40" fmla="*/ 1 w 13"/>
                      <a:gd name="T41" fmla="*/ 7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13" h="8">
                        <a:moveTo>
                          <a:pt x="1" y="7"/>
                        </a:moveTo>
                        <a:lnTo>
                          <a:pt x="0" y="7"/>
                        </a:lnTo>
                        <a:lnTo>
                          <a:pt x="0" y="8"/>
                        </a:lnTo>
                        <a:lnTo>
                          <a:pt x="1" y="8"/>
                        </a:lnTo>
                        <a:lnTo>
                          <a:pt x="3" y="8"/>
                        </a:lnTo>
                        <a:lnTo>
                          <a:pt x="6" y="8"/>
                        </a:lnTo>
                        <a:lnTo>
                          <a:pt x="8" y="8"/>
                        </a:lnTo>
                        <a:lnTo>
                          <a:pt x="11" y="7"/>
                        </a:lnTo>
                        <a:lnTo>
                          <a:pt x="11" y="5"/>
                        </a:lnTo>
                        <a:lnTo>
                          <a:pt x="11" y="3"/>
                        </a:lnTo>
                        <a:lnTo>
                          <a:pt x="13" y="3"/>
                        </a:lnTo>
                        <a:lnTo>
                          <a:pt x="11" y="2"/>
                        </a:lnTo>
                        <a:lnTo>
                          <a:pt x="10" y="0"/>
                        </a:lnTo>
                        <a:lnTo>
                          <a:pt x="10" y="2"/>
                        </a:lnTo>
                        <a:lnTo>
                          <a:pt x="8" y="3"/>
                        </a:lnTo>
                        <a:lnTo>
                          <a:pt x="6" y="2"/>
                        </a:lnTo>
                        <a:lnTo>
                          <a:pt x="6" y="5"/>
                        </a:lnTo>
                        <a:lnTo>
                          <a:pt x="5" y="5"/>
                        </a:ln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44" name="Freeform 218">
                    <a:extLst>
                      <a:ext uri="{FF2B5EF4-FFF2-40B4-BE49-F238E27FC236}">
                        <a16:creationId xmlns:a16="http://schemas.microsoft.com/office/drawing/2014/main" id="{BA5EEE0A-C5D8-FD44-9C7A-8D9FBCF8072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4" y="35"/>
                    <a:ext cx="13" cy="8"/>
                  </a:xfrm>
                  <a:custGeom>
                    <a:avLst/>
                    <a:gdLst>
                      <a:gd name="T0" fmla="*/ 1 w 13"/>
                      <a:gd name="T1" fmla="*/ 7 h 8"/>
                      <a:gd name="T2" fmla="*/ 0 w 13"/>
                      <a:gd name="T3" fmla="*/ 7 h 8"/>
                      <a:gd name="T4" fmla="*/ 0 w 13"/>
                      <a:gd name="T5" fmla="*/ 8 h 8"/>
                      <a:gd name="T6" fmla="*/ 1 w 13"/>
                      <a:gd name="T7" fmla="*/ 8 h 8"/>
                      <a:gd name="T8" fmla="*/ 3 w 13"/>
                      <a:gd name="T9" fmla="*/ 8 h 8"/>
                      <a:gd name="T10" fmla="*/ 6 w 13"/>
                      <a:gd name="T11" fmla="*/ 8 h 8"/>
                      <a:gd name="T12" fmla="*/ 8 w 13"/>
                      <a:gd name="T13" fmla="*/ 8 h 8"/>
                      <a:gd name="T14" fmla="*/ 11 w 13"/>
                      <a:gd name="T15" fmla="*/ 7 h 8"/>
                      <a:gd name="T16" fmla="*/ 11 w 13"/>
                      <a:gd name="T17" fmla="*/ 5 h 8"/>
                      <a:gd name="T18" fmla="*/ 11 w 13"/>
                      <a:gd name="T19" fmla="*/ 3 h 8"/>
                      <a:gd name="T20" fmla="*/ 13 w 13"/>
                      <a:gd name="T21" fmla="*/ 3 h 8"/>
                      <a:gd name="T22" fmla="*/ 11 w 13"/>
                      <a:gd name="T23" fmla="*/ 2 h 8"/>
                      <a:gd name="T24" fmla="*/ 10 w 13"/>
                      <a:gd name="T25" fmla="*/ 0 h 8"/>
                      <a:gd name="T26" fmla="*/ 10 w 13"/>
                      <a:gd name="T27" fmla="*/ 2 h 8"/>
                      <a:gd name="T28" fmla="*/ 8 w 13"/>
                      <a:gd name="T29" fmla="*/ 3 h 8"/>
                      <a:gd name="T30" fmla="*/ 6 w 13"/>
                      <a:gd name="T31" fmla="*/ 2 h 8"/>
                      <a:gd name="T32" fmla="*/ 6 w 13"/>
                      <a:gd name="T33" fmla="*/ 5 h 8"/>
                      <a:gd name="T34" fmla="*/ 5 w 13"/>
                      <a:gd name="T35" fmla="*/ 5 h 8"/>
                      <a:gd name="T36" fmla="*/ 3 w 13"/>
                      <a:gd name="T37" fmla="*/ 5 h 8"/>
                      <a:gd name="T38" fmla="*/ 1 w 13"/>
                      <a:gd name="T39" fmla="*/ 5 h 8"/>
                      <a:gd name="T40" fmla="*/ 1 w 13"/>
                      <a:gd name="T41" fmla="*/ 7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13" h="8">
                        <a:moveTo>
                          <a:pt x="1" y="7"/>
                        </a:moveTo>
                        <a:lnTo>
                          <a:pt x="0" y="7"/>
                        </a:lnTo>
                        <a:lnTo>
                          <a:pt x="0" y="8"/>
                        </a:lnTo>
                        <a:lnTo>
                          <a:pt x="1" y="8"/>
                        </a:lnTo>
                        <a:lnTo>
                          <a:pt x="3" y="8"/>
                        </a:lnTo>
                        <a:lnTo>
                          <a:pt x="6" y="8"/>
                        </a:lnTo>
                        <a:lnTo>
                          <a:pt x="8" y="8"/>
                        </a:lnTo>
                        <a:lnTo>
                          <a:pt x="11" y="7"/>
                        </a:lnTo>
                        <a:lnTo>
                          <a:pt x="11" y="5"/>
                        </a:lnTo>
                        <a:lnTo>
                          <a:pt x="11" y="3"/>
                        </a:lnTo>
                        <a:lnTo>
                          <a:pt x="13" y="3"/>
                        </a:lnTo>
                        <a:lnTo>
                          <a:pt x="11" y="2"/>
                        </a:lnTo>
                        <a:lnTo>
                          <a:pt x="10" y="0"/>
                        </a:lnTo>
                        <a:lnTo>
                          <a:pt x="10" y="2"/>
                        </a:lnTo>
                        <a:lnTo>
                          <a:pt x="8" y="3"/>
                        </a:lnTo>
                        <a:lnTo>
                          <a:pt x="6" y="2"/>
                        </a:lnTo>
                        <a:lnTo>
                          <a:pt x="6" y="5"/>
                        </a:lnTo>
                        <a:lnTo>
                          <a:pt x="5" y="5"/>
                        </a:lnTo>
                        <a:lnTo>
                          <a:pt x="3" y="5"/>
                        </a:lnTo>
                        <a:lnTo>
                          <a:pt x="1" y="5"/>
                        </a:lnTo>
                        <a:lnTo>
                          <a:pt x="1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98" name="Group 1797">
                  <a:extLst>
                    <a:ext uri="{FF2B5EF4-FFF2-40B4-BE49-F238E27FC236}">
                      <a16:creationId xmlns:a16="http://schemas.microsoft.com/office/drawing/2014/main" id="{8959FF92-FF39-564D-9539-9F7AF81DAA4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52" y="28"/>
                  <a:ext cx="15" cy="9"/>
                  <a:chOff x="452" y="28"/>
                  <a:chExt cx="15" cy="9"/>
                </a:xfrm>
              </p:grpSpPr>
              <p:sp>
                <p:nvSpPr>
                  <p:cNvPr id="1841" name="Freeform 215">
                    <a:extLst>
                      <a:ext uri="{FF2B5EF4-FFF2-40B4-BE49-F238E27FC236}">
                        <a16:creationId xmlns:a16="http://schemas.microsoft.com/office/drawing/2014/main" id="{682A9C73-6D7D-4442-B7CD-681BC11F364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52" y="28"/>
                    <a:ext cx="15" cy="9"/>
                  </a:xfrm>
                  <a:custGeom>
                    <a:avLst/>
                    <a:gdLst>
                      <a:gd name="T0" fmla="*/ 3 w 15"/>
                      <a:gd name="T1" fmla="*/ 4 h 9"/>
                      <a:gd name="T2" fmla="*/ 3 w 15"/>
                      <a:gd name="T3" fmla="*/ 5 h 9"/>
                      <a:gd name="T4" fmla="*/ 2 w 15"/>
                      <a:gd name="T5" fmla="*/ 5 h 9"/>
                      <a:gd name="T6" fmla="*/ 3 w 15"/>
                      <a:gd name="T7" fmla="*/ 5 h 9"/>
                      <a:gd name="T8" fmla="*/ 5 w 15"/>
                      <a:gd name="T9" fmla="*/ 7 h 9"/>
                      <a:gd name="T10" fmla="*/ 7 w 15"/>
                      <a:gd name="T11" fmla="*/ 9 h 9"/>
                      <a:gd name="T12" fmla="*/ 8 w 15"/>
                      <a:gd name="T13" fmla="*/ 9 h 9"/>
                      <a:gd name="T14" fmla="*/ 10 w 15"/>
                      <a:gd name="T15" fmla="*/ 9 h 9"/>
                      <a:gd name="T16" fmla="*/ 12 w 15"/>
                      <a:gd name="T17" fmla="*/ 7 h 9"/>
                      <a:gd name="T18" fmla="*/ 13 w 15"/>
                      <a:gd name="T19" fmla="*/ 5 h 9"/>
                      <a:gd name="T20" fmla="*/ 15 w 15"/>
                      <a:gd name="T21" fmla="*/ 4 h 9"/>
                      <a:gd name="T22" fmla="*/ 12 w 15"/>
                      <a:gd name="T23" fmla="*/ 4 h 9"/>
                      <a:gd name="T24" fmla="*/ 10 w 15"/>
                      <a:gd name="T25" fmla="*/ 4 h 9"/>
                      <a:gd name="T26" fmla="*/ 8 w 15"/>
                      <a:gd name="T27" fmla="*/ 4 h 9"/>
                      <a:gd name="T28" fmla="*/ 8 w 15"/>
                      <a:gd name="T29" fmla="*/ 5 h 9"/>
                      <a:gd name="T30" fmla="*/ 7 w 15"/>
                      <a:gd name="T31" fmla="*/ 5 h 9"/>
                      <a:gd name="T32" fmla="*/ 8 w 15"/>
                      <a:gd name="T33" fmla="*/ 4 h 9"/>
                      <a:gd name="T34" fmla="*/ 8 w 15"/>
                      <a:gd name="T35" fmla="*/ 2 h 9"/>
                      <a:gd name="T36" fmla="*/ 7 w 15"/>
                      <a:gd name="T37" fmla="*/ 2 h 9"/>
                      <a:gd name="T38" fmla="*/ 3 w 15"/>
                      <a:gd name="T39" fmla="*/ 2 h 9"/>
                      <a:gd name="T40" fmla="*/ 2 w 15"/>
                      <a:gd name="T41" fmla="*/ 0 h 9"/>
                      <a:gd name="T42" fmla="*/ 0 w 15"/>
                      <a:gd name="T43" fmla="*/ 2 h 9"/>
                      <a:gd name="T44" fmla="*/ 2 w 15"/>
                      <a:gd name="T45" fmla="*/ 4 h 9"/>
                      <a:gd name="T46" fmla="*/ 3 w 15"/>
                      <a:gd name="T47" fmla="*/ 2 h 9"/>
                      <a:gd name="T48" fmla="*/ 3 w 15"/>
                      <a:gd name="T49" fmla="*/ 4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</a:cxnLst>
                    <a:rect l="0" t="0" r="r" b="b"/>
                    <a:pathLst>
                      <a:path w="15" h="9">
                        <a:moveTo>
                          <a:pt x="3" y="4"/>
                        </a:moveTo>
                        <a:lnTo>
                          <a:pt x="3" y="5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5" y="7"/>
                        </a:lnTo>
                        <a:lnTo>
                          <a:pt x="7" y="9"/>
                        </a:lnTo>
                        <a:lnTo>
                          <a:pt x="8" y="9"/>
                        </a:lnTo>
                        <a:lnTo>
                          <a:pt x="10" y="9"/>
                        </a:lnTo>
                        <a:lnTo>
                          <a:pt x="12" y="7"/>
                        </a:lnTo>
                        <a:lnTo>
                          <a:pt x="13" y="5"/>
                        </a:lnTo>
                        <a:lnTo>
                          <a:pt x="15" y="4"/>
                        </a:lnTo>
                        <a:lnTo>
                          <a:pt x="12" y="4"/>
                        </a:lnTo>
                        <a:lnTo>
                          <a:pt x="10" y="4"/>
                        </a:lnTo>
                        <a:lnTo>
                          <a:pt x="8" y="4"/>
                        </a:lnTo>
                        <a:lnTo>
                          <a:pt x="8" y="5"/>
                        </a:lnTo>
                        <a:lnTo>
                          <a:pt x="7" y="5"/>
                        </a:lnTo>
                        <a:lnTo>
                          <a:pt x="8" y="4"/>
                        </a:lnTo>
                        <a:lnTo>
                          <a:pt x="8" y="2"/>
                        </a:lnTo>
                        <a:lnTo>
                          <a:pt x="7" y="2"/>
                        </a:lnTo>
                        <a:lnTo>
                          <a:pt x="3" y="2"/>
                        </a:lnTo>
                        <a:lnTo>
                          <a:pt x="2" y="0"/>
                        </a:lnTo>
                        <a:lnTo>
                          <a:pt x="0" y="2"/>
                        </a:lnTo>
                        <a:lnTo>
                          <a:pt x="2" y="4"/>
                        </a:lnTo>
                        <a:lnTo>
                          <a:pt x="3" y="2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42" name="Freeform 216">
                    <a:extLst>
                      <a:ext uri="{FF2B5EF4-FFF2-40B4-BE49-F238E27FC236}">
                        <a16:creationId xmlns:a16="http://schemas.microsoft.com/office/drawing/2014/main" id="{017125AF-AE80-A74F-B0C8-BD05CE0F6A1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52" y="28"/>
                    <a:ext cx="15" cy="9"/>
                  </a:xfrm>
                  <a:custGeom>
                    <a:avLst/>
                    <a:gdLst>
                      <a:gd name="T0" fmla="*/ 3 w 15"/>
                      <a:gd name="T1" fmla="*/ 4 h 9"/>
                      <a:gd name="T2" fmla="*/ 3 w 15"/>
                      <a:gd name="T3" fmla="*/ 5 h 9"/>
                      <a:gd name="T4" fmla="*/ 2 w 15"/>
                      <a:gd name="T5" fmla="*/ 5 h 9"/>
                      <a:gd name="T6" fmla="*/ 3 w 15"/>
                      <a:gd name="T7" fmla="*/ 5 h 9"/>
                      <a:gd name="T8" fmla="*/ 5 w 15"/>
                      <a:gd name="T9" fmla="*/ 7 h 9"/>
                      <a:gd name="T10" fmla="*/ 7 w 15"/>
                      <a:gd name="T11" fmla="*/ 9 h 9"/>
                      <a:gd name="T12" fmla="*/ 8 w 15"/>
                      <a:gd name="T13" fmla="*/ 9 h 9"/>
                      <a:gd name="T14" fmla="*/ 10 w 15"/>
                      <a:gd name="T15" fmla="*/ 9 h 9"/>
                      <a:gd name="T16" fmla="*/ 12 w 15"/>
                      <a:gd name="T17" fmla="*/ 7 h 9"/>
                      <a:gd name="T18" fmla="*/ 13 w 15"/>
                      <a:gd name="T19" fmla="*/ 5 h 9"/>
                      <a:gd name="T20" fmla="*/ 15 w 15"/>
                      <a:gd name="T21" fmla="*/ 4 h 9"/>
                      <a:gd name="T22" fmla="*/ 12 w 15"/>
                      <a:gd name="T23" fmla="*/ 4 h 9"/>
                      <a:gd name="T24" fmla="*/ 10 w 15"/>
                      <a:gd name="T25" fmla="*/ 4 h 9"/>
                      <a:gd name="T26" fmla="*/ 8 w 15"/>
                      <a:gd name="T27" fmla="*/ 4 h 9"/>
                      <a:gd name="T28" fmla="*/ 8 w 15"/>
                      <a:gd name="T29" fmla="*/ 5 h 9"/>
                      <a:gd name="T30" fmla="*/ 7 w 15"/>
                      <a:gd name="T31" fmla="*/ 5 h 9"/>
                      <a:gd name="T32" fmla="*/ 8 w 15"/>
                      <a:gd name="T33" fmla="*/ 4 h 9"/>
                      <a:gd name="T34" fmla="*/ 8 w 15"/>
                      <a:gd name="T35" fmla="*/ 2 h 9"/>
                      <a:gd name="T36" fmla="*/ 7 w 15"/>
                      <a:gd name="T37" fmla="*/ 2 h 9"/>
                      <a:gd name="T38" fmla="*/ 3 w 15"/>
                      <a:gd name="T39" fmla="*/ 2 h 9"/>
                      <a:gd name="T40" fmla="*/ 2 w 15"/>
                      <a:gd name="T41" fmla="*/ 0 h 9"/>
                      <a:gd name="T42" fmla="*/ 0 w 15"/>
                      <a:gd name="T43" fmla="*/ 2 h 9"/>
                      <a:gd name="T44" fmla="*/ 2 w 15"/>
                      <a:gd name="T45" fmla="*/ 4 h 9"/>
                      <a:gd name="T46" fmla="*/ 3 w 15"/>
                      <a:gd name="T47" fmla="*/ 2 h 9"/>
                      <a:gd name="T48" fmla="*/ 3 w 15"/>
                      <a:gd name="T49" fmla="*/ 4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</a:cxnLst>
                    <a:rect l="0" t="0" r="r" b="b"/>
                    <a:pathLst>
                      <a:path w="15" h="9">
                        <a:moveTo>
                          <a:pt x="3" y="4"/>
                        </a:moveTo>
                        <a:lnTo>
                          <a:pt x="3" y="5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5" y="7"/>
                        </a:lnTo>
                        <a:lnTo>
                          <a:pt x="7" y="9"/>
                        </a:lnTo>
                        <a:lnTo>
                          <a:pt x="8" y="9"/>
                        </a:lnTo>
                        <a:lnTo>
                          <a:pt x="10" y="9"/>
                        </a:lnTo>
                        <a:lnTo>
                          <a:pt x="12" y="7"/>
                        </a:lnTo>
                        <a:lnTo>
                          <a:pt x="13" y="5"/>
                        </a:lnTo>
                        <a:lnTo>
                          <a:pt x="15" y="4"/>
                        </a:lnTo>
                        <a:lnTo>
                          <a:pt x="12" y="4"/>
                        </a:lnTo>
                        <a:lnTo>
                          <a:pt x="10" y="4"/>
                        </a:lnTo>
                        <a:lnTo>
                          <a:pt x="8" y="4"/>
                        </a:lnTo>
                        <a:lnTo>
                          <a:pt x="8" y="5"/>
                        </a:lnTo>
                        <a:lnTo>
                          <a:pt x="7" y="5"/>
                        </a:lnTo>
                        <a:lnTo>
                          <a:pt x="8" y="4"/>
                        </a:lnTo>
                        <a:lnTo>
                          <a:pt x="8" y="2"/>
                        </a:lnTo>
                        <a:lnTo>
                          <a:pt x="7" y="2"/>
                        </a:lnTo>
                        <a:lnTo>
                          <a:pt x="3" y="2"/>
                        </a:lnTo>
                        <a:lnTo>
                          <a:pt x="2" y="0"/>
                        </a:lnTo>
                        <a:lnTo>
                          <a:pt x="0" y="2"/>
                        </a:lnTo>
                        <a:lnTo>
                          <a:pt x="2" y="4"/>
                        </a:lnTo>
                        <a:lnTo>
                          <a:pt x="3" y="2"/>
                        </a:lnTo>
                        <a:lnTo>
                          <a:pt x="3" y="4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99" name="Group 1798">
                  <a:extLst>
                    <a:ext uri="{FF2B5EF4-FFF2-40B4-BE49-F238E27FC236}">
                      <a16:creationId xmlns:a16="http://schemas.microsoft.com/office/drawing/2014/main" id="{E6E9A0DA-43B2-9C45-82D4-8D802C665DF2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65" y="25"/>
                  <a:ext cx="9" cy="5"/>
                  <a:chOff x="465" y="25"/>
                  <a:chExt cx="9" cy="5"/>
                </a:xfrm>
              </p:grpSpPr>
              <p:sp>
                <p:nvSpPr>
                  <p:cNvPr id="1839" name="Freeform 213">
                    <a:extLst>
                      <a:ext uri="{FF2B5EF4-FFF2-40B4-BE49-F238E27FC236}">
                        <a16:creationId xmlns:a16="http://schemas.microsoft.com/office/drawing/2014/main" id="{DFFCD9C6-5214-B244-9FB7-982581F75CD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5" y="25"/>
                    <a:ext cx="9" cy="5"/>
                  </a:xfrm>
                  <a:custGeom>
                    <a:avLst/>
                    <a:gdLst>
                      <a:gd name="T0" fmla="*/ 4 w 9"/>
                      <a:gd name="T1" fmla="*/ 2 h 5"/>
                      <a:gd name="T2" fmla="*/ 4 w 9"/>
                      <a:gd name="T3" fmla="*/ 0 h 5"/>
                      <a:gd name="T4" fmla="*/ 2 w 9"/>
                      <a:gd name="T5" fmla="*/ 0 h 5"/>
                      <a:gd name="T6" fmla="*/ 0 w 9"/>
                      <a:gd name="T7" fmla="*/ 0 h 5"/>
                      <a:gd name="T8" fmla="*/ 2 w 9"/>
                      <a:gd name="T9" fmla="*/ 2 h 5"/>
                      <a:gd name="T10" fmla="*/ 4 w 9"/>
                      <a:gd name="T11" fmla="*/ 3 h 5"/>
                      <a:gd name="T12" fmla="*/ 4 w 9"/>
                      <a:gd name="T13" fmla="*/ 5 h 5"/>
                      <a:gd name="T14" fmla="*/ 6 w 9"/>
                      <a:gd name="T15" fmla="*/ 5 h 5"/>
                      <a:gd name="T16" fmla="*/ 7 w 9"/>
                      <a:gd name="T17" fmla="*/ 5 h 5"/>
                      <a:gd name="T18" fmla="*/ 9 w 9"/>
                      <a:gd name="T19" fmla="*/ 5 h 5"/>
                      <a:gd name="T20" fmla="*/ 9 w 9"/>
                      <a:gd name="T21" fmla="*/ 3 h 5"/>
                      <a:gd name="T22" fmla="*/ 7 w 9"/>
                      <a:gd name="T23" fmla="*/ 3 h 5"/>
                      <a:gd name="T24" fmla="*/ 6 w 9"/>
                      <a:gd name="T25" fmla="*/ 2 h 5"/>
                      <a:gd name="T26" fmla="*/ 4 w 9"/>
                      <a:gd name="T27" fmla="*/ 2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9" h="5">
                        <a:moveTo>
                          <a:pt x="4" y="2"/>
                        </a:moveTo>
                        <a:lnTo>
                          <a:pt x="4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2" y="2"/>
                        </a:lnTo>
                        <a:lnTo>
                          <a:pt x="4" y="3"/>
                        </a:lnTo>
                        <a:lnTo>
                          <a:pt x="4" y="5"/>
                        </a:lnTo>
                        <a:lnTo>
                          <a:pt x="6" y="5"/>
                        </a:lnTo>
                        <a:lnTo>
                          <a:pt x="7" y="5"/>
                        </a:lnTo>
                        <a:lnTo>
                          <a:pt x="9" y="5"/>
                        </a:lnTo>
                        <a:lnTo>
                          <a:pt x="9" y="3"/>
                        </a:lnTo>
                        <a:lnTo>
                          <a:pt x="7" y="3"/>
                        </a:lnTo>
                        <a:lnTo>
                          <a:pt x="6" y="2"/>
                        </a:lnTo>
                        <a:lnTo>
                          <a:pt x="4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40" name="Freeform 214">
                    <a:extLst>
                      <a:ext uri="{FF2B5EF4-FFF2-40B4-BE49-F238E27FC236}">
                        <a16:creationId xmlns:a16="http://schemas.microsoft.com/office/drawing/2014/main" id="{B9B05166-A346-F040-BABB-87FDC42FA10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5" y="25"/>
                    <a:ext cx="9" cy="5"/>
                  </a:xfrm>
                  <a:custGeom>
                    <a:avLst/>
                    <a:gdLst>
                      <a:gd name="T0" fmla="*/ 4 w 9"/>
                      <a:gd name="T1" fmla="*/ 2 h 5"/>
                      <a:gd name="T2" fmla="*/ 4 w 9"/>
                      <a:gd name="T3" fmla="*/ 0 h 5"/>
                      <a:gd name="T4" fmla="*/ 2 w 9"/>
                      <a:gd name="T5" fmla="*/ 0 h 5"/>
                      <a:gd name="T6" fmla="*/ 0 w 9"/>
                      <a:gd name="T7" fmla="*/ 0 h 5"/>
                      <a:gd name="T8" fmla="*/ 2 w 9"/>
                      <a:gd name="T9" fmla="*/ 2 h 5"/>
                      <a:gd name="T10" fmla="*/ 4 w 9"/>
                      <a:gd name="T11" fmla="*/ 3 h 5"/>
                      <a:gd name="T12" fmla="*/ 4 w 9"/>
                      <a:gd name="T13" fmla="*/ 5 h 5"/>
                      <a:gd name="T14" fmla="*/ 6 w 9"/>
                      <a:gd name="T15" fmla="*/ 5 h 5"/>
                      <a:gd name="T16" fmla="*/ 7 w 9"/>
                      <a:gd name="T17" fmla="*/ 5 h 5"/>
                      <a:gd name="T18" fmla="*/ 9 w 9"/>
                      <a:gd name="T19" fmla="*/ 5 h 5"/>
                      <a:gd name="T20" fmla="*/ 9 w 9"/>
                      <a:gd name="T21" fmla="*/ 3 h 5"/>
                      <a:gd name="T22" fmla="*/ 7 w 9"/>
                      <a:gd name="T23" fmla="*/ 3 h 5"/>
                      <a:gd name="T24" fmla="*/ 6 w 9"/>
                      <a:gd name="T25" fmla="*/ 2 h 5"/>
                      <a:gd name="T26" fmla="*/ 4 w 9"/>
                      <a:gd name="T27" fmla="*/ 2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9" h="5">
                        <a:moveTo>
                          <a:pt x="4" y="2"/>
                        </a:moveTo>
                        <a:lnTo>
                          <a:pt x="4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2" y="2"/>
                        </a:lnTo>
                        <a:lnTo>
                          <a:pt x="4" y="3"/>
                        </a:lnTo>
                        <a:lnTo>
                          <a:pt x="4" y="5"/>
                        </a:lnTo>
                        <a:lnTo>
                          <a:pt x="6" y="5"/>
                        </a:lnTo>
                        <a:lnTo>
                          <a:pt x="7" y="5"/>
                        </a:lnTo>
                        <a:lnTo>
                          <a:pt x="9" y="5"/>
                        </a:lnTo>
                        <a:lnTo>
                          <a:pt x="9" y="3"/>
                        </a:lnTo>
                        <a:lnTo>
                          <a:pt x="7" y="3"/>
                        </a:lnTo>
                        <a:lnTo>
                          <a:pt x="6" y="2"/>
                        </a:lnTo>
                        <a:lnTo>
                          <a:pt x="4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00" name="Group 1799">
                  <a:extLst>
                    <a:ext uri="{FF2B5EF4-FFF2-40B4-BE49-F238E27FC236}">
                      <a16:creationId xmlns:a16="http://schemas.microsoft.com/office/drawing/2014/main" id="{52D2D64E-E4F1-644A-A7CD-C7CE8BAD928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81" y="25"/>
                  <a:ext cx="5" cy="5"/>
                  <a:chOff x="481" y="25"/>
                  <a:chExt cx="5" cy="5"/>
                </a:xfrm>
              </p:grpSpPr>
              <p:sp>
                <p:nvSpPr>
                  <p:cNvPr id="1837" name="Freeform 211">
                    <a:extLst>
                      <a:ext uri="{FF2B5EF4-FFF2-40B4-BE49-F238E27FC236}">
                        <a16:creationId xmlns:a16="http://schemas.microsoft.com/office/drawing/2014/main" id="{77E9F1C2-17E8-2341-9D9E-F8FFEAE9B3E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81" y="25"/>
                    <a:ext cx="5" cy="5"/>
                  </a:xfrm>
                  <a:custGeom>
                    <a:avLst/>
                    <a:gdLst>
                      <a:gd name="T0" fmla="*/ 0 w 5"/>
                      <a:gd name="T1" fmla="*/ 2 h 5"/>
                      <a:gd name="T2" fmla="*/ 0 w 5"/>
                      <a:gd name="T3" fmla="*/ 3 h 5"/>
                      <a:gd name="T4" fmla="*/ 1 w 5"/>
                      <a:gd name="T5" fmla="*/ 5 h 5"/>
                      <a:gd name="T6" fmla="*/ 1 w 5"/>
                      <a:gd name="T7" fmla="*/ 3 h 5"/>
                      <a:gd name="T8" fmla="*/ 1 w 5"/>
                      <a:gd name="T9" fmla="*/ 5 h 5"/>
                      <a:gd name="T10" fmla="*/ 3 w 5"/>
                      <a:gd name="T11" fmla="*/ 5 h 5"/>
                      <a:gd name="T12" fmla="*/ 5 w 5"/>
                      <a:gd name="T13" fmla="*/ 3 h 5"/>
                      <a:gd name="T14" fmla="*/ 5 w 5"/>
                      <a:gd name="T15" fmla="*/ 2 h 5"/>
                      <a:gd name="T16" fmla="*/ 3 w 5"/>
                      <a:gd name="T17" fmla="*/ 2 h 5"/>
                      <a:gd name="T18" fmla="*/ 3 w 5"/>
                      <a:gd name="T19" fmla="*/ 0 h 5"/>
                      <a:gd name="T20" fmla="*/ 0 w 5"/>
                      <a:gd name="T21" fmla="*/ 2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5" h="5">
                        <a:moveTo>
                          <a:pt x="0" y="2"/>
                        </a:moveTo>
                        <a:lnTo>
                          <a:pt x="0" y="3"/>
                        </a:ln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5" y="3"/>
                        </a:lnTo>
                        <a:lnTo>
                          <a:pt x="5" y="2"/>
                        </a:lnTo>
                        <a:lnTo>
                          <a:pt x="3" y="2"/>
                        </a:lnTo>
                        <a:lnTo>
                          <a:pt x="3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38" name="Freeform 212">
                    <a:extLst>
                      <a:ext uri="{FF2B5EF4-FFF2-40B4-BE49-F238E27FC236}">
                        <a16:creationId xmlns:a16="http://schemas.microsoft.com/office/drawing/2014/main" id="{11B1FD0B-739D-9D4B-A574-DBD2AD6A768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81" y="25"/>
                    <a:ext cx="5" cy="5"/>
                  </a:xfrm>
                  <a:custGeom>
                    <a:avLst/>
                    <a:gdLst>
                      <a:gd name="T0" fmla="*/ 0 w 5"/>
                      <a:gd name="T1" fmla="*/ 2 h 5"/>
                      <a:gd name="T2" fmla="*/ 0 w 5"/>
                      <a:gd name="T3" fmla="*/ 3 h 5"/>
                      <a:gd name="T4" fmla="*/ 1 w 5"/>
                      <a:gd name="T5" fmla="*/ 5 h 5"/>
                      <a:gd name="T6" fmla="*/ 1 w 5"/>
                      <a:gd name="T7" fmla="*/ 3 h 5"/>
                      <a:gd name="T8" fmla="*/ 1 w 5"/>
                      <a:gd name="T9" fmla="*/ 5 h 5"/>
                      <a:gd name="T10" fmla="*/ 3 w 5"/>
                      <a:gd name="T11" fmla="*/ 5 h 5"/>
                      <a:gd name="T12" fmla="*/ 5 w 5"/>
                      <a:gd name="T13" fmla="*/ 3 h 5"/>
                      <a:gd name="T14" fmla="*/ 5 w 5"/>
                      <a:gd name="T15" fmla="*/ 2 h 5"/>
                      <a:gd name="T16" fmla="*/ 3 w 5"/>
                      <a:gd name="T17" fmla="*/ 2 h 5"/>
                      <a:gd name="T18" fmla="*/ 3 w 5"/>
                      <a:gd name="T19" fmla="*/ 0 h 5"/>
                      <a:gd name="T20" fmla="*/ 0 w 5"/>
                      <a:gd name="T21" fmla="*/ 2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5" h="5">
                        <a:moveTo>
                          <a:pt x="0" y="2"/>
                        </a:moveTo>
                        <a:lnTo>
                          <a:pt x="0" y="3"/>
                        </a:ln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1" y="5"/>
                        </a:lnTo>
                        <a:lnTo>
                          <a:pt x="3" y="5"/>
                        </a:lnTo>
                        <a:lnTo>
                          <a:pt x="5" y="3"/>
                        </a:lnTo>
                        <a:lnTo>
                          <a:pt x="5" y="2"/>
                        </a:lnTo>
                        <a:lnTo>
                          <a:pt x="3" y="2"/>
                        </a:lnTo>
                        <a:lnTo>
                          <a:pt x="3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01" name="Group 1800">
                  <a:extLst>
                    <a:ext uri="{FF2B5EF4-FFF2-40B4-BE49-F238E27FC236}">
                      <a16:creationId xmlns:a16="http://schemas.microsoft.com/office/drawing/2014/main" id="{B9FDD1B6-0130-BD4A-A985-F9F9ED115D83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11" y="22"/>
                  <a:ext cx="8" cy="3"/>
                  <a:chOff x="511" y="22"/>
                  <a:chExt cx="8" cy="3"/>
                </a:xfrm>
              </p:grpSpPr>
              <p:sp>
                <p:nvSpPr>
                  <p:cNvPr id="1835" name="Freeform 209">
                    <a:extLst>
                      <a:ext uri="{FF2B5EF4-FFF2-40B4-BE49-F238E27FC236}">
                        <a16:creationId xmlns:a16="http://schemas.microsoft.com/office/drawing/2014/main" id="{9E3AB6AE-A592-254F-AA08-FFF0D01DD48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1" y="22"/>
                    <a:ext cx="8" cy="3"/>
                  </a:xfrm>
                  <a:custGeom>
                    <a:avLst/>
                    <a:gdLst>
                      <a:gd name="T0" fmla="*/ 5 w 8"/>
                      <a:gd name="T1" fmla="*/ 3 h 3"/>
                      <a:gd name="T2" fmla="*/ 7 w 8"/>
                      <a:gd name="T3" fmla="*/ 3 h 3"/>
                      <a:gd name="T4" fmla="*/ 8 w 8"/>
                      <a:gd name="T5" fmla="*/ 3 h 3"/>
                      <a:gd name="T6" fmla="*/ 8 w 8"/>
                      <a:gd name="T7" fmla="*/ 1 h 3"/>
                      <a:gd name="T8" fmla="*/ 7 w 8"/>
                      <a:gd name="T9" fmla="*/ 0 h 3"/>
                      <a:gd name="T10" fmla="*/ 5 w 8"/>
                      <a:gd name="T11" fmla="*/ 0 h 3"/>
                      <a:gd name="T12" fmla="*/ 3 w 8"/>
                      <a:gd name="T13" fmla="*/ 0 h 3"/>
                      <a:gd name="T14" fmla="*/ 2 w 8"/>
                      <a:gd name="T15" fmla="*/ 0 h 3"/>
                      <a:gd name="T16" fmla="*/ 0 w 8"/>
                      <a:gd name="T17" fmla="*/ 0 h 3"/>
                      <a:gd name="T18" fmla="*/ 0 w 8"/>
                      <a:gd name="T19" fmla="*/ 1 h 3"/>
                      <a:gd name="T20" fmla="*/ 3 w 8"/>
                      <a:gd name="T21" fmla="*/ 3 h 3"/>
                      <a:gd name="T22" fmla="*/ 5 w 8"/>
                      <a:gd name="T23" fmla="*/ 3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8" h="3">
                        <a:moveTo>
                          <a:pt x="5" y="3"/>
                        </a:moveTo>
                        <a:lnTo>
                          <a:pt x="7" y="3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7" y="0"/>
                        </a:lnTo>
                        <a:lnTo>
                          <a:pt x="5" y="0"/>
                        </a:ln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3" y="3"/>
                        </a:lnTo>
                        <a:lnTo>
                          <a:pt x="5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36" name="Freeform 210">
                    <a:extLst>
                      <a:ext uri="{FF2B5EF4-FFF2-40B4-BE49-F238E27FC236}">
                        <a16:creationId xmlns:a16="http://schemas.microsoft.com/office/drawing/2014/main" id="{3934610A-1113-9A4B-81FE-102AE2573A4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1" y="22"/>
                    <a:ext cx="8" cy="3"/>
                  </a:xfrm>
                  <a:custGeom>
                    <a:avLst/>
                    <a:gdLst>
                      <a:gd name="T0" fmla="*/ 5 w 8"/>
                      <a:gd name="T1" fmla="*/ 3 h 3"/>
                      <a:gd name="T2" fmla="*/ 7 w 8"/>
                      <a:gd name="T3" fmla="*/ 3 h 3"/>
                      <a:gd name="T4" fmla="*/ 8 w 8"/>
                      <a:gd name="T5" fmla="*/ 3 h 3"/>
                      <a:gd name="T6" fmla="*/ 8 w 8"/>
                      <a:gd name="T7" fmla="*/ 1 h 3"/>
                      <a:gd name="T8" fmla="*/ 7 w 8"/>
                      <a:gd name="T9" fmla="*/ 0 h 3"/>
                      <a:gd name="T10" fmla="*/ 5 w 8"/>
                      <a:gd name="T11" fmla="*/ 0 h 3"/>
                      <a:gd name="T12" fmla="*/ 3 w 8"/>
                      <a:gd name="T13" fmla="*/ 0 h 3"/>
                      <a:gd name="T14" fmla="*/ 2 w 8"/>
                      <a:gd name="T15" fmla="*/ 0 h 3"/>
                      <a:gd name="T16" fmla="*/ 0 w 8"/>
                      <a:gd name="T17" fmla="*/ 0 h 3"/>
                      <a:gd name="T18" fmla="*/ 0 w 8"/>
                      <a:gd name="T19" fmla="*/ 1 h 3"/>
                      <a:gd name="T20" fmla="*/ 3 w 8"/>
                      <a:gd name="T21" fmla="*/ 3 h 3"/>
                      <a:gd name="T22" fmla="*/ 5 w 8"/>
                      <a:gd name="T23" fmla="*/ 3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8" h="3">
                        <a:moveTo>
                          <a:pt x="5" y="3"/>
                        </a:moveTo>
                        <a:lnTo>
                          <a:pt x="7" y="3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7" y="0"/>
                        </a:lnTo>
                        <a:lnTo>
                          <a:pt x="5" y="0"/>
                        </a:ln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3" y="3"/>
                        </a:lnTo>
                        <a:lnTo>
                          <a:pt x="5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02" name="Group 1801">
                  <a:extLst>
                    <a:ext uri="{FF2B5EF4-FFF2-40B4-BE49-F238E27FC236}">
                      <a16:creationId xmlns:a16="http://schemas.microsoft.com/office/drawing/2014/main" id="{BB23B55D-7EF7-B643-ACA9-207AE0194F4A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04" y="11"/>
                  <a:ext cx="17" cy="7"/>
                  <a:chOff x="504" y="11"/>
                  <a:chExt cx="17" cy="7"/>
                </a:xfrm>
              </p:grpSpPr>
              <p:sp>
                <p:nvSpPr>
                  <p:cNvPr id="1833" name="Freeform 207">
                    <a:extLst>
                      <a:ext uri="{FF2B5EF4-FFF2-40B4-BE49-F238E27FC236}">
                        <a16:creationId xmlns:a16="http://schemas.microsoft.com/office/drawing/2014/main" id="{18014541-1736-2449-A294-94611B13231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04" y="11"/>
                    <a:ext cx="17" cy="7"/>
                  </a:xfrm>
                  <a:custGeom>
                    <a:avLst/>
                    <a:gdLst>
                      <a:gd name="T0" fmla="*/ 5 w 17"/>
                      <a:gd name="T1" fmla="*/ 2 h 7"/>
                      <a:gd name="T2" fmla="*/ 4 w 17"/>
                      <a:gd name="T3" fmla="*/ 2 h 7"/>
                      <a:gd name="T4" fmla="*/ 2 w 17"/>
                      <a:gd name="T5" fmla="*/ 4 h 7"/>
                      <a:gd name="T6" fmla="*/ 0 w 17"/>
                      <a:gd name="T7" fmla="*/ 4 h 7"/>
                      <a:gd name="T8" fmla="*/ 4 w 17"/>
                      <a:gd name="T9" fmla="*/ 4 h 7"/>
                      <a:gd name="T10" fmla="*/ 4 w 17"/>
                      <a:gd name="T11" fmla="*/ 5 h 7"/>
                      <a:gd name="T12" fmla="*/ 4 w 17"/>
                      <a:gd name="T13" fmla="*/ 7 h 7"/>
                      <a:gd name="T14" fmla="*/ 5 w 17"/>
                      <a:gd name="T15" fmla="*/ 5 h 7"/>
                      <a:gd name="T16" fmla="*/ 5 w 17"/>
                      <a:gd name="T17" fmla="*/ 7 h 7"/>
                      <a:gd name="T18" fmla="*/ 9 w 17"/>
                      <a:gd name="T19" fmla="*/ 5 h 7"/>
                      <a:gd name="T20" fmla="*/ 9 w 17"/>
                      <a:gd name="T21" fmla="*/ 7 h 7"/>
                      <a:gd name="T22" fmla="*/ 10 w 17"/>
                      <a:gd name="T23" fmla="*/ 7 h 7"/>
                      <a:gd name="T24" fmla="*/ 12 w 17"/>
                      <a:gd name="T25" fmla="*/ 5 h 7"/>
                      <a:gd name="T26" fmla="*/ 14 w 17"/>
                      <a:gd name="T27" fmla="*/ 5 h 7"/>
                      <a:gd name="T28" fmla="*/ 15 w 17"/>
                      <a:gd name="T29" fmla="*/ 5 h 7"/>
                      <a:gd name="T30" fmla="*/ 15 w 17"/>
                      <a:gd name="T31" fmla="*/ 4 h 7"/>
                      <a:gd name="T32" fmla="*/ 17 w 17"/>
                      <a:gd name="T33" fmla="*/ 4 h 7"/>
                      <a:gd name="T34" fmla="*/ 17 w 17"/>
                      <a:gd name="T35" fmla="*/ 2 h 7"/>
                      <a:gd name="T36" fmla="*/ 15 w 17"/>
                      <a:gd name="T37" fmla="*/ 2 h 7"/>
                      <a:gd name="T38" fmla="*/ 14 w 17"/>
                      <a:gd name="T39" fmla="*/ 0 h 7"/>
                      <a:gd name="T40" fmla="*/ 12 w 17"/>
                      <a:gd name="T41" fmla="*/ 0 h 7"/>
                      <a:gd name="T42" fmla="*/ 12 w 17"/>
                      <a:gd name="T43" fmla="*/ 2 h 7"/>
                      <a:gd name="T44" fmla="*/ 10 w 17"/>
                      <a:gd name="T45" fmla="*/ 2 h 7"/>
                      <a:gd name="T46" fmla="*/ 9 w 17"/>
                      <a:gd name="T47" fmla="*/ 2 h 7"/>
                      <a:gd name="T48" fmla="*/ 9 w 17"/>
                      <a:gd name="T49" fmla="*/ 0 h 7"/>
                      <a:gd name="T50" fmla="*/ 9 w 17"/>
                      <a:gd name="T51" fmla="*/ 2 h 7"/>
                      <a:gd name="T52" fmla="*/ 7 w 17"/>
                      <a:gd name="T53" fmla="*/ 2 h 7"/>
                      <a:gd name="T54" fmla="*/ 7 w 17"/>
                      <a:gd name="T55" fmla="*/ 0 h 7"/>
                      <a:gd name="T56" fmla="*/ 7 w 17"/>
                      <a:gd name="T57" fmla="*/ 2 h 7"/>
                      <a:gd name="T58" fmla="*/ 5 w 17"/>
                      <a:gd name="T59" fmla="*/ 2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</a:cxnLst>
                    <a:rect l="0" t="0" r="r" b="b"/>
                    <a:pathLst>
                      <a:path w="17" h="7">
                        <a:moveTo>
                          <a:pt x="5" y="2"/>
                        </a:moveTo>
                        <a:lnTo>
                          <a:pt x="4" y="2"/>
                        </a:lnTo>
                        <a:lnTo>
                          <a:pt x="2" y="4"/>
                        </a:lnTo>
                        <a:lnTo>
                          <a:pt x="0" y="4"/>
                        </a:lnTo>
                        <a:lnTo>
                          <a:pt x="4" y="4"/>
                        </a:lnTo>
                        <a:lnTo>
                          <a:pt x="4" y="5"/>
                        </a:lnTo>
                        <a:lnTo>
                          <a:pt x="4" y="7"/>
                        </a:lnTo>
                        <a:lnTo>
                          <a:pt x="5" y="5"/>
                        </a:lnTo>
                        <a:lnTo>
                          <a:pt x="5" y="7"/>
                        </a:lnTo>
                        <a:lnTo>
                          <a:pt x="9" y="5"/>
                        </a:lnTo>
                        <a:lnTo>
                          <a:pt x="9" y="7"/>
                        </a:lnTo>
                        <a:lnTo>
                          <a:pt x="10" y="7"/>
                        </a:lnTo>
                        <a:lnTo>
                          <a:pt x="12" y="5"/>
                        </a:lnTo>
                        <a:lnTo>
                          <a:pt x="14" y="5"/>
                        </a:lnTo>
                        <a:lnTo>
                          <a:pt x="15" y="5"/>
                        </a:lnTo>
                        <a:lnTo>
                          <a:pt x="15" y="4"/>
                        </a:lnTo>
                        <a:lnTo>
                          <a:pt x="17" y="4"/>
                        </a:lnTo>
                        <a:lnTo>
                          <a:pt x="17" y="2"/>
                        </a:lnTo>
                        <a:lnTo>
                          <a:pt x="15" y="2"/>
                        </a:lnTo>
                        <a:lnTo>
                          <a:pt x="14" y="0"/>
                        </a:lnTo>
                        <a:lnTo>
                          <a:pt x="12" y="0"/>
                        </a:lnTo>
                        <a:lnTo>
                          <a:pt x="12" y="2"/>
                        </a:lnTo>
                        <a:lnTo>
                          <a:pt x="10" y="2"/>
                        </a:lnTo>
                        <a:lnTo>
                          <a:pt x="9" y="2"/>
                        </a:lnTo>
                        <a:lnTo>
                          <a:pt x="9" y="0"/>
                        </a:lnTo>
                        <a:lnTo>
                          <a:pt x="9" y="2"/>
                        </a:lnTo>
                        <a:lnTo>
                          <a:pt x="7" y="2"/>
                        </a:lnTo>
                        <a:lnTo>
                          <a:pt x="7" y="0"/>
                        </a:lnTo>
                        <a:lnTo>
                          <a:pt x="7" y="2"/>
                        </a:lnTo>
                        <a:lnTo>
                          <a:pt x="5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34" name="Freeform 208">
                    <a:extLst>
                      <a:ext uri="{FF2B5EF4-FFF2-40B4-BE49-F238E27FC236}">
                        <a16:creationId xmlns:a16="http://schemas.microsoft.com/office/drawing/2014/main" id="{3AA4F364-B88D-E147-A9E6-AB270F399A6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04" y="11"/>
                    <a:ext cx="17" cy="7"/>
                  </a:xfrm>
                  <a:custGeom>
                    <a:avLst/>
                    <a:gdLst>
                      <a:gd name="T0" fmla="*/ 5 w 17"/>
                      <a:gd name="T1" fmla="*/ 2 h 7"/>
                      <a:gd name="T2" fmla="*/ 4 w 17"/>
                      <a:gd name="T3" fmla="*/ 2 h 7"/>
                      <a:gd name="T4" fmla="*/ 2 w 17"/>
                      <a:gd name="T5" fmla="*/ 4 h 7"/>
                      <a:gd name="T6" fmla="*/ 0 w 17"/>
                      <a:gd name="T7" fmla="*/ 4 h 7"/>
                      <a:gd name="T8" fmla="*/ 4 w 17"/>
                      <a:gd name="T9" fmla="*/ 4 h 7"/>
                      <a:gd name="T10" fmla="*/ 4 w 17"/>
                      <a:gd name="T11" fmla="*/ 5 h 7"/>
                      <a:gd name="T12" fmla="*/ 4 w 17"/>
                      <a:gd name="T13" fmla="*/ 7 h 7"/>
                      <a:gd name="T14" fmla="*/ 5 w 17"/>
                      <a:gd name="T15" fmla="*/ 5 h 7"/>
                      <a:gd name="T16" fmla="*/ 5 w 17"/>
                      <a:gd name="T17" fmla="*/ 7 h 7"/>
                      <a:gd name="T18" fmla="*/ 9 w 17"/>
                      <a:gd name="T19" fmla="*/ 5 h 7"/>
                      <a:gd name="T20" fmla="*/ 9 w 17"/>
                      <a:gd name="T21" fmla="*/ 7 h 7"/>
                      <a:gd name="T22" fmla="*/ 10 w 17"/>
                      <a:gd name="T23" fmla="*/ 7 h 7"/>
                      <a:gd name="T24" fmla="*/ 12 w 17"/>
                      <a:gd name="T25" fmla="*/ 5 h 7"/>
                      <a:gd name="T26" fmla="*/ 14 w 17"/>
                      <a:gd name="T27" fmla="*/ 5 h 7"/>
                      <a:gd name="T28" fmla="*/ 15 w 17"/>
                      <a:gd name="T29" fmla="*/ 5 h 7"/>
                      <a:gd name="T30" fmla="*/ 15 w 17"/>
                      <a:gd name="T31" fmla="*/ 4 h 7"/>
                      <a:gd name="T32" fmla="*/ 17 w 17"/>
                      <a:gd name="T33" fmla="*/ 4 h 7"/>
                      <a:gd name="T34" fmla="*/ 17 w 17"/>
                      <a:gd name="T35" fmla="*/ 2 h 7"/>
                      <a:gd name="T36" fmla="*/ 15 w 17"/>
                      <a:gd name="T37" fmla="*/ 2 h 7"/>
                      <a:gd name="T38" fmla="*/ 14 w 17"/>
                      <a:gd name="T39" fmla="*/ 0 h 7"/>
                      <a:gd name="T40" fmla="*/ 12 w 17"/>
                      <a:gd name="T41" fmla="*/ 0 h 7"/>
                      <a:gd name="T42" fmla="*/ 12 w 17"/>
                      <a:gd name="T43" fmla="*/ 2 h 7"/>
                      <a:gd name="T44" fmla="*/ 10 w 17"/>
                      <a:gd name="T45" fmla="*/ 2 h 7"/>
                      <a:gd name="T46" fmla="*/ 9 w 17"/>
                      <a:gd name="T47" fmla="*/ 2 h 7"/>
                      <a:gd name="T48" fmla="*/ 9 w 17"/>
                      <a:gd name="T49" fmla="*/ 0 h 7"/>
                      <a:gd name="T50" fmla="*/ 9 w 17"/>
                      <a:gd name="T51" fmla="*/ 2 h 7"/>
                      <a:gd name="T52" fmla="*/ 7 w 17"/>
                      <a:gd name="T53" fmla="*/ 2 h 7"/>
                      <a:gd name="T54" fmla="*/ 7 w 17"/>
                      <a:gd name="T55" fmla="*/ 0 h 7"/>
                      <a:gd name="T56" fmla="*/ 7 w 17"/>
                      <a:gd name="T57" fmla="*/ 2 h 7"/>
                      <a:gd name="T58" fmla="*/ 5 w 17"/>
                      <a:gd name="T59" fmla="*/ 2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</a:cxnLst>
                    <a:rect l="0" t="0" r="r" b="b"/>
                    <a:pathLst>
                      <a:path w="17" h="7">
                        <a:moveTo>
                          <a:pt x="5" y="2"/>
                        </a:moveTo>
                        <a:lnTo>
                          <a:pt x="4" y="2"/>
                        </a:lnTo>
                        <a:lnTo>
                          <a:pt x="2" y="4"/>
                        </a:lnTo>
                        <a:lnTo>
                          <a:pt x="0" y="4"/>
                        </a:lnTo>
                        <a:lnTo>
                          <a:pt x="4" y="4"/>
                        </a:lnTo>
                        <a:lnTo>
                          <a:pt x="4" y="5"/>
                        </a:lnTo>
                        <a:lnTo>
                          <a:pt x="4" y="7"/>
                        </a:lnTo>
                        <a:lnTo>
                          <a:pt x="5" y="5"/>
                        </a:lnTo>
                        <a:lnTo>
                          <a:pt x="5" y="7"/>
                        </a:lnTo>
                        <a:lnTo>
                          <a:pt x="9" y="5"/>
                        </a:lnTo>
                        <a:lnTo>
                          <a:pt x="9" y="7"/>
                        </a:lnTo>
                        <a:lnTo>
                          <a:pt x="10" y="7"/>
                        </a:lnTo>
                        <a:lnTo>
                          <a:pt x="12" y="5"/>
                        </a:lnTo>
                        <a:lnTo>
                          <a:pt x="14" y="5"/>
                        </a:lnTo>
                        <a:lnTo>
                          <a:pt x="15" y="5"/>
                        </a:lnTo>
                        <a:lnTo>
                          <a:pt x="15" y="4"/>
                        </a:lnTo>
                        <a:lnTo>
                          <a:pt x="17" y="4"/>
                        </a:lnTo>
                        <a:lnTo>
                          <a:pt x="17" y="2"/>
                        </a:lnTo>
                        <a:lnTo>
                          <a:pt x="15" y="2"/>
                        </a:lnTo>
                        <a:lnTo>
                          <a:pt x="14" y="0"/>
                        </a:lnTo>
                        <a:lnTo>
                          <a:pt x="12" y="0"/>
                        </a:lnTo>
                        <a:lnTo>
                          <a:pt x="12" y="2"/>
                        </a:lnTo>
                        <a:lnTo>
                          <a:pt x="10" y="2"/>
                        </a:lnTo>
                        <a:lnTo>
                          <a:pt x="9" y="2"/>
                        </a:lnTo>
                        <a:lnTo>
                          <a:pt x="9" y="0"/>
                        </a:lnTo>
                        <a:lnTo>
                          <a:pt x="9" y="2"/>
                        </a:lnTo>
                        <a:lnTo>
                          <a:pt x="7" y="2"/>
                        </a:lnTo>
                        <a:lnTo>
                          <a:pt x="7" y="0"/>
                        </a:lnTo>
                        <a:lnTo>
                          <a:pt x="7" y="2"/>
                        </a:lnTo>
                        <a:lnTo>
                          <a:pt x="5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03" name="Group 1802">
                  <a:extLst>
                    <a:ext uri="{FF2B5EF4-FFF2-40B4-BE49-F238E27FC236}">
                      <a16:creationId xmlns:a16="http://schemas.microsoft.com/office/drawing/2014/main" id="{F647F65A-F272-1C41-9543-6BF593626776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19" y="16"/>
                  <a:ext cx="11" cy="7"/>
                  <a:chOff x="519" y="16"/>
                  <a:chExt cx="11" cy="7"/>
                </a:xfrm>
              </p:grpSpPr>
              <p:sp>
                <p:nvSpPr>
                  <p:cNvPr id="1831" name="Freeform 205">
                    <a:extLst>
                      <a:ext uri="{FF2B5EF4-FFF2-40B4-BE49-F238E27FC236}">
                        <a16:creationId xmlns:a16="http://schemas.microsoft.com/office/drawing/2014/main" id="{03AAE529-B0CC-E74C-B832-6E5689516A6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9" y="16"/>
                    <a:ext cx="11" cy="7"/>
                  </a:xfrm>
                  <a:custGeom>
                    <a:avLst/>
                    <a:gdLst>
                      <a:gd name="T0" fmla="*/ 9 w 11"/>
                      <a:gd name="T1" fmla="*/ 4 h 7"/>
                      <a:gd name="T2" fmla="*/ 11 w 11"/>
                      <a:gd name="T3" fmla="*/ 2 h 7"/>
                      <a:gd name="T4" fmla="*/ 9 w 11"/>
                      <a:gd name="T5" fmla="*/ 2 h 7"/>
                      <a:gd name="T6" fmla="*/ 9 w 11"/>
                      <a:gd name="T7" fmla="*/ 0 h 7"/>
                      <a:gd name="T8" fmla="*/ 7 w 11"/>
                      <a:gd name="T9" fmla="*/ 0 h 7"/>
                      <a:gd name="T10" fmla="*/ 5 w 11"/>
                      <a:gd name="T11" fmla="*/ 0 h 7"/>
                      <a:gd name="T12" fmla="*/ 4 w 11"/>
                      <a:gd name="T13" fmla="*/ 0 h 7"/>
                      <a:gd name="T14" fmla="*/ 2 w 11"/>
                      <a:gd name="T15" fmla="*/ 2 h 7"/>
                      <a:gd name="T16" fmla="*/ 0 w 11"/>
                      <a:gd name="T17" fmla="*/ 2 h 7"/>
                      <a:gd name="T18" fmla="*/ 0 w 11"/>
                      <a:gd name="T19" fmla="*/ 4 h 7"/>
                      <a:gd name="T20" fmla="*/ 0 w 11"/>
                      <a:gd name="T21" fmla="*/ 6 h 7"/>
                      <a:gd name="T22" fmla="*/ 2 w 11"/>
                      <a:gd name="T23" fmla="*/ 7 h 7"/>
                      <a:gd name="T24" fmla="*/ 4 w 11"/>
                      <a:gd name="T25" fmla="*/ 7 h 7"/>
                      <a:gd name="T26" fmla="*/ 5 w 11"/>
                      <a:gd name="T27" fmla="*/ 7 h 7"/>
                      <a:gd name="T28" fmla="*/ 5 w 11"/>
                      <a:gd name="T29" fmla="*/ 6 h 7"/>
                      <a:gd name="T30" fmla="*/ 7 w 11"/>
                      <a:gd name="T31" fmla="*/ 6 h 7"/>
                      <a:gd name="T32" fmla="*/ 9 w 11"/>
                      <a:gd name="T33" fmla="*/ 4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11" h="7">
                        <a:moveTo>
                          <a:pt x="9" y="4"/>
                        </a:moveTo>
                        <a:lnTo>
                          <a:pt x="11" y="2"/>
                        </a:lnTo>
                        <a:lnTo>
                          <a:pt x="9" y="2"/>
                        </a:lnTo>
                        <a:lnTo>
                          <a:pt x="9" y="0"/>
                        </a:lnTo>
                        <a:lnTo>
                          <a:pt x="7" y="0"/>
                        </a:lnTo>
                        <a:lnTo>
                          <a:pt x="5" y="0"/>
                        </a:lnTo>
                        <a:lnTo>
                          <a:pt x="4" y="0"/>
                        </a:lnTo>
                        <a:lnTo>
                          <a:pt x="2" y="2"/>
                        </a:lnTo>
                        <a:lnTo>
                          <a:pt x="0" y="2"/>
                        </a:lnTo>
                        <a:lnTo>
                          <a:pt x="0" y="4"/>
                        </a:lnTo>
                        <a:lnTo>
                          <a:pt x="0" y="6"/>
                        </a:lnTo>
                        <a:lnTo>
                          <a:pt x="2" y="7"/>
                        </a:lnTo>
                        <a:lnTo>
                          <a:pt x="4" y="7"/>
                        </a:lnTo>
                        <a:lnTo>
                          <a:pt x="5" y="7"/>
                        </a:lnTo>
                        <a:lnTo>
                          <a:pt x="5" y="6"/>
                        </a:lnTo>
                        <a:lnTo>
                          <a:pt x="7" y="6"/>
                        </a:lnTo>
                        <a:lnTo>
                          <a:pt x="9" y="4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32" name="Freeform 206">
                    <a:extLst>
                      <a:ext uri="{FF2B5EF4-FFF2-40B4-BE49-F238E27FC236}">
                        <a16:creationId xmlns:a16="http://schemas.microsoft.com/office/drawing/2014/main" id="{B7A0BB41-AC2B-A140-8BD0-AD8670D315B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9" y="16"/>
                    <a:ext cx="11" cy="7"/>
                  </a:xfrm>
                  <a:custGeom>
                    <a:avLst/>
                    <a:gdLst>
                      <a:gd name="T0" fmla="*/ 9 w 11"/>
                      <a:gd name="T1" fmla="*/ 4 h 7"/>
                      <a:gd name="T2" fmla="*/ 11 w 11"/>
                      <a:gd name="T3" fmla="*/ 2 h 7"/>
                      <a:gd name="T4" fmla="*/ 9 w 11"/>
                      <a:gd name="T5" fmla="*/ 2 h 7"/>
                      <a:gd name="T6" fmla="*/ 9 w 11"/>
                      <a:gd name="T7" fmla="*/ 0 h 7"/>
                      <a:gd name="T8" fmla="*/ 7 w 11"/>
                      <a:gd name="T9" fmla="*/ 0 h 7"/>
                      <a:gd name="T10" fmla="*/ 5 w 11"/>
                      <a:gd name="T11" fmla="*/ 0 h 7"/>
                      <a:gd name="T12" fmla="*/ 4 w 11"/>
                      <a:gd name="T13" fmla="*/ 0 h 7"/>
                      <a:gd name="T14" fmla="*/ 2 w 11"/>
                      <a:gd name="T15" fmla="*/ 2 h 7"/>
                      <a:gd name="T16" fmla="*/ 0 w 11"/>
                      <a:gd name="T17" fmla="*/ 2 h 7"/>
                      <a:gd name="T18" fmla="*/ 0 w 11"/>
                      <a:gd name="T19" fmla="*/ 4 h 7"/>
                      <a:gd name="T20" fmla="*/ 0 w 11"/>
                      <a:gd name="T21" fmla="*/ 6 h 7"/>
                      <a:gd name="T22" fmla="*/ 2 w 11"/>
                      <a:gd name="T23" fmla="*/ 7 h 7"/>
                      <a:gd name="T24" fmla="*/ 4 w 11"/>
                      <a:gd name="T25" fmla="*/ 7 h 7"/>
                      <a:gd name="T26" fmla="*/ 5 w 11"/>
                      <a:gd name="T27" fmla="*/ 7 h 7"/>
                      <a:gd name="T28" fmla="*/ 5 w 11"/>
                      <a:gd name="T29" fmla="*/ 6 h 7"/>
                      <a:gd name="T30" fmla="*/ 7 w 11"/>
                      <a:gd name="T31" fmla="*/ 6 h 7"/>
                      <a:gd name="T32" fmla="*/ 9 w 11"/>
                      <a:gd name="T33" fmla="*/ 4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11" h="7">
                        <a:moveTo>
                          <a:pt x="9" y="4"/>
                        </a:moveTo>
                        <a:lnTo>
                          <a:pt x="11" y="2"/>
                        </a:lnTo>
                        <a:lnTo>
                          <a:pt x="9" y="2"/>
                        </a:lnTo>
                        <a:lnTo>
                          <a:pt x="9" y="0"/>
                        </a:lnTo>
                        <a:lnTo>
                          <a:pt x="7" y="0"/>
                        </a:lnTo>
                        <a:lnTo>
                          <a:pt x="5" y="0"/>
                        </a:lnTo>
                        <a:lnTo>
                          <a:pt x="4" y="0"/>
                        </a:lnTo>
                        <a:lnTo>
                          <a:pt x="2" y="2"/>
                        </a:lnTo>
                        <a:lnTo>
                          <a:pt x="0" y="2"/>
                        </a:lnTo>
                        <a:lnTo>
                          <a:pt x="0" y="4"/>
                        </a:lnTo>
                        <a:lnTo>
                          <a:pt x="0" y="6"/>
                        </a:lnTo>
                        <a:lnTo>
                          <a:pt x="2" y="7"/>
                        </a:lnTo>
                        <a:lnTo>
                          <a:pt x="4" y="7"/>
                        </a:lnTo>
                        <a:lnTo>
                          <a:pt x="5" y="7"/>
                        </a:lnTo>
                        <a:lnTo>
                          <a:pt x="5" y="6"/>
                        </a:lnTo>
                        <a:lnTo>
                          <a:pt x="7" y="6"/>
                        </a:lnTo>
                        <a:lnTo>
                          <a:pt x="9" y="4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04" name="Group 1803">
                  <a:extLst>
                    <a:ext uri="{FF2B5EF4-FFF2-40B4-BE49-F238E27FC236}">
                      <a16:creationId xmlns:a16="http://schemas.microsoft.com/office/drawing/2014/main" id="{8B0AA509-EF85-C446-8975-294C7236D5E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1" y="11"/>
                  <a:ext cx="5" cy="7"/>
                  <a:chOff x="531" y="11"/>
                  <a:chExt cx="5" cy="7"/>
                </a:xfrm>
              </p:grpSpPr>
              <p:sp>
                <p:nvSpPr>
                  <p:cNvPr id="1829" name="Freeform 203">
                    <a:extLst>
                      <a:ext uri="{FF2B5EF4-FFF2-40B4-BE49-F238E27FC236}">
                        <a16:creationId xmlns:a16="http://schemas.microsoft.com/office/drawing/2014/main" id="{677A22DD-C89D-8A41-ABE5-ABAC37C5B81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1" y="11"/>
                    <a:ext cx="5" cy="7"/>
                  </a:xfrm>
                  <a:custGeom>
                    <a:avLst/>
                    <a:gdLst>
                      <a:gd name="T0" fmla="*/ 5 w 5"/>
                      <a:gd name="T1" fmla="*/ 5 h 7"/>
                      <a:gd name="T2" fmla="*/ 5 w 5"/>
                      <a:gd name="T3" fmla="*/ 4 h 7"/>
                      <a:gd name="T4" fmla="*/ 5 w 5"/>
                      <a:gd name="T5" fmla="*/ 2 h 7"/>
                      <a:gd name="T6" fmla="*/ 2 w 5"/>
                      <a:gd name="T7" fmla="*/ 0 h 7"/>
                      <a:gd name="T8" fmla="*/ 0 w 5"/>
                      <a:gd name="T9" fmla="*/ 0 h 7"/>
                      <a:gd name="T10" fmla="*/ 0 w 5"/>
                      <a:gd name="T11" fmla="*/ 4 h 7"/>
                      <a:gd name="T12" fmla="*/ 2 w 5"/>
                      <a:gd name="T13" fmla="*/ 5 h 7"/>
                      <a:gd name="T14" fmla="*/ 2 w 5"/>
                      <a:gd name="T15" fmla="*/ 7 h 7"/>
                      <a:gd name="T16" fmla="*/ 4 w 5"/>
                      <a:gd name="T17" fmla="*/ 5 h 7"/>
                      <a:gd name="T18" fmla="*/ 5 w 5"/>
                      <a:gd name="T19" fmla="*/ 5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" h="7">
                        <a:moveTo>
                          <a:pt x="5" y="5"/>
                        </a:moveTo>
                        <a:lnTo>
                          <a:pt x="5" y="4"/>
                        </a:lnTo>
                        <a:lnTo>
                          <a:pt x="5" y="2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2" y="5"/>
                        </a:lnTo>
                        <a:lnTo>
                          <a:pt x="2" y="7"/>
                        </a:lnTo>
                        <a:lnTo>
                          <a:pt x="4" y="5"/>
                        </a:lnTo>
                        <a:lnTo>
                          <a:pt x="5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30" name="Freeform 204">
                    <a:extLst>
                      <a:ext uri="{FF2B5EF4-FFF2-40B4-BE49-F238E27FC236}">
                        <a16:creationId xmlns:a16="http://schemas.microsoft.com/office/drawing/2014/main" id="{6503B4E4-7D8D-8F45-96B8-988454A1033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1" y="11"/>
                    <a:ext cx="5" cy="7"/>
                  </a:xfrm>
                  <a:custGeom>
                    <a:avLst/>
                    <a:gdLst>
                      <a:gd name="T0" fmla="*/ 5 w 5"/>
                      <a:gd name="T1" fmla="*/ 5 h 7"/>
                      <a:gd name="T2" fmla="*/ 5 w 5"/>
                      <a:gd name="T3" fmla="*/ 4 h 7"/>
                      <a:gd name="T4" fmla="*/ 5 w 5"/>
                      <a:gd name="T5" fmla="*/ 2 h 7"/>
                      <a:gd name="T6" fmla="*/ 2 w 5"/>
                      <a:gd name="T7" fmla="*/ 0 h 7"/>
                      <a:gd name="T8" fmla="*/ 0 w 5"/>
                      <a:gd name="T9" fmla="*/ 0 h 7"/>
                      <a:gd name="T10" fmla="*/ 0 w 5"/>
                      <a:gd name="T11" fmla="*/ 4 h 7"/>
                      <a:gd name="T12" fmla="*/ 2 w 5"/>
                      <a:gd name="T13" fmla="*/ 5 h 7"/>
                      <a:gd name="T14" fmla="*/ 2 w 5"/>
                      <a:gd name="T15" fmla="*/ 7 h 7"/>
                      <a:gd name="T16" fmla="*/ 4 w 5"/>
                      <a:gd name="T17" fmla="*/ 5 h 7"/>
                      <a:gd name="T18" fmla="*/ 5 w 5"/>
                      <a:gd name="T19" fmla="*/ 5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" h="7">
                        <a:moveTo>
                          <a:pt x="5" y="5"/>
                        </a:moveTo>
                        <a:lnTo>
                          <a:pt x="5" y="4"/>
                        </a:lnTo>
                        <a:lnTo>
                          <a:pt x="5" y="2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4"/>
                        </a:lnTo>
                        <a:lnTo>
                          <a:pt x="2" y="5"/>
                        </a:lnTo>
                        <a:lnTo>
                          <a:pt x="2" y="7"/>
                        </a:lnTo>
                        <a:lnTo>
                          <a:pt x="4" y="5"/>
                        </a:lnTo>
                        <a:lnTo>
                          <a:pt x="5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05" name="Group 1804">
                  <a:extLst>
                    <a:ext uri="{FF2B5EF4-FFF2-40B4-BE49-F238E27FC236}">
                      <a16:creationId xmlns:a16="http://schemas.microsoft.com/office/drawing/2014/main" id="{D63128AF-3C6C-D144-A380-E825994047B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55" y="0"/>
                  <a:ext cx="12" cy="5"/>
                  <a:chOff x="555" y="0"/>
                  <a:chExt cx="12" cy="5"/>
                </a:xfrm>
              </p:grpSpPr>
              <p:sp>
                <p:nvSpPr>
                  <p:cNvPr id="1827" name="Freeform 201">
                    <a:extLst>
                      <a:ext uri="{FF2B5EF4-FFF2-40B4-BE49-F238E27FC236}">
                        <a16:creationId xmlns:a16="http://schemas.microsoft.com/office/drawing/2014/main" id="{D6CE4F31-971F-A642-BCF8-6BB29689859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" y="0"/>
                    <a:ext cx="12" cy="5"/>
                  </a:xfrm>
                  <a:custGeom>
                    <a:avLst/>
                    <a:gdLst>
                      <a:gd name="T0" fmla="*/ 8 w 12"/>
                      <a:gd name="T1" fmla="*/ 1 h 5"/>
                      <a:gd name="T2" fmla="*/ 7 w 12"/>
                      <a:gd name="T3" fmla="*/ 0 h 5"/>
                      <a:gd name="T4" fmla="*/ 7 w 12"/>
                      <a:gd name="T5" fmla="*/ 1 h 5"/>
                      <a:gd name="T6" fmla="*/ 5 w 12"/>
                      <a:gd name="T7" fmla="*/ 1 h 5"/>
                      <a:gd name="T8" fmla="*/ 3 w 12"/>
                      <a:gd name="T9" fmla="*/ 1 h 5"/>
                      <a:gd name="T10" fmla="*/ 2 w 12"/>
                      <a:gd name="T11" fmla="*/ 1 h 5"/>
                      <a:gd name="T12" fmla="*/ 0 w 12"/>
                      <a:gd name="T13" fmla="*/ 3 h 5"/>
                      <a:gd name="T14" fmla="*/ 3 w 12"/>
                      <a:gd name="T15" fmla="*/ 3 h 5"/>
                      <a:gd name="T16" fmla="*/ 5 w 12"/>
                      <a:gd name="T17" fmla="*/ 3 h 5"/>
                      <a:gd name="T18" fmla="*/ 2 w 12"/>
                      <a:gd name="T19" fmla="*/ 5 h 5"/>
                      <a:gd name="T20" fmla="*/ 3 w 12"/>
                      <a:gd name="T21" fmla="*/ 5 h 5"/>
                      <a:gd name="T22" fmla="*/ 5 w 12"/>
                      <a:gd name="T23" fmla="*/ 5 h 5"/>
                      <a:gd name="T24" fmla="*/ 7 w 12"/>
                      <a:gd name="T25" fmla="*/ 5 h 5"/>
                      <a:gd name="T26" fmla="*/ 8 w 12"/>
                      <a:gd name="T27" fmla="*/ 5 h 5"/>
                      <a:gd name="T28" fmla="*/ 10 w 12"/>
                      <a:gd name="T29" fmla="*/ 5 h 5"/>
                      <a:gd name="T30" fmla="*/ 12 w 12"/>
                      <a:gd name="T31" fmla="*/ 5 h 5"/>
                      <a:gd name="T32" fmla="*/ 12 w 12"/>
                      <a:gd name="T33" fmla="*/ 3 h 5"/>
                      <a:gd name="T34" fmla="*/ 10 w 12"/>
                      <a:gd name="T35" fmla="*/ 3 h 5"/>
                      <a:gd name="T36" fmla="*/ 10 w 12"/>
                      <a:gd name="T37" fmla="*/ 1 h 5"/>
                      <a:gd name="T38" fmla="*/ 8 w 12"/>
                      <a:gd name="T39" fmla="*/ 1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12" h="5">
                        <a:moveTo>
                          <a:pt x="8" y="1"/>
                        </a:moveTo>
                        <a:lnTo>
                          <a:pt x="7" y="0"/>
                        </a:lnTo>
                        <a:lnTo>
                          <a:pt x="7" y="1"/>
                        </a:lnTo>
                        <a:lnTo>
                          <a:pt x="5" y="1"/>
                        </a:lnTo>
                        <a:lnTo>
                          <a:pt x="3" y="1"/>
                        </a:lnTo>
                        <a:lnTo>
                          <a:pt x="2" y="1"/>
                        </a:lnTo>
                        <a:lnTo>
                          <a:pt x="0" y="3"/>
                        </a:lnTo>
                        <a:lnTo>
                          <a:pt x="3" y="3"/>
                        </a:lnTo>
                        <a:lnTo>
                          <a:pt x="5" y="3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5" y="5"/>
                        </a:lnTo>
                        <a:lnTo>
                          <a:pt x="7" y="5"/>
                        </a:lnTo>
                        <a:lnTo>
                          <a:pt x="8" y="5"/>
                        </a:lnTo>
                        <a:lnTo>
                          <a:pt x="10" y="5"/>
                        </a:lnTo>
                        <a:lnTo>
                          <a:pt x="12" y="5"/>
                        </a:lnTo>
                        <a:lnTo>
                          <a:pt x="12" y="3"/>
                        </a:lnTo>
                        <a:lnTo>
                          <a:pt x="10" y="3"/>
                        </a:lnTo>
                        <a:lnTo>
                          <a:pt x="10" y="1"/>
                        </a:lnTo>
                        <a:lnTo>
                          <a:pt x="8" y="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28" name="Freeform 202">
                    <a:extLst>
                      <a:ext uri="{FF2B5EF4-FFF2-40B4-BE49-F238E27FC236}">
                        <a16:creationId xmlns:a16="http://schemas.microsoft.com/office/drawing/2014/main" id="{81771C0E-D4F4-A646-93B5-83FFD38B8C6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" y="0"/>
                    <a:ext cx="12" cy="5"/>
                  </a:xfrm>
                  <a:custGeom>
                    <a:avLst/>
                    <a:gdLst>
                      <a:gd name="T0" fmla="*/ 8 w 12"/>
                      <a:gd name="T1" fmla="*/ 1 h 5"/>
                      <a:gd name="T2" fmla="*/ 7 w 12"/>
                      <a:gd name="T3" fmla="*/ 0 h 5"/>
                      <a:gd name="T4" fmla="*/ 7 w 12"/>
                      <a:gd name="T5" fmla="*/ 1 h 5"/>
                      <a:gd name="T6" fmla="*/ 5 w 12"/>
                      <a:gd name="T7" fmla="*/ 1 h 5"/>
                      <a:gd name="T8" fmla="*/ 3 w 12"/>
                      <a:gd name="T9" fmla="*/ 1 h 5"/>
                      <a:gd name="T10" fmla="*/ 2 w 12"/>
                      <a:gd name="T11" fmla="*/ 1 h 5"/>
                      <a:gd name="T12" fmla="*/ 0 w 12"/>
                      <a:gd name="T13" fmla="*/ 3 h 5"/>
                      <a:gd name="T14" fmla="*/ 3 w 12"/>
                      <a:gd name="T15" fmla="*/ 3 h 5"/>
                      <a:gd name="T16" fmla="*/ 5 w 12"/>
                      <a:gd name="T17" fmla="*/ 3 h 5"/>
                      <a:gd name="T18" fmla="*/ 2 w 12"/>
                      <a:gd name="T19" fmla="*/ 5 h 5"/>
                      <a:gd name="T20" fmla="*/ 3 w 12"/>
                      <a:gd name="T21" fmla="*/ 5 h 5"/>
                      <a:gd name="T22" fmla="*/ 5 w 12"/>
                      <a:gd name="T23" fmla="*/ 5 h 5"/>
                      <a:gd name="T24" fmla="*/ 7 w 12"/>
                      <a:gd name="T25" fmla="*/ 5 h 5"/>
                      <a:gd name="T26" fmla="*/ 8 w 12"/>
                      <a:gd name="T27" fmla="*/ 5 h 5"/>
                      <a:gd name="T28" fmla="*/ 10 w 12"/>
                      <a:gd name="T29" fmla="*/ 5 h 5"/>
                      <a:gd name="T30" fmla="*/ 12 w 12"/>
                      <a:gd name="T31" fmla="*/ 5 h 5"/>
                      <a:gd name="T32" fmla="*/ 12 w 12"/>
                      <a:gd name="T33" fmla="*/ 3 h 5"/>
                      <a:gd name="T34" fmla="*/ 10 w 12"/>
                      <a:gd name="T35" fmla="*/ 3 h 5"/>
                      <a:gd name="T36" fmla="*/ 10 w 12"/>
                      <a:gd name="T37" fmla="*/ 1 h 5"/>
                      <a:gd name="T38" fmla="*/ 8 w 12"/>
                      <a:gd name="T39" fmla="*/ 1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12" h="5">
                        <a:moveTo>
                          <a:pt x="8" y="1"/>
                        </a:moveTo>
                        <a:lnTo>
                          <a:pt x="7" y="0"/>
                        </a:lnTo>
                        <a:lnTo>
                          <a:pt x="7" y="1"/>
                        </a:lnTo>
                        <a:lnTo>
                          <a:pt x="5" y="1"/>
                        </a:lnTo>
                        <a:lnTo>
                          <a:pt x="3" y="1"/>
                        </a:lnTo>
                        <a:lnTo>
                          <a:pt x="2" y="1"/>
                        </a:lnTo>
                        <a:lnTo>
                          <a:pt x="0" y="3"/>
                        </a:lnTo>
                        <a:lnTo>
                          <a:pt x="3" y="3"/>
                        </a:lnTo>
                        <a:lnTo>
                          <a:pt x="5" y="3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5" y="5"/>
                        </a:lnTo>
                        <a:lnTo>
                          <a:pt x="7" y="5"/>
                        </a:lnTo>
                        <a:lnTo>
                          <a:pt x="8" y="5"/>
                        </a:lnTo>
                        <a:lnTo>
                          <a:pt x="10" y="5"/>
                        </a:lnTo>
                        <a:lnTo>
                          <a:pt x="12" y="5"/>
                        </a:lnTo>
                        <a:lnTo>
                          <a:pt x="12" y="3"/>
                        </a:lnTo>
                        <a:lnTo>
                          <a:pt x="10" y="3"/>
                        </a:lnTo>
                        <a:lnTo>
                          <a:pt x="10" y="1"/>
                        </a:lnTo>
                        <a:lnTo>
                          <a:pt x="8" y="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06" name="Group 1805">
                  <a:extLst>
                    <a:ext uri="{FF2B5EF4-FFF2-40B4-BE49-F238E27FC236}">
                      <a16:creationId xmlns:a16="http://schemas.microsoft.com/office/drawing/2014/main" id="{1B12E9ED-793D-5A44-96E8-C4F3E15CD674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94" y="197"/>
                  <a:ext cx="11" cy="5"/>
                  <a:chOff x="294" y="197"/>
                  <a:chExt cx="11" cy="5"/>
                </a:xfrm>
              </p:grpSpPr>
              <p:sp>
                <p:nvSpPr>
                  <p:cNvPr id="1825" name="Freeform 199">
                    <a:extLst>
                      <a:ext uri="{FF2B5EF4-FFF2-40B4-BE49-F238E27FC236}">
                        <a16:creationId xmlns:a16="http://schemas.microsoft.com/office/drawing/2014/main" id="{07E26755-550D-0F4A-808B-952C0C1888F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4" y="197"/>
                    <a:ext cx="11" cy="5"/>
                  </a:xfrm>
                  <a:custGeom>
                    <a:avLst/>
                    <a:gdLst>
                      <a:gd name="T0" fmla="*/ 0 w 11"/>
                      <a:gd name="T1" fmla="*/ 5 h 5"/>
                      <a:gd name="T2" fmla="*/ 1 w 11"/>
                      <a:gd name="T3" fmla="*/ 5 h 5"/>
                      <a:gd name="T4" fmla="*/ 5 w 11"/>
                      <a:gd name="T5" fmla="*/ 3 h 5"/>
                      <a:gd name="T6" fmla="*/ 8 w 11"/>
                      <a:gd name="T7" fmla="*/ 3 h 5"/>
                      <a:gd name="T8" fmla="*/ 11 w 11"/>
                      <a:gd name="T9" fmla="*/ 3 h 5"/>
                      <a:gd name="T10" fmla="*/ 10 w 11"/>
                      <a:gd name="T11" fmla="*/ 2 h 5"/>
                      <a:gd name="T12" fmla="*/ 10 w 11"/>
                      <a:gd name="T13" fmla="*/ 0 h 5"/>
                      <a:gd name="T14" fmla="*/ 6 w 11"/>
                      <a:gd name="T15" fmla="*/ 0 h 5"/>
                      <a:gd name="T16" fmla="*/ 5 w 11"/>
                      <a:gd name="T17" fmla="*/ 0 h 5"/>
                      <a:gd name="T18" fmla="*/ 3 w 11"/>
                      <a:gd name="T19" fmla="*/ 2 h 5"/>
                      <a:gd name="T20" fmla="*/ 1 w 11"/>
                      <a:gd name="T21" fmla="*/ 3 h 5"/>
                      <a:gd name="T22" fmla="*/ 0 w 11"/>
                      <a:gd name="T23" fmla="*/ 2 h 5"/>
                      <a:gd name="T24" fmla="*/ 0 w 11"/>
                      <a:gd name="T25" fmla="*/ 3 h 5"/>
                      <a:gd name="T26" fmla="*/ 0 w 11"/>
                      <a:gd name="T27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11" h="5">
                        <a:moveTo>
                          <a:pt x="0" y="5"/>
                        </a:moveTo>
                        <a:lnTo>
                          <a:pt x="1" y="5"/>
                        </a:lnTo>
                        <a:lnTo>
                          <a:pt x="5" y="3"/>
                        </a:lnTo>
                        <a:lnTo>
                          <a:pt x="8" y="3"/>
                        </a:lnTo>
                        <a:lnTo>
                          <a:pt x="11" y="3"/>
                        </a:lnTo>
                        <a:lnTo>
                          <a:pt x="10" y="2"/>
                        </a:lnTo>
                        <a:lnTo>
                          <a:pt x="10" y="0"/>
                        </a:lnTo>
                        <a:lnTo>
                          <a:pt x="6" y="0"/>
                        </a:lnTo>
                        <a:lnTo>
                          <a:pt x="5" y="0"/>
                        </a:lnTo>
                        <a:lnTo>
                          <a:pt x="3" y="2"/>
                        </a:lnTo>
                        <a:lnTo>
                          <a:pt x="1" y="3"/>
                        </a:lnTo>
                        <a:lnTo>
                          <a:pt x="0" y="2"/>
                        </a:lnTo>
                        <a:lnTo>
                          <a:pt x="0" y="3"/>
                        </a:lnTo>
                        <a:lnTo>
                          <a:pt x="0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26" name="Freeform 200">
                    <a:extLst>
                      <a:ext uri="{FF2B5EF4-FFF2-40B4-BE49-F238E27FC236}">
                        <a16:creationId xmlns:a16="http://schemas.microsoft.com/office/drawing/2014/main" id="{45FAA9B9-262F-9143-AD11-8358FFF9E70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4" y="197"/>
                    <a:ext cx="11" cy="5"/>
                  </a:xfrm>
                  <a:custGeom>
                    <a:avLst/>
                    <a:gdLst>
                      <a:gd name="T0" fmla="*/ 0 w 11"/>
                      <a:gd name="T1" fmla="*/ 5 h 5"/>
                      <a:gd name="T2" fmla="*/ 1 w 11"/>
                      <a:gd name="T3" fmla="*/ 5 h 5"/>
                      <a:gd name="T4" fmla="*/ 5 w 11"/>
                      <a:gd name="T5" fmla="*/ 3 h 5"/>
                      <a:gd name="T6" fmla="*/ 8 w 11"/>
                      <a:gd name="T7" fmla="*/ 3 h 5"/>
                      <a:gd name="T8" fmla="*/ 11 w 11"/>
                      <a:gd name="T9" fmla="*/ 3 h 5"/>
                      <a:gd name="T10" fmla="*/ 10 w 11"/>
                      <a:gd name="T11" fmla="*/ 2 h 5"/>
                      <a:gd name="T12" fmla="*/ 10 w 11"/>
                      <a:gd name="T13" fmla="*/ 0 h 5"/>
                      <a:gd name="T14" fmla="*/ 6 w 11"/>
                      <a:gd name="T15" fmla="*/ 0 h 5"/>
                      <a:gd name="T16" fmla="*/ 5 w 11"/>
                      <a:gd name="T17" fmla="*/ 0 h 5"/>
                      <a:gd name="T18" fmla="*/ 3 w 11"/>
                      <a:gd name="T19" fmla="*/ 2 h 5"/>
                      <a:gd name="T20" fmla="*/ 1 w 11"/>
                      <a:gd name="T21" fmla="*/ 3 h 5"/>
                      <a:gd name="T22" fmla="*/ 0 w 11"/>
                      <a:gd name="T23" fmla="*/ 2 h 5"/>
                      <a:gd name="T24" fmla="*/ 0 w 11"/>
                      <a:gd name="T25" fmla="*/ 3 h 5"/>
                      <a:gd name="T26" fmla="*/ 0 w 11"/>
                      <a:gd name="T27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11" h="5">
                        <a:moveTo>
                          <a:pt x="0" y="5"/>
                        </a:moveTo>
                        <a:lnTo>
                          <a:pt x="1" y="5"/>
                        </a:lnTo>
                        <a:lnTo>
                          <a:pt x="5" y="3"/>
                        </a:lnTo>
                        <a:lnTo>
                          <a:pt x="8" y="3"/>
                        </a:lnTo>
                        <a:lnTo>
                          <a:pt x="11" y="3"/>
                        </a:lnTo>
                        <a:lnTo>
                          <a:pt x="10" y="2"/>
                        </a:lnTo>
                        <a:lnTo>
                          <a:pt x="10" y="0"/>
                        </a:lnTo>
                        <a:lnTo>
                          <a:pt x="6" y="0"/>
                        </a:lnTo>
                        <a:lnTo>
                          <a:pt x="5" y="0"/>
                        </a:lnTo>
                        <a:lnTo>
                          <a:pt x="3" y="2"/>
                        </a:lnTo>
                        <a:lnTo>
                          <a:pt x="1" y="3"/>
                        </a:lnTo>
                        <a:lnTo>
                          <a:pt x="0" y="2"/>
                        </a:lnTo>
                        <a:lnTo>
                          <a:pt x="0" y="3"/>
                        </a:lnTo>
                        <a:lnTo>
                          <a:pt x="0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07" name="Group 1806">
                  <a:extLst>
                    <a:ext uri="{FF2B5EF4-FFF2-40B4-BE49-F238E27FC236}">
                      <a16:creationId xmlns:a16="http://schemas.microsoft.com/office/drawing/2014/main" id="{39EEEC6B-B271-344A-87D4-0D55141F20D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34" y="259"/>
                  <a:ext cx="4" cy="4"/>
                  <a:chOff x="234" y="259"/>
                  <a:chExt cx="4" cy="4"/>
                </a:xfrm>
              </p:grpSpPr>
              <p:sp>
                <p:nvSpPr>
                  <p:cNvPr id="1823" name="Freeform 197">
                    <a:extLst>
                      <a:ext uri="{FF2B5EF4-FFF2-40B4-BE49-F238E27FC236}">
                        <a16:creationId xmlns:a16="http://schemas.microsoft.com/office/drawing/2014/main" id="{0326622F-E188-D641-83FD-FE260213E22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4" y="259"/>
                    <a:ext cx="4" cy="4"/>
                  </a:xfrm>
                  <a:custGeom>
                    <a:avLst/>
                    <a:gdLst>
                      <a:gd name="T0" fmla="*/ 4 w 4"/>
                      <a:gd name="T1" fmla="*/ 0 h 4"/>
                      <a:gd name="T2" fmla="*/ 4 w 4"/>
                      <a:gd name="T3" fmla="*/ 2 h 4"/>
                      <a:gd name="T4" fmla="*/ 4 w 4"/>
                      <a:gd name="T5" fmla="*/ 4 h 4"/>
                      <a:gd name="T6" fmla="*/ 2 w 4"/>
                      <a:gd name="T7" fmla="*/ 4 h 4"/>
                      <a:gd name="T8" fmla="*/ 0 w 4"/>
                      <a:gd name="T9" fmla="*/ 4 h 4"/>
                      <a:gd name="T10" fmla="*/ 0 w 4"/>
                      <a:gd name="T11" fmla="*/ 2 h 4"/>
                      <a:gd name="T12" fmla="*/ 2 w 4"/>
                      <a:gd name="T13" fmla="*/ 2 h 4"/>
                      <a:gd name="T14" fmla="*/ 2 w 4"/>
                      <a:gd name="T15" fmla="*/ 0 h 4"/>
                      <a:gd name="T16" fmla="*/ 4 w 4"/>
                      <a:gd name="T17" fmla="*/ 0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" h="4">
                        <a:moveTo>
                          <a:pt x="4" y="0"/>
                        </a:moveTo>
                        <a:lnTo>
                          <a:pt x="4" y="2"/>
                        </a:lnTo>
                        <a:lnTo>
                          <a:pt x="4" y="4"/>
                        </a:lnTo>
                        <a:lnTo>
                          <a:pt x="2" y="4"/>
                        </a:lnTo>
                        <a:lnTo>
                          <a:pt x="0" y="4"/>
                        </a:lnTo>
                        <a:lnTo>
                          <a:pt x="0" y="2"/>
                        </a:lnTo>
                        <a:lnTo>
                          <a:pt x="2" y="2"/>
                        </a:lnTo>
                        <a:lnTo>
                          <a:pt x="2" y="0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24" name="Freeform 198">
                    <a:extLst>
                      <a:ext uri="{FF2B5EF4-FFF2-40B4-BE49-F238E27FC236}">
                        <a16:creationId xmlns:a16="http://schemas.microsoft.com/office/drawing/2014/main" id="{C9711C56-1F8C-1541-A3C2-9F4FF8E512B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4" y="259"/>
                    <a:ext cx="4" cy="4"/>
                  </a:xfrm>
                  <a:custGeom>
                    <a:avLst/>
                    <a:gdLst>
                      <a:gd name="T0" fmla="*/ 4 w 4"/>
                      <a:gd name="T1" fmla="*/ 0 h 4"/>
                      <a:gd name="T2" fmla="*/ 4 w 4"/>
                      <a:gd name="T3" fmla="*/ 2 h 4"/>
                      <a:gd name="T4" fmla="*/ 4 w 4"/>
                      <a:gd name="T5" fmla="*/ 4 h 4"/>
                      <a:gd name="T6" fmla="*/ 2 w 4"/>
                      <a:gd name="T7" fmla="*/ 4 h 4"/>
                      <a:gd name="T8" fmla="*/ 0 w 4"/>
                      <a:gd name="T9" fmla="*/ 4 h 4"/>
                      <a:gd name="T10" fmla="*/ 0 w 4"/>
                      <a:gd name="T11" fmla="*/ 2 h 4"/>
                      <a:gd name="T12" fmla="*/ 2 w 4"/>
                      <a:gd name="T13" fmla="*/ 2 h 4"/>
                      <a:gd name="T14" fmla="*/ 2 w 4"/>
                      <a:gd name="T15" fmla="*/ 0 h 4"/>
                      <a:gd name="T16" fmla="*/ 4 w 4"/>
                      <a:gd name="T17" fmla="*/ 0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" h="4">
                        <a:moveTo>
                          <a:pt x="4" y="0"/>
                        </a:moveTo>
                        <a:lnTo>
                          <a:pt x="4" y="2"/>
                        </a:lnTo>
                        <a:lnTo>
                          <a:pt x="4" y="4"/>
                        </a:lnTo>
                        <a:lnTo>
                          <a:pt x="2" y="4"/>
                        </a:lnTo>
                        <a:lnTo>
                          <a:pt x="0" y="4"/>
                        </a:lnTo>
                        <a:lnTo>
                          <a:pt x="0" y="2"/>
                        </a:lnTo>
                        <a:lnTo>
                          <a:pt x="2" y="2"/>
                        </a:lnTo>
                        <a:lnTo>
                          <a:pt x="2" y="0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08" name="Group 1807">
                  <a:extLst>
                    <a:ext uri="{FF2B5EF4-FFF2-40B4-BE49-F238E27FC236}">
                      <a16:creationId xmlns:a16="http://schemas.microsoft.com/office/drawing/2014/main" id="{FB40C8B7-6192-A540-A6E3-35905ABF9AD3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38" y="268"/>
                  <a:ext cx="2" cy="1"/>
                  <a:chOff x="238" y="268"/>
                  <a:chExt cx="2" cy="1"/>
                </a:xfrm>
              </p:grpSpPr>
              <p:sp>
                <p:nvSpPr>
                  <p:cNvPr id="1821" name="Rectangle 1820">
                    <a:extLst>
                      <a:ext uri="{FF2B5EF4-FFF2-40B4-BE49-F238E27FC236}">
                        <a16:creationId xmlns:a16="http://schemas.microsoft.com/office/drawing/2014/main" id="{DA126D6C-CB59-5D48-9870-02FB4D3A089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38" y="268"/>
                    <a:ext cx="2" cy="1"/>
                  </a:xfrm>
                  <a:prstGeom prst="rect">
                    <a:avLst/>
                  </a:pr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22" name="Rectangle 1821">
                    <a:extLst>
                      <a:ext uri="{FF2B5EF4-FFF2-40B4-BE49-F238E27FC236}">
                        <a16:creationId xmlns:a16="http://schemas.microsoft.com/office/drawing/2014/main" id="{0C63804E-5447-D841-8F0E-E29FA9AC8D2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38" y="268"/>
                    <a:ext cx="2" cy="1"/>
                  </a:xfrm>
                  <a:prstGeom prst="rect">
                    <a:avLst/>
                  </a:pr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09" name="Group 1808">
                  <a:extLst>
                    <a:ext uri="{FF2B5EF4-FFF2-40B4-BE49-F238E27FC236}">
                      <a16:creationId xmlns:a16="http://schemas.microsoft.com/office/drawing/2014/main" id="{4D2A1EDF-8494-5246-8566-B4BBB5ACEB9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51" y="229"/>
                  <a:ext cx="4" cy="3"/>
                  <a:chOff x="251" y="229"/>
                  <a:chExt cx="4" cy="3"/>
                </a:xfrm>
              </p:grpSpPr>
              <p:sp>
                <p:nvSpPr>
                  <p:cNvPr id="1819" name="Freeform 193">
                    <a:extLst>
                      <a:ext uri="{FF2B5EF4-FFF2-40B4-BE49-F238E27FC236}">
                        <a16:creationId xmlns:a16="http://schemas.microsoft.com/office/drawing/2014/main" id="{84D5B027-8A53-D246-8774-2621ADDF064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51" y="229"/>
                    <a:ext cx="4" cy="3"/>
                  </a:xfrm>
                  <a:custGeom>
                    <a:avLst/>
                    <a:gdLst>
                      <a:gd name="T0" fmla="*/ 0 w 4"/>
                      <a:gd name="T1" fmla="*/ 3 h 3"/>
                      <a:gd name="T2" fmla="*/ 0 w 4"/>
                      <a:gd name="T3" fmla="*/ 2 h 3"/>
                      <a:gd name="T4" fmla="*/ 0 w 4"/>
                      <a:gd name="T5" fmla="*/ 0 h 3"/>
                      <a:gd name="T6" fmla="*/ 2 w 4"/>
                      <a:gd name="T7" fmla="*/ 0 h 3"/>
                      <a:gd name="T8" fmla="*/ 4 w 4"/>
                      <a:gd name="T9" fmla="*/ 0 h 3"/>
                      <a:gd name="T10" fmla="*/ 4 w 4"/>
                      <a:gd name="T11" fmla="*/ 2 h 3"/>
                      <a:gd name="T12" fmla="*/ 2 w 4"/>
                      <a:gd name="T13" fmla="*/ 3 h 3"/>
                      <a:gd name="T14" fmla="*/ 0 w 4"/>
                      <a:gd name="T15" fmla="*/ 3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4" h="3">
                        <a:moveTo>
                          <a:pt x="0" y="3"/>
                        </a:move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4" y="0"/>
                        </a:lnTo>
                        <a:lnTo>
                          <a:pt x="4" y="2"/>
                        </a:lnTo>
                        <a:lnTo>
                          <a:pt x="2" y="3"/>
                        </a:lnTo>
                        <a:lnTo>
                          <a:pt x="0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20" name="Freeform 194">
                    <a:extLst>
                      <a:ext uri="{FF2B5EF4-FFF2-40B4-BE49-F238E27FC236}">
                        <a16:creationId xmlns:a16="http://schemas.microsoft.com/office/drawing/2014/main" id="{793888DE-5A91-D345-897A-E563F3F071B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51" y="229"/>
                    <a:ext cx="4" cy="3"/>
                  </a:xfrm>
                  <a:custGeom>
                    <a:avLst/>
                    <a:gdLst>
                      <a:gd name="T0" fmla="*/ 0 w 4"/>
                      <a:gd name="T1" fmla="*/ 3 h 3"/>
                      <a:gd name="T2" fmla="*/ 0 w 4"/>
                      <a:gd name="T3" fmla="*/ 2 h 3"/>
                      <a:gd name="T4" fmla="*/ 0 w 4"/>
                      <a:gd name="T5" fmla="*/ 0 h 3"/>
                      <a:gd name="T6" fmla="*/ 2 w 4"/>
                      <a:gd name="T7" fmla="*/ 0 h 3"/>
                      <a:gd name="T8" fmla="*/ 4 w 4"/>
                      <a:gd name="T9" fmla="*/ 0 h 3"/>
                      <a:gd name="T10" fmla="*/ 4 w 4"/>
                      <a:gd name="T11" fmla="*/ 2 h 3"/>
                      <a:gd name="T12" fmla="*/ 2 w 4"/>
                      <a:gd name="T13" fmla="*/ 3 h 3"/>
                      <a:gd name="T14" fmla="*/ 0 w 4"/>
                      <a:gd name="T15" fmla="*/ 3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4" h="3">
                        <a:moveTo>
                          <a:pt x="0" y="3"/>
                        </a:move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4" y="0"/>
                        </a:lnTo>
                        <a:lnTo>
                          <a:pt x="4" y="2"/>
                        </a:lnTo>
                        <a:lnTo>
                          <a:pt x="2" y="3"/>
                        </a:lnTo>
                        <a:lnTo>
                          <a:pt x="0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10" name="Group 1809">
                  <a:extLst>
                    <a:ext uri="{FF2B5EF4-FFF2-40B4-BE49-F238E27FC236}">
                      <a16:creationId xmlns:a16="http://schemas.microsoft.com/office/drawing/2014/main" id="{CF93E211-0D14-D94D-845A-ACDCA23D8917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40" y="241"/>
                  <a:ext cx="1" cy="3"/>
                  <a:chOff x="240" y="241"/>
                  <a:chExt cx="1" cy="3"/>
                </a:xfrm>
              </p:grpSpPr>
              <p:sp>
                <p:nvSpPr>
                  <p:cNvPr id="1817" name="Freeform 191">
                    <a:extLst>
                      <a:ext uri="{FF2B5EF4-FFF2-40B4-BE49-F238E27FC236}">
                        <a16:creationId xmlns:a16="http://schemas.microsoft.com/office/drawing/2014/main" id="{2822762E-A541-8E4F-949D-14CB1F302F8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0" y="241"/>
                    <a:ext cx="1" cy="3"/>
                  </a:xfrm>
                  <a:custGeom>
                    <a:avLst/>
                    <a:gdLst>
                      <a:gd name="T0" fmla="*/ 0 w 1"/>
                      <a:gd name="T1" fmla="*/ 1 h 3"/>
                      <a:gd name="T2" fmla="*/ 0 w 1"/>
                      <a:gd name="T3" fmla="*/ 0 h 3"/>
                      <a:gd name="T4" fmla="*/ 0 w 1"/>
                      <a:gd name="T5" fmla="*/ 1 h 3"/>
                      <a:gd name="T6" fmla="*/ 1 w 1"/>
                      <a:gd name="T7" fmla="*/ 1 h 3"/>
                      <a:gd name="T8" fmla="*/ 0 w 1"/>
                      <a:gd name="T9" fmla="*/ 1 h 3"/>
                      <a:gd name="T10" fmla="*/ 0 w 1"/>
                      <a:gd name="T11" fmla="*/ 3 h 3"/>
                      <a:gd name="T12" fmla="*/ 0 w 1"/>
                      <a:gd name="T13" fmla="*/ 1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" h="3">
                        <a:moveTo>
                          <a:pt x="0" y="1"/>
                        </a:move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3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18" name="Freeform 192">
                    <a:extLst>
                      <a:ext uri="{FF2B5EF4-FFF2-40B4-BE49-F238E27FC236}">
                        <a16:creationId xmlns:a16="http://schemas.microsoft.com/office/drawing/2014/main" id="{50F82641-2F17-BE43-BD24-90DE2EDB218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0" y="241"/>
                    <a:ext cx="1" cy="3"/>
                  </a:xfrm>
                  <a:custGeom>
                    <a:avLst/>
                    <a:gdLst>
                      <a:gd name="T0" fmla="*/ 0 w 1"/>
                      <a:gd name="T1" fmla="*/ 1 h 3"/>
                      <a:gd name="T2" fmla="*/ 0 w 1"/>
                      <a:gd name="T3" fmla="*/ 0 h 3"/>
                      <a:gd name="T4" fmla="*/ 0 w 1"/>
                      <a:gd name="T5" fmla="*/ 1 h 3"/>
                      <a:gd name="T6" fmla="*/ 1 w 1"/>
                      <a:gd name="T7" fmla="*/ 1 h 3"/>
                      <a:gd name="T8" fmla="*/ 0 w 1"/>
                      <a:gd name="T9" fmla="*/ 1 h 3"/>
                      <a:gd name="T10" fmla="*/ 0 w 1"/>
                      <a:gd name="T11" fmla="*/ 3 h 3"/>
                      <a:gd name="T12" fmla="*/ 0 w 1"/>
                      <a:gd name="T13" fmla="*/ 1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" h="3">
                        <a:moveTo>
                          <a:pt x="0" y="1"/>
                        </a:move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3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11" name="Group 1810">
                  <a:extLst>
                    <a:ext uri="{FF2B5EF4-FFF2-40B4-BE49-F238E27FC236}">
                      <a16:creationId xmlns:a16="http://schemas.microsoft.com/office/drawing/2014/main" id="{B558A22F-F7D2-1F40-AC88-316D4D7C7533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43" y="286"/>
                  <a:ext cx="3" cy="5"/>
                  <a:chOff x="243" y="286"/>
                  <a:chExt cx="3" cy="5"/>
                </a:xfrm>
              </p:grpSpPr>
              <p:sp>
                <p:nvSpPr>
                  <p:cNvPr id="1815" name="Freeform 189">
                    <a:extLst>
                      <a:ext uri="{FF2B5EF4-FFF2-40B4-BE49-F238E27FC236}">
                        <a16:creationId xmlns:a16="http://schemas.microsoft.com/office/drawing/2014/main" id="{D895BE7E-8FBB-F748-84CA-27E68D66D55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3" y="286"/>
                    <a:ext cx="3" cy="5"/>
                  </a:xfrm>
                  <a:custGeom>
                    <a:avLst/>
                    <a:gdLst>
                      <a:gd name="T0" fmla="*/ 2 w 3"/>
                      <a:gd name="T1" fmla="*/ 5 h 5"/>
                      <a:gd name="T2" fmla="*/ 0 w 3"/>
                      <a:gd name="T3" fmla="*/ 5 h 5"/>
                      <a:gd name="T4" fmla="*/ 0 w 3"/>
                      <a:gd name="T5" fmla="*/ 4 h 5"/>
                      <a:gd name="T6" fmla="*/ 0 w 3"/>
                      <a:gd name="T7" fmla="*/ 2 h 5"/>
                      <a:gd name="T8" fmla="*/ 0 w 3"/>
                      <a:gd name="T9" fmla="*/ 0 h 5"/>
                      <a:gd name="T10" fmla="*/ 2 w 3"/>
                      <a:gd name="T11" fmla="*/ 0 h 5"/>
                      <a:gd name="T12" fmla="*/ 2 w 3"/>
                      <a:gd name="T13" fmla="*/ 2 h 5"/>
                      <a:gd name="T14" fmla="*/ 3 w 3"/>
                      <a:gd name="T15" fmla="*/ 2 h 5"/>
                      <a:gd name="T16" fmla="*/ 3 w 3"/>
                      <a:gd name="T17" fmla="*/ 4 h 5"/>
                      <a:gd name="T18" fmla="*/ 3 w 3"/>
                      <a:gd name="T19" fmla="*/ 5 h 5"/>
                      <a:gd name="T20" fmla="*/ 2 w 3"/>
                      <a:gd name="T21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" h="5">
                        <a:moveTo>
                          <a:pt x="2" y="5"/>
                        </a:moveTo>
                        <a:lnTo>
                          <a:pt x="0" y="5"/>
                        </a:lnTo>
                        <a:lnTo>
                          <a:pt x="0" y="4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2" y="2"/>
                        </a:lnTo>
                        <a:lnTo>
                          <a:pt x="3" y="2"/>
                        </a:lnTo>
                        <a:lnTo>
                          <a:pt x="3" y="4"/>
                        </a:lnTo>
                        <a:lnTo>
                          <a:pt x="3" y="5"/>
                        </a:lnTo>
                        <a:lnTo>
                          <a:pt x="2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16" name="Freeform 190">
                    <a:extLst>
                      <a:ext uri="{FF2B5EF4-FFF2-40B4-BE49-F238E27FC236}">
                        <a16:creationId xmlns:a16="http://schemas.microsoft.com/office/drawing/2014/main" id="{F0A32CA5-39CE-CF4C-96B0-CD33A5471F1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3" y="286"/>
                    <a:ext cx="3" cy="5"/>
                  </a:xfrm>
                  <a:custGeom>
                    <a:avLst/>
                    <a:gdLst>
                      <a:gd name="T0" fmla="*/ 2 w 3"/>
                      <a:gd name="T1" fmla="*/ 5 h 5"/>
                      <a:gd name="T2" fmla="*/ 0 w 3"/>
                      <a:gd name="T3" fmla="*/ 5 h 5"/>
                      <a:gd name="T4" fmla="*/ 0 w 3"/>
                      <a:gd name="T5" fmla="*/ 4 h 5"/>
                      <a:gd name="T6" fmla="*/ 0 w 3"/>
                      <a:gd name="T7" fmla="*/ 2 h 5"/>
                      <a:gd name="T8" fmla="*/ 0 w 3"/>
                      <a:gd name="T9" fmla="*/ 0 h 5"/>
                      <a:gd name="T10" fmla="*/ 2 w 3"/>
                      <a:gd name="T11" fmla="*/ 0 h 5"/>
                      <a:gd name="T12" fmla="*/ 2 w 3"/>
                      <a:gd name="T13" fmla="*/ 2 h 5"/>
                      <a:gd name="T14" fmla="*/ 3 w 3"/>
                      <a:gd name="T15" fmla="*/ 2 h 5"/>
                      <a:gd name="T16" fmla="*/ 3 w 3"/>
                      <a:gd name="T17" fmla="*/ 4 h 5"/>
                      <a:gd name="T18" fmla="*/ 3 w 3"/>
                      <a:gd name="T19" fmla="*/ 5 h 5"/>
                      <a:gd name="T20" fmla="*/ 2 w 3"/>
                      <a:gd name="T21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" h="5">
                        <a:moveTo>
                          <a:pt x="2" y="5"/>
                        </a:moveTo>
                        <a:lnTo>
                          <a:pt x="0" y="5"/>
                        </a:lnTo>
                        <a:lnTo>
                          <a:pt x="0" y="4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2" y="2"/>
                        </a:lnTo>
                        <a:lnTo>
                          <a:pt x="3" y="2"/>
                        </a:lnTo>
                        <a:lnTo>
                          <a:pt x="3" y="4"/>
                        </a:lnTo>
                        <a:lnTo>
                          <a:pt x="3" y="5"/>
                        </a:lnTo>
                        <a:lnTo>
                          <a:pt x="2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12" name="Group 1811">
                  <a:extLst>
                    <a:ext uri="{FF2B5EF4-FFF2-40B4-BE49-F238E27FC236}">
                      <a16:creationId xmlns:a16="http://schemas.microsoft.com/office/drawing/2014/main" id="{FA60BAD2-7905-1149-8AEC-0FBBA3B96164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41" y="301"/>
                  <a:ext cx="2" cy="4"/>
                  <a:chOff x="241" y="301"/>
                  <a:chExt cx="2" cy="4"/>
                </a:xfrm>
              </p:grpSpPr>
              <p:sp>
                <p:nvSpPr>
                  <p:cNvPr id="1813" name="Freeform 187">
                    <a:extLst>
                      <a:ext uri="{FF2B5EF4-FFF2-40B4-BE49-F238E27FC236}">
                        <a16:creationId xmlns:a16="http://schemas.microsoft.com/office/drawing/2014/main" id="{D3BD4191-B890-2440-AE37-F896CAB4E6D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1" y="301"/>
                    <a:ext cx="2" cy="4"/>
                  </a:xfrm>
                  <a:custGeom>
                    <a:avLst/>
                    <a:gdLst>
                      <a:gd name="T0" fmla="*/ 0 w 2"/>
                      <a:gd name="T1" fmla="*/ 4 h 4"/>
                      <a:gd name="T2" fmla="*/ 0 w 2"/>
                      <a:gd name="T3" fmla="*/ 2 h 4"/>
                      <a:gd name="T4" fmla="*/ 0 w 2"/>
                      <a:gd name="T5" fmla="*/ 0 h 4"/>
                      <a:gd name="T6" fmla="*/ 2 w 2"/>
                      <a:gd name="T7" fmla="*/ 0 h 4"/>
                      <a:gd name="T8" fmla="*/ 2 w 2"/>
                      <a:gd name="T9" fmla="*/ 2 h 4"/>
                      <a:gd name="T10" fmla="*/ 2 w 2"/>
                      <a:gd name="T11" fmla="*/ 4 h 4"/>
                      <a:gd name="T12" fmla="*/ 0 w 2"/>
                      <a:gd name="T13" fmla="*/ 4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" h="4">
                        <a:moveTo>
                          <a:pt x="0" y="4"/>
                        </a:move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2" y="2"/>
                        </a:lnTo>
                        <a:lnTo>
                          <a:pt x="2" y="4"/>
                        </a:lnTo>
                        <a:lnTo>
                          <a:pt x="0" y="4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14" name="Freeform 188">
                    <a:extLst>
                      <a:ext uri="{FF2B5EF4-FFF2-40B4-BE49-F238E27FC236}">
                        <a16:creationId xmlns:a16="http://schemas.microsoft.com/office/drawing/2014/main" id="{E8971493-C929-5645-9903-A17ADC138B5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1" y="301"/>
                    <a:ext cx="2" cy="4"/>
                  </a:xfrm>
                  <a:custGeom>
                    <a:avLst/>
                    <a:gdLst>
                      <a:gd name="T0" fmla="*/ 0 w 2"/>
                      <a:gd name="T1" fmla="*/ 4 h 4"/>
                      <a:gd name="T2" fmla="*/ 0 w 2"/>
                      <a:gd name="T3" fmla="*/ 2 h 4"/>
                      <a:gd name="T4" fmla="*/ 0 w 2"/>
                      <a:gd name="T5" fmla="*/ 0 h 4"/>
                      <a:gd name="T6" fmla="*/ 2 w 2"/>
                      <a:gd name="T7" fmla="*/ 0 h 4"/>
                      <a:gd name="T8" fmla="*/ 2 w 2"/>
                      <a:gd name="T9" fmla="*/ 2 h 4"/>
                      <a:gd name="T10" fmla="*/ 2 w 2"/>
                      <a:gd name="T11" fmla="*/ 4 h 4"/>
                      <a:gd name="T12" fmla="*/ 0 w 2"/>
                      <a:gd name="T13" fmla="*/ 4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" h="4">
                        <a:moveTo>
                          <a:pt x="0" y="4"/>
                        </a:move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2" y="2"/>
                        </a:lnTo>
                        <a:lnTo>
                          <a:pt x="2" y="4"/>
                        </a:lnTo>
                        <a:lnTo>
                          <a:pt x="0" y="4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662" name="Group 1661">
                <a:extLst>
                  <a:ext uri="{FF2B5EF4-FFF2-40B4-BE49-F238E27FC236}">
                    <a16:creationId xmlns:a16="http://schemas.microsoft.com/office/drawing/2014/main" id="{F6170FB9-45A4-1A4B-AE75-2F961BC72B5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81" y="401"/>
                <a:ext cx="155" cy="120"/>
                <a:chOff x="381" y="401"/>
                <a:chExt cx="155" cy="120"/>
              </a:xfrm>
            </p:grpSpPr>
            <p:sp>
              <p:nvSpPr>
                <p:cNvPr id="1789" name="Freeform 163">
                  <a:extLst>
                    <a:ext uri="{FF2B5EF4-FFF2-40B4-BE49-F238E27FC236}">
                      <a16:creationId xmlns:a16="http://schemas.microsoft.com/office/drawing/2014/main" id="{263ACD0B-7713-E64B-824A-B317098156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1" y="401"/>
                  <a:ext cx="155" cy="120"/>
                </a:xfrm>
                <a:custGeom>
                  <a:avLst/>
                  <a:gdLst>
                    <a:gd name="T0" fmla="*/ 2 w 155"/>
                    <a:gd name="T1" fmla="*/ 29 h 120"/>
                    <a:gd name="T2" fmla="*/ 4 w 155"/>
                    <a:gd name="T3" fmla="*/ 34 h 120"/>
                    <a:gd name="T4" fmla="*/ 0 w 155"/>
                    <a:gd name="T5" fmla="*/ 42 h 120"/>
                    <a:gd name="T6" fmla="*/ 4 w 155"/>
                    <a:gd name="T7" fmla="*/ 45 h 120"/>
                    <a:gd name="T8" fmla="*/ 5 w 155"/>
                    <a:gd name="T9" fmla="*/ 54 h 120"/>
                    <a:gd name="T10" fmla="*/ 7 w 155"/>
                    <a:gd name="T11" fmla="*/ 62 h 120"/>
                    <a:gd name="T12" fmla="*/ 9 w 155"/>
                    <a:gd name="T13" fmla="*/ 71 h 120"/>
                    <a:gd name="T14" fmla="*/ 12 w 155"/>
                    <a:gd name="T15" fmla="*/ 74 h 120"/>
                    <a:gd name="T16" fmla="*/ 10 w 155"/>
                    <a:gd name="T17" fmla="*/ 82 h 120"/>
                    <a:gd name="T18" fmla="*/ 12 w 155"/>
                    <a:gd name="T19" fmla="*/ 86 h 120"/>
                    <a:gd name="T20" fmla="*/ 19 w 155"/>
                    <a:gd name="T21" fmla="*/ 82 h 120"/>
                    <a:gd name="T22" fmla="*/ 25 w 155"/>
                    <a:gd name="T23" fmla="*/ 86 h 120"/>
                    <a:gd name="T24" fmla="*/ 34 w 155"/>
                    <a:gd name="T25" fmla="*/ 89 h 120"/>
                    <a:gd name="T26" fmla="*/ 32 w 155"/>
                    <a:gd name="T27" fmla="*/ 93 h 120"/>
                    <a:gd name="T28" fmla="*/ 41 w 155"/>
                    <a:gd name="T29" fmla="*/ 98 h 120"/>
                    <a:gd name="T30" fmla="*/ 42 w 155"/>
                    <a:gd name="T31" fmla="*/ 94 h 120"/>
                    <a:gd name="T32" fmla="*/ 47 w 155"/>
                    <a:gd name="T33" fmla="*/ 94 h 120"/>
                    <a:gd name="T34" fmla="*/ 56 w 155"/>
                    <a:gd name="T35" fmla="*/ 96 h 120"/>
                    <a:gd name="T36" fmla="*/ 59 w 155"/>
                    <a:gd name="T37" fmla="*/ 101 h 120"/>
                    <a:gd name="T38" fmla="*/ 68 w 155"/>
                    <a:gd name="T39" fmla="*/ 109 h 120"/>
                    <a:gd name="T40" fmla="*/ 79 w 155"/>
                    <a:gd name="T41" fmla="*/ 113 h 120"/>
                    <a:gd name="T42" fmla="*/ 88 w 155"/>
                    <a:gd name="T43" fmla="*/ 114 h 120"/>
                    <a:gd name="T44" fmla="*/ 95 w 155"/>
                    <a:gd name="T45" fmla="*/ 116 h 120"/>
                    <a:gd name="T46" fmla="*/ 106 w 155"/>
                    <a:gd name="T47" fmla="*/ 116 h 120"/>
                    <a:gd name="T48" fmla="*/ 115 w 155"/>
                    <a:gd name="T49" fmla="*/ 113 h 120"/>
                    <a:gd name="T50" fmla="*/ 123 w 155"/>
                    <a:gd name="T51" fmla="*/ 116 h 120"/>
                    <a:gd name="T52" fmla="*/ 133 w 155"/>
                    <a:gd name="T53" fmla="*/ 120 h 120"/>
                    <a:gd name="T54" fmla="*/ 137 w 155"/>
                    <a:gd name="T55" fmla="*/ 108 h 120"/>
                    <a:gd name="T56" fmla="*/ 149 w 155"/>
                    <a:gd name="T57" fmla="*/ 96 h 120"/>
                    <a:gd name="T58" fmla="*/ 154 w 155"/>
                    <a:gd name="T59" fmla="*/ 86 h 120"/>
                    <a:gd name="T60" fmla="*/ 150 w 155"/>
                    <a:gd name="T61" fmla="*/ 79 h 120"/>
                    <a:gd name="T62" fmla="*/ 147 w 155"/>
                    <a:gd name="T63" fmla="*/ 72 h 120"/>
                    <a:gd name="T64" fmla="*/ 143 w 155"/>
                    <a:gd name="T65" fmla="*/ 62 h 120"/>
                    <a:gd name="T66" fmla="*/ 142 w 155"/>
                    <a:gd name="T67" fmla="*/ 54 h 120"/>
                    <a:gd name="T68" fmla="*/ 150 w 155"/>
                    <a:gd name="T69" fmla="*/ 45 h 120"/>
                    <a:gd name="T70" fmla="*/ 152 w 155"/>
                    <a:gd name="T71" fmla="*/ 32 h 120"/>
                    <a:gd name="T72" fmla="*/ 143 w 155"/>
                    <a:gd name="T73" fmla="*/ 20 h 120"/>
                    <a:gd name="T74" fmla="*/ 140 w 155"/>
                    <a:gd name="T75" fmla="*/ 12 h 120"/>
                    <a:gd name="T76" fmla="*/ 128 w 155"/>
                    <a:gd name="T77" fmla="*/ 10 h 120"/>
                    <a:gd name="T78" fmla="*/ 117 w 155"/>
                    <a:gd name="T79" fmla="*/ 12 h 120"/>
                    <a:gd name="T80" fmla="*/ 101 w 155"/>
                    <a:gd name="T81" fmla="*/ 12 h 120"/>
                    <a:gd name="T82" fmla="*/ 90 w 155"/>
                    <a:gd name="T83" fmla="*/ 10 h 120"/>
                    <a:gd name="T84" fmla="*/ 78 w 155"/>
                    <a:gd name="T85" fmla="*/ 10 h 120"/>
                    <a:gd name="T86" fmla="*/ 71 w 155"/>
                    <a:gd name="T87" fmla="*/ 12 h 120"/>
                    <a:gd name="T88" fmla="*/ 68 w 155"/>
                    <a:gd name="T89" fmla="*/ 3 h 120"/>
                    <a:gd name="T90" fmla="*/ 69 w 155"/>
                    <a:gd name="T91" fmla="*/ 3 h 120"/>
                    <a:gd name="T92" fmla="*/ 71 w 155"/>
                    <a:gd name="T93" fmla="*/ 2 h 120"/>
                    <a:gd name="T94" fmla="*/ 61 w 155"/>
                    <a:gd name="T95" fmla="*/ 0 h 120"/>
                    <a:gd name="T96" fmla="*/ 49 w 155"/>
                    <a:gd name="T97" fmla="*/ 2 h 120"/>
                    <a:gd name="T98" fmla="*/ 37 w 155"/>
                    <a:gd name="T99" fmla="*/ 7 h 120"/>
                    <a:gd name="T100" fmla="*/ 29 w 155"/>
                    <a:gd name="T101" fmla="*/ 12 h 120"/>
                    <a:gd name="T102" fmla="*/ 19 w 155"/>
                    <a:gd name="T103" fmla="*/ 15 h 120"/>
                    <a:gd name="T104" fmla="*/ 9 w 155"/>
                    <a:gd name="T105" fmla="*/ 18 h 120"/>
                    <a:gd name="T106" fmla="*/ 4 w 155"/>
                    <a:gd name="T107" fmla="*/ 20 h 120"/>
                    <a:gd name="T108" fmla="*/ 5 w 155"/>
                    <a:gd name="T109" fmla="*/ 22 h 120"/>
                    <a:gd name="T110" fmla="*/ 4 w 155"/>
                    <a:gd name="T111" fmla="*/ 25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55" h="120">
                      <a:moveTo>
                        <a:pt x="0" y="23"/>
                      </a:moveTo>
                      <a:lnTo>
                        <a:pt x="0" y="25"/>
                      </a:lnTo>
                      <a:lnTo>
                        <a:pt x="2" y="29"/>
                      </a:lnTo>
                      <a:lnTo>
                        <a:pt x="4" y="30"/>
                      </a:lnTo>
                      <a:lnTo>
                        <a:pt x="4" y="32"/>
                      </a:lnTo>
                      <a:lnTo>
                        <a:pt x="4" y="34"/>
                      </a:lnTo>
                      <a:lnTo>
                        <a:pt x="2" y="37"/>
                      </a:lnTo>
                      <a:lnTo>
                        <a:pt x="0" y="39"/>
                      </a:lnTo>
                      <a:lnTo>
                        <a:pt x="0" y="42"/>
                      </a:lnTo>
                      <a:lnTo>
                        <a:pt x="0" y="44"/>
                      </a:lnTo>
                      <a:lnTo>
                        <a:pt x="2" y="45"/>
                      </a:lnTo>
                      <a:lnTo>
                        <a:pt x="4" y="45"/>
                      </a:lnTo>
                      <a:lnTo>
                        <a:pt x="5" y="49"/>
                      </a:lnTo>
                      <a:lnTo>
                        <a:pt x="5" y="50"/>
                      </a:lnTo>
                      <a:lnTo>
                        <a:pt x="5" y="54"/>
                      </a:lnTo>
                      <a:lnTo>
                        <a:pt x="5" y="55"/>
                      </a:lnTo>
                      <a:lnTo>
                        <a:pt x="7" y="61"/>
                      </a:lnTo>
                      <a:lnTo>
                        <a:pt x="7" y="62"/>
                      </a:lnTo>
                      <a:lnTo>
                        <a:pt x="7" y="64"/>
                      </a:lnTo>
                      <a:lnTo>
                        <a:pt x="7" y="67"/>
                      </a:lnTo>
                      <a:lnTo>
                        <a:pt x="9" y="71"/>
                      </a:lnTo>
                      <a:lnTo>
                        <a:pt x="10" y="72"/>
                      </a:lnTo>
                      <a:lnTo>
                        <a:pt x="12" y="72"/>
                      </a:lnTo>
                      <a:lnTo>
                        <a:pt x="12" y="74"/>
                      </a:lnTo>
                      <a:lnTo>
                        <a:pt x="12" y="76"/>
                      </a:lnTo>
                      <a:lnTo>
                        <a:pt x="12" y="79"/>
                      </a:lnTo>
                      <a:lnTo>
                        <a:pt x="10" y="82"/>
                      </a:lnTo>
                      <a:lnTo>
                        <a:pt x="10" y="84"/>
                      </a:lnTo>
                      <a:lnTo>
                        <a:pt x="9" y="84"/>
                      </a:lnTo>
                      <a:lnTo>
                        <a:pt x="12" y="86"/>
                      </a:lnTo>
                      <a:lnTo>
                        <a:pt x="14" y="82"/>
                      </a:lnTo>
                      <a:lnTo>
                        <a:pt x="15" y="82"/>
                      </a:lnTo>
                      <a:lnTo>
                        <a:pt x="19" y="82"/>
                      </a:lnTo>
                      <a:lnTo>
                        <a:pt x="20" y="86"/>
                      </a:lnTo>
                      <a:lnTo>
                        <a:pt x="22" y="86"/>
                      </a:lnTo>
                      <a:lnTo>
                        <a:pt x="25" y="86"/>
                      </a:lnTo>
                      <a:lnTo>
                        <a:pt x="29" y="86"/>
                      </a:lnTo>
                      <a:lnTo>
                        <a:pt x="31" y="89"/>
                      </a:lnTo>
                      <a:lnTo>
                        <a:pt x="34" y="89"/>
                      </a:lnTo>
                      <a:lnTo>
                        <a:pt x="34" y="91"/>
                      </a:lnTo>
                      <a:lnTo>
                        <a:pt x="34" y="93"/>
                      </a:lnTo>
                      <a:lnTo>
                        <a:pt x="32" y="93"/>
                      </a:lnTo>
                      <a:lnTo>
                        <a:pt x="36" y="96"/>
                      </a:lnTo>
                      <a:lnTo>
                        <a:pt x="39" y="98"/>
                      </a:lnTo>
                      <a:lnTo>
                        <a:pt x="41" y="98"/>
                      </a:lnTo>
                      <a:lnTo>
                        <a:pt x="42" y="98"/>
                      </a:lnTo>
                      <a:lnTo>
                        <a:pt x="44" y="96"/>
                      </a:lnTo>
                      <a:lnTo>
                        <a:pt x="42" y="94"/>
                      </a:lnTo>
                      <a:lnTo>
                        <a:pt x="44" y="94"/>
                      </a:lnTo>
                      <a:lnTo>
                        <a:pt x="46" y="94"/>
                      </a:lnTo>
                      <a:lnTo>
                        <a:pt x="47" y="94"/>
                      </a:lnTo>
                      <a:lnTo>
                        <a:pt x="51" y="96"/>
                      </a:lnTo>
                      <a:lnTo>
                        <a:pt x="54" y="96"/>
                      </a:lnTo>
                      <a:lnTo>
                        <a:pt x="56" y="96"/>
                      </a:lnTo>
                      <a:lnTo>
                        <a:pt x="56" y="98"/>
                      </a:lnTo>
                      <a:lnTo>
                        <a:pt x="56" y="99"/>
                      </a:lnTo>
                      <a:lnTo>
                        <a:pt x="59" y="101"/>
                      </a:lnTo>
                      <a:lnTo>
                        <a:pt x="63" y="103"/>
                      </a:lnTo>
                      <a:lnTo>
                        <a:pt x="64" y="106"/>
                      </a:lnTo>
                      <a:lnTo>
                        <a:pt x="68" y="109"/>
                      </a:lnTo>
                      <a:lnTo>
                        <a:pt x="73" y="111"/>
                      </a:lnTo>
                      <a:lnTo>
                        <a:pt x="76" y="113"/>
                      </a:lnTo>
                      <a:lnTo>
                        <a:pt x="79" y="113"/>
                      </a:lnTo>
                      <a:lnTo>
                        <a:pt x="83" y="111"/>
                      </a:lnTo>
                      <a:lnTo>
                        <a:pt x="84" y="113"/>
                      </a:lnTo>
                      <a:lnTo>
                        <a:pt x="88" y="114"/>
                      </a:lnTo>
                      <a:lnTo>
                        <a:pt x="90" y="116"/>
                      </a:lnTo>
                      <a:lnTo>
                        <a:pt x="91" y="118"/>
                      </a:lnTo>
                      <a:lnTo>
                        <a:pt x="95" y="116"/>
                      </a:lnTo>
                      <a:lnTo>
                        <a:pt x="98" y="114"/>
                      </a:lnTo>
                      <a:lnTo>
                        <a:pt x="103" y="114"/>
                      </a:lnTo>
                      <a:lnTo>
                        <a:pt x="106" y="116"/>
                      </a:lnTo>
                      <a:lnTo>
                        <a:pt x="108" y="114"/>
                      </a:lnTo>
                      <a:lnTo>
                        <a:pt x="111" y="113"/>
                      </a:lnTo>
                      <a:lnTo>
                        <a:pt x="115" y="113"/>
                      </a:lnTo>
                      <a:lnTo>
                        <a:pt x="118" y="113"/>
                      </a:lnTo>
                      <a:lnTo>
                        <a:pt x="122" y="114"/>
                      </a:lnTo>
                      <a:lnTo>
                        <a:pt x="123" y="116"/>
                      </a:lnTo>
                      <a:lnTo>
                        <a:pt x="127" y="120"/>
                      </a:lnTo>
                      <a:lnTo>
                        <a:pt x="130" y="120"/>
                      </a:lnTo>
                      <a:lnTo>
                        <a:pt x="133" y="120"/>
                      </a:lnTo>
                      <a:lnTo>
                        <a:pt x="133" y="116"/>
                      </a:lnTo>
                      <a:lnTo>
                        <a:pt x="133" y="113"/>
                      </a:lnTo>
                      <a:lnTo>
                        <a:pt x="137" y="108"/>
                      </a:lnTo>
                      <a:lnTo>
                        <a:pt x="138" y="104"/>
                      </a:lnTo>
                      <a:lnTo>
                        <a:pt x="143" y="99"/>
                      </a:lnTo>
                      <a:lnTo>
                        <a:pt x="149" y="96"/>
                      </a:lnTo>
                      <a:lnTo>
                        <a:pt x="154" y="93"/>
                      </a:lnTo>
                      <a:lnTo>
                        <a:pt x="155" y="89"/>
                      </a:lnTo>
                      <a:lnTo>
                        <a:pt x="154" y="86"/>
                      </a:lnTo>
                      <a:lnTo>
                        <a:pt x="154" y="82"/>
                      </a:lnTo>
                      <a:lnTo>
                        <a:pt x="150" y="81"/>
                      </a:lnTo>
                      <a:lnTo>
                        <a:pt x="150" y="79"/>
                      </a:lnTo>
                      <a:lnTo>
                        <a:pt x="150" y="77"/>
                      </a:lnTo>
                      <a:lnTo>
                        <a:pt x="149" y="76"/>
                      </a:lnTo>
                      <a:lnTo>
                        <a:pt x="147" y="72"/>
                      </a:lnTo>
                      <a:lnTo>
                        <a:pt x="145" y="69"/>
                      </a:lnTo>
                      <a:lnTo>
                        <a:pt x="143" y="66"/>
                      </a:lnTo>
                      <a:lnTo>
                        <a:pt x="143" y="62"/>
                      </a:lnTo>
                      <a:lnTo>
                        <a:pt x="145" y="59"/>
                      </a:lnTo>
                      <a:lnTo>
                        <a:pt x="142" y="57"/>
                      </a:lnTo>
                      <a:lnTo>
                        <a:pt x="142" y="54"/>
                      </a:lnTo>
                      <a:lnTo>
                        <a:pt x="143" y="50"/>
                      </a:lnTo>
                      <a:lnTo>
                        <a:pt x="149" y="49"/>
                      </a:lnTo>
                      <a:lnTo>
                        <a:pt x="150" y="45"/>
                      </a:lnTo>
                      <a:lnTo>
                        <a:pt x="154" y="40"/>
                      </a:lnTo>
                      <a:lnTo>
                        <a:pt x="154" y="37"/>
                      </a:lnTo>
                      <a:lnTo>
                        <a:pt x="152" y="32"/>
                      </a:lnTo>
                      <a:lnTo>
                        <a:pt x="149" y="27"/>
                      </a:lnTo>
                      <a:lnTo>
                        <a:pt x="149" y="25"/>
                      </a:lnTo>
                      <a:lnTo>
                        <a:pt x="143" y="20"/>
                      </a:lnTo>
                      <a:lnTo>
                        <a:pt x="145" y="17"/>
                      </a:lnTo>
                      <a:lnTo>
                        <a:pt x="145" y="15"/>
                      </a:lnTo>
                      <a:lnTo>
                        <a:pt x="140" y="12"/>
                      </a:lnTo>
                      <a:lnTo>
                        <a:pt x="135" y="10"/>
                      </a:lnTo>
                      <a:lnTo>
                        <a:pt x="132" y="10"/>
                      </a:lnTo>
                      <a:lnTo>
                        <a:pt x="128" y="10"/>
                      </a:lnTo>
                      <a:lnTo>
                        <a:pt x="125" y="12"/>
                      </a:lnTo>
                      <a:lnTo>
                        <a:pt x="122" y="12"/>
                      </a:lnTo>
                      <a:lnTo>
                        <a:pt x="117" y="12"/>
                      </a:lnTo>
                      <a:lnTo>
                        <a:pt x="113" y="12"/>
                      </a:lnTo>
                      <a:lnTo>
                        <a:pt x="108" y="12"/>
                      </a:lnTo>
                      <a:lnTo>
                        <a:pt x="101" y="12"/>
                      </a:lnTo>
                      <a:lnTo>
                        <a:pt x="98" y="10"/>
                      </a:lnTo>
                      <a:lnTo>
                        <a:pt x="93" y="10"/>
                      </a:lnTo>
                      <a:lnTo>
                        <a:pt x="90" y="10"/>
                      </a:lnTo>
                      <a:lnTo>
                        <a:pt x="84" y="8"/>
                      </a:lnTo>
                      <a:lnTo>
                        <a:pt x="83" y="10"/>
                      </a:lnTo>
                      <a:lnTo>
                        <a:pt x="78" y="10"/>
                      </a:lnTo>
                      <a:lnTo>
                        <a:pt x="74" y="10"/>
                      </a:lnTo>
                      <a:lnTo>
                        <a:pt x="73" y="12"/>
                      </a:lnTo>
                      <a:lnTo>
                        <a:pt x="71" y="12"/>
                      </a:lnTo>
                      <a:lnTo>
                        <a:pt x="69" y="10"/>
                      </a:lnTo>
                      <a:lnTo>
                        <a:pt x="69" y="7"/>
                      </a:lnTo>
                      <a:lnTo>
                        <a:pt x="68" y="3"/>
                      </a:lnTo>
                      <a:lnTo>
                        <a:pt x="68" y="2"/>
                      </a:lnTo>
                      <a:lnTo>
                        <a:pt x="68" y="3"/>
                      </a:lnTo>
                      <a:lnTo>
                        <a:pt x="69" y="3"/>
                      </a:lnTo>
                      <a:lnTo>
                        <a:pt x="73" y="5"/>
                      </a:lnTo>
                      <a:lnTo>
                        <a:pt x="73" y="3"/>
                      </a:lnTo>
                      <a:lnTo>
                        <a:pt x="71" y="2"/>
                      </a:lnTo>
                      <a:lnTo>
                        <a:pt x="68" y="0"/>
                      </a:lnTo>
                      <a:lnTo>
                        <a:pt x="64" y="0"/>
                      </a:lnTo>
                      <a:lnTo>
                        <a:pt x="61" y="0"/>
                      </a:lnTo>
                      <a:lnTo>
                        <a:pt x="58" y="0"/>
                      </a:lnTo>
                      <a:lnTo>
                        <a:pt x="52" y="2"/>
                      </a:lnTo>
                      <a:lnTo>
                        <a:pt x="49" y="2"/>
                      </a:lnTo>
                      <a:lnTo>
                        <a:pt x="46" y="3"/>
                      </a:lnTo>
                      <a:lnTo>
                        <a:pt x="42" y="5"/>
                      </a:lnTo>
                      <a:lnTo>
                        <a:pt x="37" y="7"/>
                      </a:lnTo>
                      <a:lnTo>
                        <a:pt x="36" y="8"/>
                      </a:lnTo>
                      <a:lnTo>
                        <a:pt x="32" y="10"/>
                      </a:lnTo>
                      <a:lnTo>
                        <a:pt x="29" y="12"/>
                      </a:lnTo>
                      <a:lnTo>
                        <a:pt x="25" y="13"/>
                      </a:lnTo>
                      <a:lnTo>
                        <a:pt x="24" y="13"/>
                      </a:lnTo>
                      <a:lnTo>
                        <a:pt x="19" y="15"/>
                      </a:lnTo>
                      <a:lnTo>
                        <a:pt x="14" y="15"/>
                      </a:lnTo>
                      <a:lnTo>
                        <a:pt x="10" y="17"/>
                      </a:lnTo>
                      <a:lnTo>
                        <a:pt x="9" y="18"/>
                      </a:lnTo>
                      <a:lnTo>
                        <a:pt x="7" y="20"/>
                      </a:lnTo>
                      <a:lnTo>
                        <a:pt x="7" y="18"/>
                      </a:lnTo>
                      <a:lnTo>
                        <a:pt x="4" y="20"/>
                      </a:lnTo>
                      <a:lnTo>
                        <a:pt x="2" y="22"/>
                      </a:lnTo>
                      <a:lnTo>
                        <a:pt x="4" y="22"/>
                      </a:lnTo>
                      <a:lnTo>
                        <a:pt x="5" y="22"/>
                      </a:lnTo>
                      <a:lnTo>
                        <a:pt x="5" y="23"/>
                      </a:lnTo>
                      <a:lnTo>
                        <a:pt x="5" y="25"/>
                      </a:lnTo>
                      <a:lnTo>
                        <a:pt x="4" y="25"/>
                      </a:lnTo>
                      <a:lnTo>
                        <a:pt x="0" y="2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90" name="Freeform 164">
                  <a:extLst>
                    <a:ext uri="{FF2B5EF4-FFF2-40B4-BE49-F238E27FC236}">
                      <a16:creationId xmlns:a16="http://schemas.microsoft.com/office/drawing/2014/main" id="{3B6D285B-7F20-C14D-9424-EDFA2FCDD4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1" y="401"/>
                  <a:ext cx="155" cy="120"/>
                </a:xfrm>
                <a:custGeom>
                  <a:avLst/>
                  <a:gdLst>
                    <a:gd name="T0" fmla="*/ 2 w 155"/>
                    <a:gd name="T1" fmla="*/ 29 h 120"/>
                    <a:gd name="T2" fmla="*/ 4 w 155"/>
                    <a:gd name="T3" fmla="*/ 34 h 120"/>
                    <a:gd name="T4" fmla="*/ 0 w 155"/>
                    <a:gd name="T5" fmla="*/ 42 h 120"/>
                    <a:gd name="T6" fmla="*/ 4 w 155"/>
                    <a:gd name="T7" fmla="*/ 45 h 120"/>
                    <a:gd name="T8" fmla="*/ 5 w 155"/>
                    <a:gd name="T9" fmla="*/ 54 h 120"/>
                    <a:gd name="T10" fmla="*/ 7 w 155"/>
                    <a:gd name="T11" fmla="*/ 62 h 120"/>
                    <a:gd name="T12" fmla="*/ 9 w 155"/>
                    <a:gd name="T13" fmla="*/ 71 h 120"/>
                    <a:gd name="T14" fmla="*/ 12 w 155"/>
                    <a:gd name="T15" fmla="*/ 74 h 120"/>
                    <a:gd name="T16" fmla="*/ 10 w 155"/>
                    <a:gd name="T17" fmla="*/ 82 h 120"/>
                    <a:gd name="T18" fmla="*/ 12 w 155"/>
                    <a:gd name="T19" fmla="*/ 86 h 120"/>
                    <a:gd name="T20" fmla="*/ 19 w 155"/>
                    <a:gd name="T21" fmla="*/ 82 h 120"/>
                    <a:gd name="T22" fmla="*/ 25 w 155"/>
                    <a:gd name="T23" fmla="*/ 86 h 120"/>
                    <a:gd name="T24" fmla="*/ 34 w 155"/>
                    <a:gd name="T25" fmla="*/ 89 h 120"/>
                    <a:gd name="T26" fmla="*/ 32 w 155"/>
                    <a:gd name="T27" fmla="*/ 93 h 120"/>
                    <a:gd name="T28" fmla="*/ 41 w 155"/>
                    <a:gd name="T29" fmla="*/ 98 h 120"/>
                    <a:gd name="T30" fmla="*/ 42 w 155"/>
                    <a:gd name="T31" fmla="*/ 94 h 120"/>
                    <a:gd name="T32" fmla="*/ 47 w 155"/>
                    <a:gd name="T33" fmla="*/ 94 h 120"/>
                    <a:gd name="T34" fmla="*/ 56 w 155"/>
                    <a:gd name="T35" fmla="*/ 96 h 120"/>
                    <a:gd name="T36" fmla="*/ 59 w 155"/>
                    <a:gd name="T37" fmla="*/ 101 h 120"/>
                    <a:gd name="T38" fmla="*/ 68 w 155"/>
                    <a:gd name="T39" fmla="*/ 109 h 120"/>
                    <a:gd name="T40" fmla="*/ 79 w 155"/>
                    <a:gd name="T41" fmla="*/ 113 h 120"/>
                    <a:gd name="T42" fmla="*/ 88 w 155"/>
                    <a:gd name="T43" fmla="*/ 114 h 120"/>
                    <a:gd name="T44" fmla="*/ 95 w 155"/>
                    <a:gd name="T45" fmla="*/ 116 h 120"/>
                    <a:gd name="T46" fmla="*/ 106 w 155"/>
                    <a:gd name="T47" fmla="*/ 116 h 120"/>
                    <a:gd name="T48" fmla="*/ 115 w 155"/>
                    <a:gd name="T49" fmla="*/ 113 h 120"/>
                    <a:gd name="T50" fmla="*/ 123 w 155"/>
                    <a:gd name="T51" fmla="*/ 116 h 120"/>
                    <a:gd name="T52" fmla="*/ 133 w 155"/>
                    <a:gd name="T53" fmla="*/ 120 h 120"/>
                    <a:gd name="T54" fmla="*/ 137 w 155"/>
                    <a:gd name="T55" fmla="*/ 108 h 120"/>
                    <a:gd name="T56" fmla="*/ 149 w 155"/>
                    <a:gd name="T57" fmla="*/ 96 h 120"/>
                    <a:gd name="T58" fmla="*/ 154 w 155"/>
                    <a:gd name="T59" fmla="*/ 86 h 120"/>
                    <a:gd name="T60" fmla="*/ 150 w 155"/>
                    <a:gd name="T61" fmla="*/ 79 h 120"/>
                    <a:gd name="T62" fmla="*/ 147 w 155"/>
                    <a:gd name="T63" fmla="*/ 72 h 120"/>
                    <a:gd name="T64" fmla="*/ 143 w 155"/>
                    <a:gd name="T65" fmla="*/ 62 h 120"/>
                    <a:gd name="T66" fmla="*/ 142 w 155"/>
                    <a:gd name="T67" fmla="*/ 54 h 120"/>
                    <a:gd name="T68" fmla="*/ 150 w 155"/>
                    <a:gd name="T69" fmla="*/ 45 h 120"/>
                    <a:gd name="T70" fmla="*/ 152 w 155"/>
                    <a:gd name="T71" fmla="*/ 32 h 120"/>
                    <a:gd name="T72" fmla="*/ 143 w 155"/>
                    <a:gd name="T73" fmla="*/ 20 h 120"/>
                    <a:gd name="T74" fmla="*/ 140 w 155"/>
                    <a:gd name="T75" fmla="*/ 12 h 120"/>
                    <a:gd name="T76" fmla="*/ 128 w 155"/>
                    <a:gd name="T77" fmla="*/ 10 h 120"/>
                    <a:gd name="T78" fmla="*/ 117 w 155"/>
                    <a:gd name="T79" fmla="*/ 12 h 120"/>
                    <a:gd name="T80" fmla="*/ 101 w 155"/>
                    <a:gd name="T81" fmla="*/ 12 h 120"/>
                    <a:gd name="T82" fmla="*/ 90 w 155"/>
                    <a:gd name="T83" fmla="*/ 10 h 120"/>
                    <a:gd name="T84" fmla="*/ 78 w 155"/>
                    <a:gd name="T85" fmla="*/ 10 h 120"/>
                    <a:gd name="T86" fmla="*/ 71 w 155"/>
                    <a:gd name="T87" fmla="*/ 12 h 120"/>
                    <a:gd name="T88" fmla="*/ 68 w 155"/>
                    <a:gd name="T89" fmla="*/ 3 h 120"/>
                    <a:gd name="T90" fmla="*/ 69 w 155"/>
                    <a:gd name="T91" fmla="*/ 3 h 120"/>
                    <a:gd name="T92" fmla="*/ 71 w 155"/>
                    <a:gd name="T93" fmla="*/ 2 h 120"/>
                    <a:gd name="T94" fmla="*/ 61 w 155"/>
                    <a:gd name="T95" fmla="*/ 0 h 120"/>
                    <a:gd name="T96" fmla="*/ 49 w 155"/>
                    <a:gd name="T97" fmla="*/ 2 h 120"/>
                    <a:gd name="T98" fmla="*/ 37 w 155"/>
                    <a:gd name="T99" fmla="*/ 7 h 120"/>
                    <a:gd name="T100" fmla="*/ 29 w 155"/>
                    <a:gd name="T101" fmla="*/ 12 h 120"/>
                    <a:gd name="T102" fmla="*/ 19 w 155"/>
                    <a:gd name="T103" fmla="*/ 15 h 120"/>
                    <a:gd name="T104" fmla="*/ 9 w 155"/>
                    <a:gd name="T105" fmla="*/ 18 h 120"/>
                    <a:gd name="T106" fmla="*/ 4 w 155"/>
                    <a:gd name="T107" fmla="*/ 20 h 120"/>
                    <a:gd name="T108" fmla="*/ 5 w 155"/>
                    <a:gd name="T109" fmla="*/ 22 h 120"/>
                    <a:gd name="T110" fmla="*/ 4 w 155"/>
                    <a:gd name="T111" fmla="*/ 25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55" h="120">
                      <a:moveTo>
                        <a:pt x="0" y="23"/>
                      </a:moveTo>
                      <a:lnTo>
                        <a:pt x="0" y="25"/>
                      </a:lnTo>
                      <a:lnTo>
                        <a:pt x="2" y="29"/>
                      </a:lnTo>
                      <a:lnTo>
                        <a:pt x="4" y="30"/>
                      </a:lnTo>
                      <a:lnTo>
                        <a:pt x="4" y="32"/>
                      </a:lnTo>
                      <a:lnTo>
                        <a:pt x="4" y="34"/>
                      </a:lnTo>
                      <a:lnTo>
                        <a:pt x="2" y="37"/>
                      </a:lnTo>
                      <a:lnTo>
                        <a:pt x="0" y="39"/>
                      </a:lnTo>
                      <a:lnTo>
                        <a:pt x="0" y="42"/>
                      </a:lnTo>
                      <a:lnTo>
                        <a:pt x="0" y="44"/>
                      </a:lnTo>
                      <a:lnTo>
                        <a:pt x="2" y="45"/>
                      </a:lnTo>
                      <a:lnTo>
                        <a:pt x="4" y="45"/>
                      </a:lnTo>
                      <a:lnTo>
                        <a:pt x="5" y="49"/>
                      </a:lnTo>
                      <a:lnTo>
                        <a:pt x="5" y="50"/>
                      </a:lnTo>
                      <a:lnTo>
                        <a:pt x="5" y="54"/>
                      </a:lnTo>
                      <a:lnTo>
                        <a:pt x="5" y="55"/>
                      </a:lnTo>
                      <a:lnTo>
                        <a:pt x="7" y="61"/>
                      </a:lnTo>
                      <a:lnTo>
                        <a:pt x="7" y="62"/>
                      </a:lnTo>
                      <a:lnTo>
                        <a:pt x="7" y="64"/>
                      </a:lnTo>
                      <a:lnTo>
                        <a:pt x="7" y="67"/>
                      </a:lnTo>
                      <a:lnTo>
                        <a:pt x="9" y="71"/>
                      </a:lnTo>
                      <a:lnTo>
                        <a:pt x="10" y="72"/>
                      </a:lnTo>
                      <a:lnTo>
                        <a:pt x="12" y="72"/>
                      </a:lnTo>
                      <a:lnTo>
                        <a:pt x="12" y="74"/>
                      </a:lnTo>
                      <a:lnTo>
                        <a:pt x="12" y="76"/>
                      </a:lnTo>
                      <a:lnTo>
                        <a:pt x="12" y="79"/>
                      </a:lnTo>
                      <a:lnTo>
                        <a:pt x="10" y="82"/>
                      </a:lnTo>
                      <a:lnTo>
                        <a:pt x="10" y="84"/>
                      </a:lnTo>
                      <a:lnTo>
                        <a:pt x="9" y="84"/>
                      </a:lnTo>
                      <a:lnTo>
                        <a:pt x="12" y="86"/>
                      </a:lnTo>
                      <a:lnTo>
                        <a:pt x="14" y="82"/>
                      </a:lnTo>
                      <a:lnTo>
                        <a:pt x="15" y="82"/>
                      </a:lnTo>
                      <a:lnTo>
                        <a:pt x="19" y="82"/>
                      </a:lnTo>
                      <a:lnTo>
                        <a:pt x="20" y="86"/>
                      </a:lnTo>
                      <a:lnTo>
                        <a:pt x="22" y="86"/>
                      </a:lnTo>
                      <a:lnTo>
                        <a:pt x="25" y="86"/>
                      </a:lnTo>
                      <a:lnTo>
                        <a:pt x="29" y="86"/>
                      </a:lnTo>
                      <a:lnTo>
                        <a:pt x="31" y="89"/>
                      </a:lnTo>
                      <a:lnTo>
                        <a:pt x="34" y="89"/>
                      </a:lnTo>
                      <a:lnTo>
                        <a:pt x="34" y="91"/>
                      </a:lnTo>
                      <a:lnTo>
                        <a:pt x="34" y="93"/>
                      </a:lnTo>
                      <a:lnTo>
                        <a:pt x="32" y="93"/>
                      </a:lnTo>
                      <a:lnTo>
                        <a:pt x="36" y="96"/>
                      </a:lnTo>
                      <a:lnTo>
                        <a:pt x="39" y="98"/>
                      </a:lnTo>
                      <a:lnTo>
                        <a:pt x="41" y="98"/>
                      </a:lnTo>
                      <a:lnTo>
                        <a:pt x="42" y="98"/>
                      </a:lnTo>
                      <a:lnTo>
                        <a:pt x="44" y="96"/>
                      </a:lnTo>
                      <a:lnTo>
                        <a:pt x="42" y="94"/>
                      </a:lnTo>
                      <a:lnTo>
                        <a:pt x="44" y="94"/>
                      </a:lnTo>
                      <a:lnTo>
                        <a:pt x="46" y="94"/>
                      </a:lnTo>
                      <a:lnTo>
                        <a:pt x="47" y="94"/>
                      </a:lnTo>
                      <a:lnTo>
                        <a:pt x="51" y="96"/>
                      </a:lnTo>
                      <a:lnTo>
                        <a:pt x="54" y="96"/>
                      </a:lnTo>
                      <a:lnTo>
                        <a:pt x="56" y="96"/>
                      </a:lnTo>
                      <a:lnTo>
                        <a:pt x="56" y="98"/>
                      </a:lnTo>
                      <a:lnTo>
                        <a:pt x="56" y="99"/>
                      </a:lnTo>
                      <a:lnTo>
                        <a:pt x="59" y="101"/>
                      </a:lnTo>
                      <a:lnTo>
                        <a:pt x="63" y="103"/>
                      </a:lnTo>
                      <a:lnTo>
                        <a:pt x="64" y="106"/>
                      </a:lnTo>
                      <a:lnTo>
                        <a:pt x="68" y="109"/>
                      </a:lnTo>
                      <a:lnTo>
                        <a:pt x="73" y="111"/>
                      </a:lnTo>
                      <a:lnTo>
                        <a:pt x="76" y="113"/>
                      </a:lnTo>
                      <a:lnTo>
                        <a:pt x="79" y="113"/>
                      </a:lnTo>
                      <a:lnTo>
                        <a:pt x="83" y="111"/>
                      </a:lnTo>
                      <a:lnTo>
                        <a:pt x="84" y="113"/>
                      </a:lnTo>
                      <a:lnTo>
                        <a:pt x="88" y="114"/>
                      </a:lnTo>
                      <a:lnTo>
                        <a:pt x="90" y="116"/>
                      </a:lnTo>
                      <a:lnTo>
                        <a:pt x="91" y="118"/>
                      </a:lnTo>
                      <a:lnTo>
                        <a:pt x="95" y="116"/>
                      </a:lnTo>
                      <a:lnTo>
                        <a:pt x="98" y="114"/>
                      </a:lnTo>
                      <a:lnTo>
                        <a:pt x="103" y="114"/>
                      </a:lnTo>
                      <a:lnTo>
                        <a:pt x="106" y="116"/>
                      </a:lnTo>
                      <a:lnTo>
                        <a:pt x="108" y="114"/>
                      </a:lnTo>
                      <a:lnTo>
                        <a:pt x="111" y="113"/>
                      </a:lnTo>
                      <a:lnTo>
                        <a:pt x="115" y="113"/>
                      </a:lnTo>
                      <a:lnTo>
                        <a:pt x="118" y="113"/>
                      </a:lnTo>
                      <a:lnTo>
                        <a:pt x="122" y="114"/>
                      </a:lnTo>
                      <a:lnTo>
                        <a:pt x="123" y="116"/>
                      </a:lnTo>
                      <a:lnTo>
                        <a:pt x="127" y="120"/>
                      </a:lnTo>
                      <a:lnTo>
                        <a:pt x="130" y="120"/>
                      </a:lnTo>
                      <a:lnTo>
                        <a:pt x="133" y="120"/>
                      </a:lnTo>
                      <a:lnTo>
                        <a:pt x="133" y="116"/>
                      </a:lnTo>
                      <a:lnTo>
                        <a:pt x="133" y="113"/>
                      </a:lnTo>
                      <a:lnTo>
                        <a:pt x="137" y="108"/>
                      </a:lnTo>
                      <a:lnTo>
                        <a:pt x="138" y="104"/>
                      </a:lnTo>
                      <a:lnTo>
                        <a:pt x="143" y="99"/>
                      </a:lnTo>
                      <a:lnTo>
                        <a:pt x="149" y="96"/>
                      </a:lnTo>
                      <a:lnTo>
                        <a:pt x="154" y="93"/>
                      </a:lnTo>
                      <a:lnTo>
                        <a:pt x="155" y="89"/>
                      </a:lnTo>
                      <a:lnTo>
                        <a:pt x="154" y="86"/>
                      </a:lnTo>
                      <a:lnTo>
                        <a:pt x="154" y="82"/>
                      </a:lnTo>
                      <a:lnTo>
                        <a:pt x="150" y="81"/>
                      </a:lnTo>
                      <a:lnTo>
                        <a:pt x="150" y="79"/>
                      </a:lnTo>
                      <a:lnTo>
                        <a:pt x="150" y="77"/>
                      </a:lnTo>
                      <a:lnTo>
                        <a:pt x="149" y="76"/>
                      </a:lnTo>
                      <a:lnTo>
                        <a:pt x="147" y="72"/>
                      </a:lnTo>
                      <a:lnTo>
                        <a:pt x="145" y="69"/>
                      </a:lnTo>
                      <a:lnTo>
                        <a:pt x="143" y="66"/>
                      </a:lnTo>
                      <a:lnTo>
                        <a:pt x="143" y="62"/>
                      </a:lnTo>
                      <a:lnTo>
                        <a:pt x="145" y="59"/>
                      </a:lnTo>
                      <a:lnTo>
                        <a:pt x="142" y="57"/>
                      </a:lnTo>
                      <a:lnTo>
                        <a:pt x="142" y="54"/>
                      </a:lnTo>
                      <a:lnTo>
                        <a:pt x="143" y="50"/>
                      </a:lnTo>
                      <a:lnTo>
                        <a:pt x="149" y="49"/>
                      </a:lnTo>
                      <a:lnTo>
                        <a:pt x="150" y="45"/>
                      </a:lnTo>
                      <a:lnTo>
                        <a:pt x="154" y="40"/>
                      </a:lnTo>
                      <a:lnTo>
                        <a:pt x="154" y="37"/>
                      </a:lnTo>
                      <a:lnTo>
                        <a:pt x="152" y="32"/>
                      </a:lnTo>
                      <a:lnTo>
                        <a:pt x="149" y="27"/>
                      </a:lnTo>
                      <a:lnTo>
                        <a:pt x="149" y="25"/>
                      </a:lnTo>
                      <a:lnTo>
                        <a:pt x="143" y="20"/>
                      </a:lnTo>
                      <a:lnTo>
                        <a:pt x="145" y="17"/>
                      </a:lnTo>
                      <a:lnTo>
                        <a:pt x="145" y="15"/>
                      </a:lnTo>
                      <a:lnTo>
                        <a:pt x="140" y="12"/>
                      </a:lnTo>
                      <a:lnTo>
                        <a:pt x="135" y="10"/>
                      </a:lnTo>
                      <a:lnTo>
                        <a:pt x="132" y="10"/>
                      </a:lnTo>
                      <a:lnTo>
                        <a:pt x="128" y="10"/>
                      </a:lnTo>
                      <a:lnTo>
                        <a:pt x="125" y="12"/>
                      </a:lnTo>
                      <a:lnTo>
                        <a:pt x="122" y="12"/>
                      </a:lnTo>
                      <a:lnTo>
                        <a:pt x="117" y="12"/>
                      </a:lnTo>
                      <a:lnTo>
                        <a:pt x="113" y="12"/>
                      </a:lnTo>
                      <a:lnTo>
                        <a:pt x="108" y="12"/>
                      </a:lnTo>
                      <a:lnTo>
                        <a:pt x="101" y="12"/>
                      </a:lnTo>
                      <a:lnTo>
                        <a:pt x="98" y="10"/>
                      </a:lnTo>
                      <a:lnTo>
                        <a:pt x="93" y="10"/>
                      </a:lnTo>
                      <a:lnTo>
                        <a:pt x="90" y="10"/>
                      </a:lnTo>
                      <a:lnTo>
                        <a:pt x="84" y="8"/>
                      </a:lnTo>
                      <a:lnTo>
                        <a:pt x="83" y="10"/>
                      </a:lnTo>
                      <a:lnTo>
                        <a:pt x="78" y="10"/>
                      </a:lnTo>
                      <a:lnTo>
                        <a:pt x="74" y="10"/>
                      </a:lnTo>
                      <a:lnTo>
                        <a:pt x="73" y="12"/>
                      </a:lnTo>
                      <a:lnTo>
                        <a:pt x="71" y="12"/>
                      </a:lnTo>
                      <a:lnTo>
                        <a:pt x="69" y="10"/>
                      </a:lnTo>
                      <a:lnTo>
                        <a:pt x="69" y="7"/>
                      </a:lnTo>
                      <a:lnTo>
                        <a:pt x="68" y="3"/>
                      </a:lnTo>
                      <a:lnTo>
                        <a:pt x="68" y="2"/>
                      </a:lnTo>
                      <a:lnTo>
                        <a:pt x="68" y="3"/>
                      </a:lnTo>
                      <a:lnTo>
                        <a:pt x="69" y="3"/>
                      </a:lnTo>
                      <a:lnTo>
                        <a:pt x="73" y="5"/>
                      </a:lnTo>
                      <a:lnTo>
                        <a:pt x="73" y="3"/>
                      </a:lnTo>
                      <a:lnTo>
                        <a:pt x="71" y="2"/>
                      </a:lnTo>
                      <a:lnTo>
                        <a:pt x="68" y="0"/>
                      </a:lnTo>
                      <a:lnTo>
                        <a:pt x="64" y="0"/>
                      </a:lnTo>
                      <a:lnTo>
                        <a:pt x="61" y="0"/>
                      </a:lnTo>
                      <a:lnTo>
                        <a:pt x="58" y="0"/>
                      </a:lnTo>
                      <a:lnTo>
                        <a:pt x="52" y="2"/>
                      </a:lnTo>
                      <a:lnTo>
                        <a:pt x="49" y="2"/>
                      </a:lnTo>
                      <a:lnTo>
                        <a:pt x="46" y="3"/>
                      </a:lnTo>
                      <a:lnTo>
                        <a:pt x="42" y="5"/>
                      </a:lnTo>
                      <a:lnTo>
                        <a:pt x="37" y="7"/>
                      </a:lnTo>
                      <a:lnTo>
                        <a:pt x="36" y="8"/>
                      </a:lnTo>
                      <a:lnTo>
                        <a:pt x="32" y="10"/>
                      </a:lnTo>
                      <a:lnTo>
                        <a:pt x="29" y="12"/>
                      </a:lnTo>
                      <a:lnTo>
                        <a:pt x="25" y="13"/>
                      </a:lnTo>
                      <a:lnTo>
                        <a:pt x="24" y="13"/>
                      </a:lnTo>
                      <a:lnTo>
                        <a:pt x="19" y="15"/>
                      </a:lnTo>
                      <a:lnTo>
                        <a:pt x="14" y="15"/>
                      </a:lnTo>
                      <a:lnTo>
                        <a:pt x="10" y="17"/>
                      </a:lnTo>
                      <a:lnTo>
                        <a:pt x="9" y="18"/>
                      </a:lnTo>
                      <a:lnTo>
                        <a:pt x="7" y="20"/>
                      </a:lnTo>
                      <a:lnTo>
                        <a:pt x="7" y="18"/>
                      </a:lnTo>
                      <a:lnTo>
                        <a:pt x="4" y="20"/>
                      </a:lnTo>
                      <a:lnTo>
                        <a:pt x="2" y="22"/>
                      </a:lnTo>
                      <a:lnTo>
                        <a:pt x="4" y="22"/>
                      </a:lnTo>
                      <a:lnTo>
                        <a:pt x="5" y="22"/>
                      </a:lnTo>
                      <a:lnTo>
                        <a:pt x="5" y="23"/>
                      </a:lnTo>
                      <a:lnTo>
                        <a:pt x="5" y="25"/>
                      </a:lnTo>
                      <a:lnTo>
                        <a:pt x="4" y="25"/>
                      </a:lnTo>
                      <a:lnTo>
                        <a:pt x="0" y="2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63" name="Group 1662">
                <a:extLst>
                  <a:ext uri="{FF2B5EF4-FFF2-40B4-BE49-F238E27FC236}">
                    <a16:creationId xmlns:a16="http://schemas.microsoft.com/office/drawing/2014/main" id="{6805F578-61D5-B844-88D4-31A0801F02A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5" y="657"/>
                <a:ext cx="51" cy="93"/>
                <a:chOff x="15" y="657"/>
                <a:chExt cx="51" cy="93"/>
              </a:xfrm>
            </p:grpSpPr>
            <p:sp>
              <p:nvSpPr>
                <p:cNvPr id="1787" name="Freeform 161">
                  <a:extLst>
                    <a:ext uri="{FF2B5EF4-FFF2-40B4-BE49-F238E27FC236}">
                      <a16:creationId xmlns:a16="http://schemas.microsoft.com/office/drawing/2014/main" id="{03C47970-A274-CA4E-8973-F7205FA9F3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" y="657"/>
                  <a:ext cx="51" cy="93"/>
                </a:xfrm>
                <a:custGeom>
                  <a:avLst/>
                  <a:gdLst>
                    <a:gd name="T0" fmla="*/ 17 w 51"/>
                    <a:gd name="T1" fmla="*/ 2 h 93"/>
                    <a:gd name="T2" fmla="*/ 22 w 51"/>
                    <a:gd name="T3" fmla="*/ 2 h 93"/>
                    <a:gd name="T4" fmla="*/ 24 w 51"/>
                    <a:gd name="T5" fmla="*/ 5 h 93"/>
                    <a:gd name="T6" fmla="*/ 31 w 51"/>
                    <a:gd name="T7" fmla="*/ 5 h 93"/>
                    <a:gd name="T8" fmla="*/ 37 w 51"/>
                    <a:gd name="T9" fmla="*/ 3 h 93"/>
                    <a:gd name="T10" fmla="*/ 48 w 51"/>
                    <a:gd name="T11" fmla="*/ 5 h 93"/>
                    <a:gd name="T12" fmla="*/ 51 w 51"/>
                    <a:gd name="T13" fmla="*/ 10 h 93"/>
                    <a:gd name="T14" fmla="*/ 49 w 51"/>
                    <a:gd name="T15" fmla="*/ 15 h 93"/>
                    <a:gd name="T16" fmla="*/ 42 w 51"/>
                    <a:gd name="T17" fmla="*/ 20 h 93"/>
                    <a:gd name="T18" fmla="*/ 42 w 51"/>
                    <a:gd name="T19" fmla="*/ 27 h 93"/>
                    <a:gd name="T20" fmla="*/ 41 w 51"/>
                    <a:gd name="T21" fmla="*/ 34 h 93"/>
                    <a:gd name="T22" fmla="*/ 42 w 51"/>
                    <a:gd name="T23" fmla="*/ 39 h 93"/>
                    <a:gd name="T24" fmla="*/ 39 w 51"/>
                    <a:gd name="T25" fmla="*/ 44 h 93"/>
                    <a:gd name="T26" fmla="*/ 34 w 51"/>
                    <a:gd name="T27" fmla="*/ 47 h 93"/>
                    <a:gd name="T28" fmla="*/ 36 w 51"/>
                    <a:gd name="T29" fmla="*/ 54 h 93"/>
                    <a:gd name="T30" fmla="*/ 39 w 51"/>
                    <a:gd name="T31" fmla="*/ 57 h 93"/>
                    <a:gd name="T32" fmla="*/ 36 w 51"/>
                    <a:gd name="T33" fmla="*/ 62 h 93"/>
                    <a:gd name="T34" fmla="*/ 36 w 51"/>
                    <a:gd name="T35" fmla="*/ 69 h 93"/>
                    <a:gd name="T36" fmla="*/ 39 w 51"/>
                    <a:gd name="T37" fmla="*/ 74 h 93"/>
                    <a:gd name="T38" fmla="*/ 34 w 51"/>
                    <a:gd name="T39" fmla="*/ 79 h 93"/>
                    <a:gd name="T40" fmla="*/ 32 w 51"/>
                    <a:gd name="T41" fmla="*/ 86 h 93"/>
                    <a:gd name="T42" fmla="*/ 32 w 51"/>
                    <a:gd name="T43" fmla="*/ 89 h 93"/>
                    <a:gd name="T44" fmla="*/ 31 w 51"/>
                    <a:gd name="T45" fmla="*/ 91 h 93"/>
                    <a:gd name="T46" fmla="*/ 26 w 51"/>
                    <a:gd name="T47" fmla="*/ 93 h 93"/>
                    <a:gd name="T48" fmla="*/ 21 w 51"/>
                    <a:gd name="T49" fmla="*/ 93 h 93"/>
                    <a:gd name="T50" fmla="*/ 14 w 51"/>
                    <a:gd name="T51" fmla="*/ 93 h 93"/>
                    <a:gd name="T52" fmla="*/ 9 w 51"/>
                    <a:gd name="T53" fmla="*/ 91 h 93"/>
                    <a:gd name="T54" fmla="*/ 10 w 51"/>
                    <a:gd name="T55" fmla="*/ 86 h 93"/>
                    <a:gd name="T56" fmla="*/ 10 w 51"/>
                    <a:gd name="T57" fmla="*/ 81 h 93"/>
                    <a:gd name="T58" fmla="*/ 12 w 51"/>
                    <a:gd name="T59" fmla="*/ 78 h 93"/>
                    <a:gd name="T60" fmla="*/ 12 w 51"/>
                    <a:gd name="T61" fmla="*/ 73 h 93"/>
                    <a:gd name="T62" fmla="*/ 12 w 51"/>
                    <a:gd name="T63" fmla="*/ 68 h 93"/>
                    <a:gd name="T64" fmla="*/ 10 w 51"/>
                    <a:gd name="T65" fmla="*/ 66 h 93"/>
                    <a:gd name="T66" fmla="*/ 5 w 51"/>
                    <a:gd name="T67" fmla="*/ 68 h 93"/>
                    <a:gd name="T68" fmla="*/ 4 w 51"/>
                    <a:gd name="T69" fmla="*/ 64 h 93"/>
                    <a:gd name="T70" fmla="*/ 0 w 51"/>
                    <a:gd name="T71" fmla="*/ 61 h 93"/>
                    <a:gd name="T72" fmla="*/ 2 w 51"/>
                    <a:gd name="T73" fmla="*/ 57 h 93"/>
                    <a:gd name="T74" fmla="*/ 2 w 51"/>
                    <a:gd name="T75" fmla="*/ 52 h 93"/>
                    <a:gd name="T76" fmla="*/ 5 w 51"/>
                    <a:gd name="T77" fmla="*/ 49 h 93"/>
                    <a:gd name="T78" fmla="*/ 7 w 51"/>
                    <a:gd name="T79" fmla="*/ 44 h 93"/>
                    <a:gd name="T80" fmla="*/ 10 w 51"/>
                    <a:gd name="T81" fmla="*/ 37 h 93"/>
                    <a:gd name="T82" fmla="*/ 10 w 51"/>
                    <a:gd name="T83" fmla="*/ 30 h 93"/>
                    <a:gd name="T84" fmla="*/ 12 w 51"/>
                    <a:gd name="T85" fmla="*/ 25 h 93"/>
                    <a:gd name="T86" fmla="*/ 14 w 51"/>
                    <a:gd name="T87" fmla="*/ 19 h 93"/>
                    <a:gd name="T88" fmla="*/ 12 w 51"/>
                    <a:gd name="T89" fmla="*/ 14 h 93"/>
                    <a:gd name="T90" fmla="*/ 10 w 51"/>
                    <a:gd name="T91" fmla="*/ 5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1" h="93">
                      <a:moveTo>
                        <a:pt x="14" y="3"/>
                      </a:moveTo>
                      <a:lnTo>
                        <a:pt x="17" y="2"/>
                      </a:lnTo>
                      <a:lnTo>
                        <a:pt x="22" y="0"/>
                      </a:lnTo>
                      <a:lnTo>
                        <a:pt x="22" y="2"/>
                      </a:lnTo>
                      <a:lnTo>
                        <a:pt x="22" y="3"/>
                      </a:lnTo>
                      <a:lnTo>
                        <a:pt x="24" y="5"/>
                      </a:lnTo>
                      <a:lnTo>
                        <a:pt x="27" y="5"/>
                      </a:lnTo>
                      <a:lnTo>
                        <a:pt x="31" y="5"/>
                      </a:lnTo>
                      <a:lnTo>
                        <a:pt x="34" y="5"/>
                      </a:lnTo>
                      <a:lnTo>
                        <a:pt x="37" y="3"/>
                      </a:lnTo>
                      <a:lnTo>
                        <a:pt x="42" y="3"/>
                      </a:lnTo>
                      <a:lnTo>
                        <a:pt x="48" y="5"/>
                      </a:lnTo>
                      <a:lnTo>
                        <a:pt x="49" y="7"/>
                      </a:lnTo>
                      <a:lnTo>
                        <a:pt x="51" y="10"/>
                      </a:lnTo>
                      <a:lnTo>
                        <a:pt x="51" y="12"/>
                      </a:lnTo>
                      <a:lnTo>
                        <a:pt x="49" y="15"/>
                      </a:lnTo>
                      <a:lnTo>
                        <a:pt x="46" y="19"/>
                      </a:lnTo>
                      <a:lnTo>
                        <a:pt x="42" y="20"/>
                      </a:lnTo>
                      <a:lnTo>
                        <a:pt x="42" y="24"/>
                      </a:lnTo>
                      <a:lnTo>
                        <a:pt x="42" y="27"/>
                      </a:lnTo>
                      <a:lnTo>
                        <a:pt x="42" y="30"/>
                      </a:lnTo>
                      <a:lnTo>
                        <a:pt x="41" y="34"/>
                      </a:lnTo>
                      <a:lnTo>
                        <a:pt x="41" y="36"/>
                      </a:lnTo>
                      <a:lnTo>
                        <a:pt x="42" y="39"/>
                      </a:lnTo>
                      <a:lnTo>
                        <a:pt x="42" y="41"/>
                      </a:lnTo>
                      <a:lnTo>
                        <a:pt x="39" y="44"/>
                      </a:lnTo>
                      <a:lnTo>
                        <a:pt x="36" y="46"/>
                      </a:lnTo>
                      <a:lnTo>
                        <a:pt x="34" y="47"/>
                      </a:lnTo>
                      <a:lnTo>
                        <a:pt x="34" y="51"/>
                      </a:lnTo>
                      <a:lnTo>
                        <a:pt x="36" y="54"/>
                      </a:lnTo>
                      <a:lnTo>
                        <a:pt x="37" y="56"/>
                      </a:lnTo>
                      <a:lnTo>
                        <a:pt x="39" y="57"/>
                      </a:lnTo>
                      <a:lnTo>
                        <a:pt x="37" y="59"/>
                      </a:lnTo>
                      <a:lnTo>
                        <a:pt x="36" y="62"/>
                      </a:lnTo>
                      <a:lnTo>
                        <a:pt x="36" y="66"/>
                      </a:lnTo>
                      <a:lnTo>
                        <a:pt x="36" y="69"/>
                      </a:lnTo>
                      <a:lnTo>
                        <a:pt x="39" y="73"/>
                      </a:lnTo>
                      <a:lnTo>
                        <a:pt x="39" y="74"/>
                      </a:lnTo>
                      <a:lnTo>
                        <a:pt x="37" y="78"/>
                      </a:lnTo>
                      <a:lnTo>
                        <a:pt x="34" y="79"/>
                      </a:lnTo>
                      <a:lnTo>
                        <a:pt x="32" y="83"/>
                      </a:lnTo>
                      <a:lnTo>
                        <a:pt x="32" y="86"/>
                      </a:lnTo>
                      <a:lnTo>
                        <a:pt x="32" y="88"/>
                      </a:lnTo>
                      <a:lnTo>
                        <a:pt x="32" y="89"/>
                      </a:lnTo>
                      <a:lnTo>
                        <a:pt x="32" y="91"/>
                      </a:lnTo>
                      <a:lnTo>
                        <a:pt x="31" y="91"/>
                      </a:lnTo>
                      <a:lnTo>
                        <a:pt x="29" y="93"/>
                      </a:lnTo>
                      <a:lnTo>
                        <a:pt x="26" y="93"/>
                      </a:lnTo>
                      <a:lnTo>
                        <a:pt x="22" y="93"/>
                      </a:lnTo>
                      <a:lnTo>
                        <a:pt x="21" y="93"/>
                      </a:lnTo>
                      <a:lnTo>
                        <a:pt x="17" y="93"/>
                      </a:lnTo>
                      <a:lnTo>
                        <a:pt x="14" y="93"/>
                      </a:lnTo>
                      <a:lnTo>
                        <a:pt x="10" y="93"/>
                      </a:lnTo>
                      <a:lnTo>
                        <a:pt x="9" y="91"/>
                      </a:lnTo>
                      <a:lnTo>
                        <a:pt x="9" y="89"/>
                      </a:lnTo>
                      <a:lnTo>
                        <a:pt x="10" y="86"/>
                      </a:lnTo>
                      <a:lnTo>
                        <a:pt x="12" y="83"/>
                      </a:lnTo>
                      <a:lnTo>
                        <a:pt x="10" y="81"/>
                      </a:lnTo>
                      <a:lnTo>
                        <a:pt x="10" y="79"/>
                      </a:lnTo>
                      <a:lnTo>
                        <a:pt x="12" y="78"/>
                      </a:lnTo>
                      <a:lnTo>
                        <a:pt x="10" y="76"/>
                      </a:lnTo>
                      <a:lnTo>
                        <a:pt x="12" y="73"/>
                      </a:lnTo>
                      <a:lnTo>
                        <a:pt x="12" y="69"/>
                      </a:lnTo>
                      <a:lnTo>
                        <a:pt x="12" y="68"/>
                      </a:lnTo>
                      <a:lnTo>
                        <a:pt x="12" y="66"/>
                      </a:lnTo>
                      <a:lnTo>
                        <a:pt x="10" y="66"/>
                      </a:lnTo>
                      <a:lnTo>
                        <a:pt x="9" y="68"/>
                      </a:lnTo>
                      <a:lnTo>
                        <a:pt x="5" y="68"/>
                      </a:lnTo>
                      <a:lnTo>
                        <a:pt x="5" y="66"/>
                      </a:lnTo>
                      <a:lnTo>
                        <a:pt x="4" y="64"/>
                      </a:lnTo>
                      <a:lnTo>
                        <a:pt x="0" y="62"/>
                      </a:lnTo>
                      <a:lnTo>
                        <a:pt x="0" y="61"/>
                      </a:lnTo>
                      <a:lnTo>
                        <a:pt x="2" y="59"/>
                      </a:lnTo>
                      <a:lnTo>
                        <a:pt x="2" y="57"/>
                      </a:lnTo>
                      <a:lnTo>
                        <a:pt x="2" y="54"/>
                      </a:lnTo>
                      <a:lnTo>
                        <a:pt x="2" y="52"/>
                      </a:lnTo>
                      <a:lnTo>
                        <a:pt x="4" y="51"/>
                      </a:lnTo>
                      <a:lnTo>
                        <a:pt x="5" y="49"/>
                      </a:lnTo>
                      <a:lnTo>
                        <a:pt x="7" y="46"/>
                      </a:lnTo>
                      <a:lnTo>
                        <a:pt x="7" y="44"/>
                      </a:lnTo>
                      <a:lnTo>
                        <a:pt x="9" y="41"/>
                      </a:lnTo>
                      <a:lnTo>
                        <a:pt x="10" y="37"/>
                      </a:lnTo>
                      <a:lnTo>
                        <a:pt x="10" y="34"/>
                      </a:lnTo>
                      <a:lnTo>
                        <a:pt x="10" y="30"/>
                      </a:lnTo>
                      <a:lnTo>
                        <a:pt x="12" y="27"/>
                      </a:lnTo>
                      <a:lnTo>
                        <a:pt x="12" y="25"/>
                      </a:lnTo>
                      <a:lnTo>
                        <a:pt x="12" y="22"/>
                      </a:lnTo>
                      <a:lnTo>
                        <a:pt x="14" y="19"/>
                      </a:lnTo>
                      <a:lnTo>
                        <a:pt x="14" y="17"/>
                      </a:lnTo>
                      <a:lnTo>
                        <a:pt x="12" y="14"/>
                      </a:lnTo>
                      <a:lnTo>
                        <a:pt x="12" y="9"/>
                      </a:lnTo>
                      <a:lnTo>
                        <a:pt x="10" y="5"/>
                      </a:lnTo>
                      <a:lnTo>
                        <a:pt x="14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88" name="Freeform 162">
                  <a:extLst>
                    <a:ext uri="{FF2B5EF4-FFF2-40B4-BE49-F238E27FC236}">
                      <a16:creationId xmlns:a16="http://schemas.microsoft.com/office/drawing/2014/main" id="{ACD6F9BE-9447-EF41-ACA2-6715AF609B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" y="657"/>
                  <a:ext cx="51" cy="93"/>
                </a:xfrm>
                <a:custGeom>
                  <a:avLst/>
                  <a:gdLst>
                    <a:gd name="T0" fmla="*/ 17 w 51"/>
                    <a:gd name="T1" fmla="*/ 2 h 93"/>
                    <a:gd name="T2" fmla="*/ 22 w 51"/>
                    <a:gd name="T3" fmla="*/ 2 h 93"/>
                    <a:gd name="T4" fmla="*/ 24 w 51"/>
                    <a:gd name="T5" fmla="*/ 5 h 93"/>
                    <a:gd name="T6" fmla="*/ 31 w 51"/>
                    <a:gd name="T7" fmla="*/ 5 h 93"/>
                    <a:gd name="T8" fmla="*/ 37 w 51"/>
                    <a:gd name="T9" fmla="*/ 3 h 93"/>
                    <a:gd name="T10" fmla="*/ 48 w 51"/>
                    <a:gd name="T11" fmla="*/ 5 h 93"/>
                    <a:gd name="T12" fmla="*/ 51 w 51"/>
                    <a:gd name="T13" fmla="*/ 10 h 93"/>
                    <a:gd name="T14" fmla="*/ 49 w 51"/>
                    <a:gd name="T15" fmla="*/ 15 h 93"/>
                    <a:gd name="T16" fmla="*/ 42 w 51"/>
                    <a:gd name="T17" fmla="*/ 20 h 93"/>
                    <a:gd name="T18" fmla="*/ 42 w 51"/>
                    <a:gd name="T19" fmla="*/ 27 h 93"/>
                    <a:gd name="T20" fmla="*/ 41 w 51"/>
                    <a:gd name="T21" fmla="*/ 34 h 93"/>
                    <a:gd name="T22" fmla="*/ 42 w 51"/>
                    <a:gd name="T23" fmla="*/ 39 h 93"/>
                    <a:gd name="T24" fmla="*/ 39 w 51"/>
                    <a:gd name="T25" fmla="*/ 44 h 93"/>
                    <a:gd name="T26" fmla="*/ 34 w 51"/>
                    <a:gd name="T27" fmla="*/ 47 h 93"/>
                    <a:gd name="T28" fmla="*/ 36 w 51"/>
                    <a:gd name="T29" fmla="*/ 54 h 93"/>
                    <a:gd name="T30" fmla="*/ 39 w 51"/>
                    <a:gd name="T31" fmla="*/ 57 h 93"/>
                    <a:gd name="T32" fmla="*/ 36 w 51"/>
                    <a:gd name="T33" fmla="*/ 62 h 93"/>
                    <a:gd name="T34" fmla="*/ 36 w 51"/>
                    <a:gd name="T35" fmla="*/ 69 h 93"/>
                    <a:gd name="T36" fmla="*/ 39 w 51"/>
                    <a:gd name="T37" fmla="*/ 74 h 93"/>
                    <a:gd name="T38" fmla="*/ 34 w 51"/>
                    <a:gd name="T39" fmla="*/ 79 h 93"/>
                    <a:gd name="T40" fmla="*/ 32 w 51"/>
                    <a:gd name="T41" fmla="*/ 86 h 93"/>
                    <a:gd name="T42" fmla="*/ 32 w 51"/>
                    <a:gd name="T43" fmla="*/ 89 h 93"/>
                    <a:gd name="T44" fmla="*/ 31 w 51"/>
                    <a:gd name="T45" fmla="*/ 91 h 93"/>
                    <a:gd name="T46" fmla="*/ 26 w 51"/>
                    <a:gd name="T47" fmla="*/ 93 h 93"/>
                    <a:gd name="T48" fmla="*/ 21 w 51"/>
                    <a:gd name="T49" fmla="*/ 93 h 93"/>
                    <a:gd name="T50" fmla="*/ 14 w 51"/>
                    <a:gd name="T51" fmla="*/ 93 h 93"/>
                    <a:gd name="T52" fmla="*/ 9 w 51"/>
                    <a:gd name="T53" fmla="*/ 91 h 93"/>
                    <a:gd name="T54" fmla="*/ 10 w 51"/>
                    <a:gd name="T55" fmla="*/ 86 h 93"/>
                    <a:gd name="T56" fmla="*/ 10 w 51"/>
                    <a:gd name="T57" fmla="*/ 81 h 93"/>
                    <a:gd name="T58" fmla="*/ 12 w 51"/>
                    <a:gd name="T59" fmla="*/ 78 h 93"/>
                    <a:gd name="T60" fmla="*/ 12 w 51"/>
                    <a:gd name="T61" fmla="*/ 73 h 93"/>
                    <a:gd name="T62" fmla="*/ 12 w 51"/>
                    <a:gd name="T63" fmla="*/ 68 h 93"/>
                    <a:gd name="T64" fmla="*/ 10 w 51"/>
                    <a:gd name="T65" fmla="*/ 66 h 93"/>
                    <a:gd name="T66" fmla="*/ 5 w 51"/>
                    <a:gd name="T67" fmla="*/ 68 h 93"/>
                    <a:gd name="T68" fmla="*/ 4 w 51"/>
                    <a:gd name="T69" fmla="*/ 64 h 93"/>
                    <a:gd name="T70" fmla="*/ 0 w 51"/>
                    <a:gd name="T71" fmla="*/ 61 h 93"/>
                    <a:gd name="T72" fmla="*/ 2 w 51"/>
                    <a:gd name="T73" fmla="*/ 57 h 93"/>
                    <a:gd name="T74" fmla="*/ 2 w 51"/>
                    <a:gd name="T75" fmla="*/ 52 h 93"/>
                    <a:gd name="T76" fmla="*/ 5 w 51"/>
                    <a:gd name="T77" fmla="*/ 49 h 93"/>
                    <a:gd name="T78" fmla="*/ 7 w 51"/>
                    <a:gd name="T79" fmla="*/ 44 h 93"/>
                    <a:gd name="T80" fmla="*/ 10 w 51"/>
                    <a:gd name="T81" fmla="*/ 37 h 93"/>
                    <a:gd name="T82" fmla="*/ 10 w 51"/>
                    <a:gd name="T83" fmla="*/ 30 h 93"/>
                    <a:gd name="T84" fmla="*/ 12 w 51"/>
                    <a:gd name="T85" fmla="*/ 25 h 93"/>
                    <a:gd name="T86" fmla="*/ 14 w 51"/>
                    <a:gd name="T87" fmla="*/ 19 h 93"/>
                    <a:gd name="T88" fmla="*/ 12 w 51"/>
                    <a:gd name="T89" fmla="*/ 14 h 93"/>
                    <a:gd name="T90" fmla="*/ 10 w 51"/>
                    <a:gd name="T91" fmla="*/ 5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1" h="93">
                      <a:moveTo>
                        <a:pt x="14" y="3"/>
                      </a:moveTo>
                      <a:lnTo>
                        <a:pt x="17" y="2"/>
                      </a:lnTo>
                      <a:lnTo>
                        <a:pt x="22" y="0"/>
                      </a:lnTo>
                      <a:lnTo>
                        <a:pt x="22" y="2"/>
                      </a:lnTo>
                      <a:lnTo>
                        <a:pt x="22" y="3"/>
                      </a:lnTo>
                      <a:lnTo>
                        <a:pt x="24" y="5"/>
                      </a:lnTo>
                      <a:lnTo>
                        <a:pt x="27" y="5"/>
                      </a:lnTo>
                      <a:lnTo>
                        <a:pt x="31" y="5"/>
                      </a:lnTo>
                      <a:lnTo>
                        <a:pt x="34" y="5"/>
                      </a:lnTo>
                      <a:lnTo>
                        <a:pt x="37" y="3"/>
                      </a:lnTo>
                      <a:lnTo>
                        <a:pt x="42" y="3"/>
                      </a:lnTo>
                      <a:lnTo>
                        <a:pt x="48" y="5"/>
                      </a:lnTo>
                      <a:lnTo>
                        <a:pt x="49" y="7"/>
                      </a:lnTo>
                      <a:lnTo>
                        <a:pt x="51" y="10"/>
                      </a:lnTo>
                      <a:lnTo>
                        <a:pt x="51" y="12"/>
                      </a:lnTo>
                      <a:lnTo>
                        <a:pt x="49" y="15"/>
                      </a:lnTo>
                      <a:lnTo>
                        <a:pt x="46" y="19"/>
                      </a:lnTo>
                      <a:lnTo>
                        <a:pt x="42" y="20"/>
                      </a:lnTo>
                      <a:lnTo>
                        <a:pt x="42" y="24"/>
                      </a:lnTo>
                      <a:lnTo>
                        <a:pt x="42" y="27"/>
                      </a:lnTo>
                      <a:lnTo>
                        <a:pt x="42" y="30"/>
                      </a:lnTo>
                      <a:lnTo>
                        <a:pt x="41" y="34"/>
                      </a:lnTo>
                      <a:lnTo>
                        <a:pt x="41" y="36"/>
                      </a:lnTo>
                      <a:lnTo>
                        <a:pt x="42" y="39"/>
                      </a:lnTo>
                      <a:lnTo>
                        <a:pt x="42" y="41"/>
                      </a:lnTo>
                      <a:lnTo>
                        <a:pt x="39" y="44"/>
                      </a:lnTo>
                      <a:lnTo>
                        <a:pt x="36" y="46"/>
                      </a:lnTo>
                      <a:lnTo>
                        <a:pt x="34" y="47"/>
                      </a:lnTo>
                      <a:lnTo>
                        <a:pt x="34" y="51"/>
                      </a:lnTo>
                      <a:lnTo>
                        <a:pt x="36" y="54"/>
                      </a:lnTo>
                      <a:lnTo>
                        <a:pt x="37" y="56"/>
                      </a:lnTo>
                      <a:lnTo>
                        <a:pt x="39" y="57"/>
                      </a:lnTo>
                      <a:lnTo>
                        <a:pt x="37" y="59"/>
                      </a:lnTo>
                      <a:lnTo>
                        <a:pt x="36" y="62"/>
                      </a:lnTo>
                      <a:lnTo>
                        <a:pt x="36" y="66"/>
                      </a:lnTo>
                      <a:lnTo>
                        <a:pt x="36" y="69"/>
                      </a:lnTo>
                      <a:lnTo>
                        <a:pt x="39" y="73"/>
                      </a:lnTo>
                      <a:lnTo>
                        <a:pt x="39" y="74"/>
                      </a:lnTo>
                      <a:lnTo>
                        <a:pt x="37" y="78"/>
                      </a:lnTo>
                      <a:lnTo>
                        <a:pt x="34" y="79"/>
                      </a:lnTo>
                      <a:lnTo>
                        <a:pt x="32" y="83"/>
                      </a:lnTo>
                      <a:lnTo>
                        <a:pt x="32" y="86"/>
                      </a:lnTo>
                      <a:lnTo>
                        <a:pt x="32" y="88"/>
                      </a:lnTo>
                      <a:lnTo>
                        <a:pt x="32" y="89"/>
                      </a:lnTo>
                      <a:lnTo>
                        <a:pt x="32" y="91"/>
                      </a:lnTo>
                      <a:lnTo>
                        <a:pt x="31" y="91"/>
                      </a:lnTo>
                      <a:lnTo>
                        <a:pt x="29" y="93"/>
                      </a:lnTo>
                      <a:lnTo>
                        <a:pt x="26" y="93"/>
                      </a:lnTo>
                      <a:lnTo>
                        <a:pt x="22" y="93"/>
                      </a:lnTo>
                      <a:lnTo>
                        <a:pt x="21" y="93"/>
                      </a:lnTo>
                      <a:lnTo>
                        <a:pt x="17" y="93"/>
                      </a:lnTo>
                      <a:lnTo>
                        <a:pt x="14" y="93"/>
                      </a:lnTo>
                      <a:lnTo>
                        <a:pt x="10" y="93"/>
                      </a:lnTo>
                      <a:lnTo>
                        <a:pt x="9" y="91"/>
                      </a:lnTo>
                      <a:lnTo>
                        <a:pt x="9" y="89"/>
                      </a:lnTo>
                      <a:lnTo>
                        <a:pt x="10" y="86"/>
                      </a:lnTo>
                      <a:lnTo>
                        <a:pt x="12" y="83"/>
                      </a:lnTo>
                      <a:lnTo>
                        <a:pt x="10" y="81"/>
                      </a:lnTo>
                      <a:lnTo>
                        <a:pt x="10" y="79"/>
                      </a:lnTo>
                      <a:lnTo>
                        <a:pt x="12" y="78"/>
                      </a:lnTo>
                      <a:lnTo>
                        <a:pt x="10" y="76"/>
                      </a:lnTo>
                      <a:lnTo>
                        <a:pt x="12" y="73"/>
                      </a:lnTo>
                      <a:lnTo>
                        <a:pt x="12" y="69"/>
                      </a:lnTo>
                      <a:lnTo>
                        <a:pt x="12" y="68"/>
                      </a:lnTo>
                      <a:lnTo>
                        <a:pt x="12" y="66"/>
                      </a:lnTo>
                      <a:lnTo>
                        <a:pt x="10" y="66"/>
                      </a:lnTo>
                      <a:lnTo>
                        <a:pt x="9" y="68"/>
                      </a:lnTo>
                      <a:lnTo>
                        <a:pt x="5" y="68"/>
                      </a:lnTo>
                      <a:lnTo>
                        <a:pt x="5" y="66"/>
                      </a:lnTo>
                      <a:lnTo>
                        <a:pt x="4" y="64"/>
                      </a:lnTo>
                      <a:lnTo>
                        <a:pt x="0" y="62"/>
                      </a:lnTo>
                      <a:lnTo>
                        <a:pt x="0" y="61"/>
                      </a:lnTo>
                      <a:lnTo>
                        <a:pt x="2" y="59"/>
                      </a:lnTo>
                      <a:lnTo>
                        <a:pt x="2" y="57"/>
                      </a:lnTo>
                      <a:lnTo>
                        <a:pt x="2" y="54"/>
                      </a:lnTo>
                      <a:lnTo>
                        <a:pt x="2" y="52"/>
                      </a:lnTo>
                      <a:lnTo>
                        <a:pt x="4" y="51"/>
                      </a:lnTo>
                      <a:lnTo>
                        <a:pt x="5" y="49"/>
                      </a:lnTo>
                      <a:lnTo>
                        <a:pt x="7" y="46"/>
                      </a:lnTo>
                      <a:lnTo>
                        <a:pt x="7" y="44"/>
                      </a:lnTo>
                      <a:lnTo>
                        <a:pt x="9" y="41"/>
                      </a:lnTo>
                      <a:lnTo>
                        <a:pt x="10" y="37"/>
                      </a:lnTo>
                      <a:lnTo>
                        <a:pt x="10" y="34"/>
                      </a:lnTo>
                      <a:lnTo>
                        <a:pt x="10" y="30"/>
                      </a:lnTo>
                      <a:lnTo>
                        <a:pt x="12" y="27"/>
                      </a:lnTo>
                      <a:lnTo>
                        <a:pt x="12" y="25"/>
                      </a:lnTo>
                      <a:lnTo>
                        <a:pt x="12" y="22"/>
                      </a:lnTo>
                      <a:lnTo>
                        <a:pt x="14" y="19"/>
                      </a:lnTo>
                      <a:lnTo>
                        <a:pt x="14" y="17"/>
                      </a:lnTo>
                      <a:lnTo>
                        <a:pt x="12" y="14"/>
                      </a:lnTo>
                      <a:lnTo>
                        <a:pt x="12" y="9"/>
                      </a:lnTo>
                      <a:lnTo>
                        <a:pt x="10" y="5"/>
                      </a:lnTo>
                      <a:lnTo>
                        <a:pt x="14" y="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64" name="Group 1663">
                <a:extLst>
                  <a:ext uri="{FF2B5EF4-FFF2-40B4-BE49-F238E27FC236}">
                    <a16:creationId xmlns:a16="http://schemas.microsoft.com/office/drawing/2014/main" id="{225D9F13-B50A-1C41-9B2B-F123B166B4A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6" y="537"/>
                <a:ext cx="148" cy="91"/>
                <a:chOff x="476" y="537"/>
                <a:chExt cx="148" cy="91"/>
              </a:xfrm>
            </p:grpSpPr>
            <p:sp>
              <p:nvSpPr>
                <p:cNvPr id="1785" name="Freeform 159">
                  <a:extLst>
                    <a:ext uri="{FF2B5EF4-FFF2-40B4-BE49-F238E27FC236}">
                      <a16:creationId xmlns:a16="http://schemas.microsoft.com/office/drawing/2014/main" id="{2F5F4089-7BDA-9846-9609-E9EF46662B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537"/>
                  <a:ext cx="148" cy="91"/>
                </a:xfrm>
                <a:custGeom>
                  <a:avLst/>
                  <a:gdLst>
                    <a:gd name="T0" fmla="*/ 1 w 148"/>
                    <a:gd name="T1" fmla="*/ 44 h 91"/>
                    <a:gd name="T2" fmla="*/ 8 w 148"/>
                    <a:gd name="T3" fmla="*/ 48 h 91"/>
                    <a:gd name="T4" fmla="*/ 11 w 148"/>
                    <a:gd name="T5" fmla="*/ 56 h 91"/>
                    <a:gd name="T6" fmla="*/ 16 w 148"/>
                    <a:gd name="T7" fmla="*/ 59 h 91"/>
                    <a:gd name="T8" fmla="*/ 20 w 148"/>
                    <a:gd name="T9" fmla="*/ 63 h 91"/>
                    <a:gd name="T10" fmla="*/ 25 w 148"/>
                    <a:gd name="T11" fmla="*/ 71 h 91"/>
                    <a:gd name="T12" fmla="*/ 32 w 148"/>
                    <a:gd name="T13" fmla="*/ 73 h 91"/>
                    <a:gd name="T14" fmla="*/ 38 w 148"/>
                    <a:gd name="T15" fmla="*/ 73 h 91"/>
                    <a:gd name="T16" fmla="*/ 37 w 148"/>
                    <a:gd name="T17" fmla="*/ 80 h 91"/>
                    <a:gd name="T18" fmla="*/ 43 w 148"/>
                    <a:gd name="T19" fmla="*/ 81 h 91"/>
                    <a:gd name="T20" fmla="*/ 45 w 148"/>
                    <a:gd name="T21" fmla="*/ 88 h 91"/>
                    <a:gd name="T22" fmla="*/ 59 w 148"/>
                    <a:gd name="T23" fmla="*/ 88 h 91"/>
                    <a:gd name="T24" fmla="*/ 75 w 148"/>
                    <a:gd name="T25" fmla="*/ 90 h 91"/>
                    <a:gd name="T26" fmla="*/ 87 w 148"/>
                    <a:gd name="T27" fmla="*/ 90 h 91"/>
                    <a:gd name="T28" fmla="*/ 99 w 148"/>
                    <a:gd name="T29" fmla="*/ 85 h 91"/>
                    <a:gd name="T30" fmla="*/ 111 w 148"/>
                    <a:gd name="T31" fmla="*/ 81 h 91"/>
                    <a:gd name="T32" fmla="*/ 121 w 148"/>
                    <a:gd name="T33" fmla="*/ 85 h 91"/>
                    <a:gd name="T34" fmla="*/ 133 w 148"/>
                    <a:gd name="T35" fmla="*/ 88 h 91"/>
                    <a:gd name="T36" fmla="*/ 133 w 148"/>
                    <a:gd name="T37" fmla="*/ 83 h 91"/>
                    <a:gd name="T38" fmla="*/ 133 w 148"/>
                    <a:gd name="T39" fmla="*/ 80 h 91"/>
                    <a:gd name="T40" fmla="*/ 134 w 148"/>
                    <a:gd name="T41" fmla="*/ 75 h 91"/>
                    <a:gd name="T42" fmla="*/ 136 w 148"/>
                    <a:gd name="T43" fmla="*/ 68 h 91"/>
                    <a:gd name="T44" fmla="*/ 138 w 148"/>
                    <a:gd name="T45" fmla="*/ 66 h 91"/>
                    <a:gd name="T46" fmla="*/ 138 w 148"/>
                    <a:gd name="T47" fmla="*/ 70 h 91"/>
                    <a:gd name="T48" fmla="*/ 134 w 148"/>
                    <a:gd name="T49" fmla="*/ 75 h 91"/>
                    <a:gd name="T50" fmla="*/ 138 w 148"/>
                    <a:gd name="T51" fmla="*/ 73 h 91"/>
                    <a:gd name="T52" fmla="*/ 143 w 148"/>
                    <a:gd name="T53" fmla="*/ 70 h 91"/>
                    <a:gd name="T54" fmla="*/ 148 w 148"/>
                    <a:gd name="T55" fmla="*/ 66 h 91"/>
                    <a:gd name="T56" fmla="*/ 148 w 148"/>
                    <a:gd name="T57" fmla="*/ 61 h 91"/>
                    <a:gd name="T58" fmla="*/ 148 w 148"/>
                    <a:gd name="T59" fmla="*/ 58 h 91"/>
                    <a:gd name="T60" fmla="*/ 143 w 148"/>
                    <a:gd name="T61" fmla="*/ 56 h 91"/>
                    <a:gd name="T62" fmla="*/ 136 w 148"/>
                    <a:gd name="T63" fmla="*/ 58 h 91"/>
                    <a:gd name="T64" fmla="*/ 131 w 148"/>
                    <a:gd name="T65" fmla="*/ 59 h 91"/>
                    <a:gd name="T66" fmla="*/ 128 w 148"/>
                    <a:gd name="T67" fmla="*/ 56 h 91"/>
                    <a:gd name="T68" fmla="*/ 124 w 148"/>
                    <a:gd name="T69" fmla="*/ 54 h 91"/>
                    <a:gd name="T70" fmla="*/ 124 w 148"/>
                    <a:gd name="T71" fmla="*/ 48 h 91"/>
                    <a:gd name="T72" fmla="*/ 124 w 148"/>
                    <a:gd name="T73" fmla="*/ 41 h 91"/>
                    <a:gd name="T74" fmla="*/ 123 w 148"/>
                    <a:gd name="T75" fmla="*/ 29 h 91"/>
                    <a:gd name="T76" fmla="*/ 116 w 148"/>
                    <a:gd name="T77" fmla="*/ 19 h 91"/>
                    <a:gd name="T78" fmla="*/ 111 w 148"/>
                    <a:gd name="T79" fmla="*/ 11 h 91"/>
                    <a:gd name="T80" fmla="*/ 106 w 148"/>
                    <a:gd name="T81" fmla="*/ 4 h 91"/>
                    <a:gd name="T82" fmla="*/ 97 w 148"/>
                    <a:gd name="T83" fmla="*/ 0 h 91"/>
                    <a:gd name="T84" fmla="*/ 87 w 148"/>
                    <a:gd name="T85" fmla="*/ 5 h 91"/>
                    <a:gd name="T86" fmla="*/ 79 w 148"/>
                    <a:gd name="T87" fmla="*/ 7 h 91"/>
                    <a:gd name="T88" fmla="*/ 70 w 148"/>
                    <a:gd name="T89" fmla="*/ 9 h 91"/>
                    <a:gd name="T90" fmla="*/ 64 w 148"/>
                    <a:gd name="T91" fmla="*/ 5 h 91"/>
                    <a:gd name="T92" fmla="*/ 52 w 148"/>
                    <a:gd name="T93" fmla="*/ 7 h 91"/>
                    <a:gd name="T94" fmla="*/ 42 w 148"/>
                    <a:gd name="T95" fmla="*/ 5 h 91"/>
                    <a:gd name="T96" fmla="*/ 38 w 148"/>
                    <a:gd name="T97" fmla="*/ 9 h 91"/>
                    <a:gd name="T98" fmla="*/ 35 w 148"/>
                    <a:gd name="T99" fmla="*/ 11 h 91"/>
                    <a:gd name="T100" fmla="*/ 28 w 148"/>
                    <a:gd name="T101" fmla="*/ 14 h 91"/>
                    <a:gd name="T102" fmla="*/ 27 w 148"/>
                    <a:gd name="T103" fmla="*/ 19 h 91"/>
                    <a:gd name="T104" fmla="*/ 22 w 148"/>
                    <a:gd name="T105" fmla="*/ 24 h 91"/>
                    <a:gd name="T106" fmla="*/ 18 w 148"/>
                    <a:gd name="T107" fmla="*/ 32 h 91"/>
                    <a:gd name="T108" fmla="*/ 15 w 148"/>
                    <a:gd name="T109" fmla="*/ 39 h 91"/>
                    <a:gd name="T110" fmla="*/ 6 w 148"/>
                    <a:gd name="T111" fmla="*/ 41 h 91"/>
                    <a:gd name="T112" fmla="*/ 1 w 148"/>
                    <a:gd name="T113" fmla="*/ 43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48" h="91">
                      <a:moveTo>
                        <a:pt x="0" y="43"/>
                      </a:moveTo>
                      <a:lnTo>
                        <a:pt x="1" y="44"/>
                      </a:lnTo>
                      <a:lnTo>
                        <a:pt x="5" y="46"/>
                      </a:lnTo>
                      <a:lnTo>
                        <a:pt x="8" y="48"/>
                      </a:lnTo>
                      <a:lnTo>
                        <a:pt x="10" y="51"/>
                      </a:lnTo>
                      <a:lnTo>
                        <a:pt x="11" y="56"/>
                      </a:lnTo>
                      <a:lnTo>
                        <a:pt x="13" y="59"/>
                      </a:lnTo>
                      <a:lnTo>
                        <a:pt x="16" y="59"/>
                      </a:lnTo>
                      <a:lnTo>
                        <a:pt x="18" y="61"/>
                      </a:lnTo>
                      <a:lnTo>
                        <a:pt x="20" y="63"/>
                      </a:lnTo>
                      <a:lnTo>
                        <a:pt x="20" y="68"/>
                      </a:lnTo>
                      <a:lnTo>
                        <a:pt x="25" y="71"/>
                      </a:lnTo>
                      <a:lnTo>
                        <a:pt x="28" y="71"/>
                      </a:lnTo>
                      <a:lnTo>
                        <a:pt x="32" y="73"/>
                      </a:lnTo>
                      <a:lnTo>
                        <a:pt x="35" y="71"/>
                      </a:lnTo>
                      <a:lnTo>
                        <a:pt x="38" y="73"/>
                      </a:lnTo>
                      <a:lnTo>
                        <a:pt x="35" y="76"/>
                      </a:lnTo>
                      <a:lnTo>
                        <a:pt x="37" y="80"/>
                      </a:lnTo>
                      <a:lnTo>
                        <a:pt x="40" y="81"/>
                      </a:lnTo>
                      <a:lnTo>
                        <a:pt x="43" y="81"/>
                      </a:lnTo>
                      <a:lnTo>
                        <a:pt x="42" y="85"/>
                      </a:lnTo>
                      <a:lnTo>
                        <a:pt x="45" y="88"/>
                      </a:lnTo>
                      <a:lnTo>
                        <a:pt x="48" y="88"/>
                      </a:lnTo>
                      <a:lnTo>
                        <a:pt x="59" y="88"/>
                      </a:lnTo>
                      <a:lnTo>
                        <a:pt x="70" y="88"/>
                      </a:lnTo>
                      <a:lnTo>
                        <a:pt x="75" y="90"/>
                      </a:lnTo>
                      <a:lnTo>
                        <a:pt x="82" y="91"/>
                      </a:lnTo>
                      <a:lnTo>
                        <a:pt x="87" y="90"/>
                      </a:lnTo>
                      <a:lnTo>
                        <a:pt x="92" y="86"/>
                      </a:lnTo>
                      <a:lnTo>
                        <a:pt x="99" y="85"/>
                      </a:lnTo>
                      <a:lnTo>
                        <a:pt x="106" y="81"/>
                      </a:lnTo>
                      <a:lnTo>
                        <a:pt x="111" y="81"/>
                      </a:lnTo>
                      <a:lnTo>
                        <a:pt x="113" y="83"/>
                      </a:lnTo>
                      <a:lnTo>
                        <a:pt x="121" y="85"/>
                      </a:lnTo>
                      <a:lnTo>
                        <a:pt x="128" y="90"/>
                      </a:lnTo>
                      <a:lnTo>
                        <a:pt x="133" y="88"/>
                      </a:lnTo>
                      <a:lnTo>
                        <a:pt x="133" y="86"/>
                      </a:lnTo>
                      <a:lnTo>
                        <a:pt x="133" y="83"/>
                      </a:lnTo>
                      <a:lnTo>
                        <a:pt x="133" y="81"/>
                      </a:lnTo>
                      <a:lnTo>
                        <a:pt x="133" y="80"/>
                      </a:lnTo>
                      <a:lnTo>
                        <a:pt x="133" y="76"/>
                      </a:lnTo>
                      <a:lnTo>
                        <a:pt x="134" y="75"/>
                      </a:lnTo>
                      <a:lnTo>
                        <a:pt x="134" y="71"/>
                      </a:lnTo>
                      <a:lnTo>
                        <a:pt x="136" y="68"/>
                      </a:lnTo>
                      <a:lnTo>
                        <a:pt x="136" y="66"/>
                      </a:lnTo>
                      <a:lnTo>
                        <a:pt x="138" y="66"/>
                      </a:lnTo>
                      <a:lnTo>
                        <a:pt x="138" y="68"/>
                      </a:lnTo>
                      <a:lnTo>
                        <a:pt x="138" y="70"/>
                      </a:lnTo>
                      <a:lnTo>
                        <a:pt x="136" y="71"/>
                      </a:lnTo>
                      <a:lnTo>
                        <a:pt x="134" y="75"/>
                      </a:lnTo>
                      <a:lnTo>
                        <a:pt x="136" y="75"/>
                      </a:lnTo>
                      <a:lnTo>
                        <a:pt x="138" y="73"/>
                      </a:lnTo>
                      <a:lnTo>
                        <a:pt x="140" y="71"/>
                      </a:lnTo>
                      <a:lnTo>
                        <a:pt x="143" y="70"/>
                      </a:lnTo>
                      <a:lnTo>
                        <a:pt x="146" y="70"/>
                      </a:lnTo>
                      <a:lnTo>
                        <a:pt x="148" y="66"/>
                      </a:lnTo>
                      <a:lnTo>
                        <a:pt x="148" y="63"/>
                      </a:lnTo>
                      <a:lnTo>
                        <a:pt x="148" y="61"/>
                      </a:lnTo>
                      <a:lnTo>
                        <a:pt x="148" y="59"/>
                      </a:lnTo>
                      <a:lnTo>
                        <a:pt x="148" y="58"/>
                      </a:lnTo>
                      <a:lnTo>
                        <a:pt x="146" y="56"/>
                      </a:lnTo>
                      <a:lnTo>
                        <a:pt x="143" y="56"/>
                      </a:lnTo>
                      <a:lnTo>
                        <a:pt x="141" y="58"/>
                      </a:lnTo>
                      <a:lnTo>
                        <a:pt x="136" y="58"/>
                      </a:lnTo>
                      <a:lnTo>
                        <a:pt x="134" y="59"/>
                      </a:lnTo>
                      <a:lnTo>
                        <a:pt x="131" y="59"/>
                      </a:lnTo>
                      <a:lnTo>
                        <a:pt x="129" y="58"/>
                      </a:lnTo>
                      <a:lnTo>
                        <a:pt x="128" y="56"/>
                      </a:lnTo>
                      <a:lnTo>
                        <a:pt x="124" y="56"/>
                      </a:lnTo>
                      <a:lnTo>
                        <a:pt x="124" y="54"/>
                      </a:lnTo>
                      <a:lnTo>
                        <a:pt x="124" y="51"/>
                      </a:lnTo>
                      <a:lnTo>
                        <a:pt x="124" y="48"/>
                      </a:lnTo>
                      <a:lnTo>
                        <a:pt x="124" y="46"/>
                      </a:lnTo>
                      <a:lnTo>
                        <a:pt x="124" y="41"/>
                      </a:lnTo>
                      <a:lnTo>
                        <a:pt x="124" y="36"/>
                      </a:lnTo>
                      <a:lnTo>
                        <a:pt x="123" y="29"/>
                      </a:lnTo>
                      <a:lnTo>
                        <a:pt x="119" y="24"/>
                      </a:lnTo>
                      <a:lnTo>
                        <a:pt x="116" y="19"/>
                      </a:lnTo>
                      <a:lnTo>
                        <a:pt x="113" y="14"/>
                      </a:lnTo>
                      <a:lnTo>
                        <a:pt x="111" y="11"/>
                      </a:lnTo>
                      <a:lnTo>
                        <a:pt x="109" y="7"/>
                      </a:lnTo>
                      <a:lnTo>
                        <a:pt x="106" y="4"/>
                      </a:lnTo>
                      <a:lnTo>
                        <a:pt x="102" y="0"/>
                      </a:lnTo>
                      <a:lnTo>
                        <a:pt x="97" y="0"/>
                      </a:lnTo>
                      <a:lnTo>
                        <a:pt x="92" y="4"/>
                      </a:lnTo>
                      <a:lnTo>
                        <a:pt x="87" y="5"/>
                      </a:lnTo>
                      <a:lnTo>
                        <a:pt x="84" y="5"/>
                      </a:lnTo>
                      <a:lnTo>
                        <a:pt x="79" y="7"/>
                      </a:lnTo>
                      <a:lnTo>
                        <a:pt x="74" y="11"/>
                      </a:lnTo>
                      <a:lnTo>
                        <a:pt x="70" y="9"/>
                      </a:lnTo>
                      <a:lnTo>
                        <a:pt x="69" y="5"/>
                      </a:lnTo>
                      <a:lnTo>
                        <a:pt x="64" y="5"/>
                      </a:lnTo>
                      <a:lnTo>
                        <a:pt x="59" y="7"/>
                      </a:lnTo>
                      <a:lnTo>
                        <a:pt x="52" y="7"/>
                      </a:lnTo>
                      <a:lnTo>
                        <a:pt x="47" y="5"/>
                      </a:lnTo>
                      <a:lnTo>
                        <a:pt x="42" y="5"/>
                      </a:lnTo>
                      <a:lnTo>
                        <a:pt x="40" y="7"/>
                      </a:lnTo>
                      <a:lnTo>
                        <a:pt x="38" y="9"/>
                      </a:lnTo>
                      <a:lnTo>
                        <a:pt x="37" y="11"/>
                      </a:lnTo>
                      <a:lnTo>
                        <a:pt x="35" y="11"/>
                      </a:lnTo>
                      <a:lnTo>
                        <a:pt x="32" y="12"/>
                      </a:lnTo>
                      <a:lnTo>
                        <a:pt x="28" y="14"/>
                      </a:lnTo>
                      <a:lnTo>
                        <a:pt x="28" y="16"/>
                      </a:lnTo>
                      <a:lnTo>
                        <a:pt x="27" y="19"/>
                      </a:lnTo>
                      <a:lnTo>
                        <a:pt x="25" y="22"/>
                      </a:lnTo>
                      <a:lnTo>
                        <a:pt x="22" y="24"/>
                      </a:lnTo>
                      <a:lnTo>
                        <a:pt x="20" y="27"/>
                      </a:lnTo>
                      <a:lnTo>
                        <a:pt x="18" y="32"/>
                      </a:lnTo>
                      <a:lnTo>
                        <a:pt x="16" y="34"/>
                      </a:lnTo>
                      <a:lnTo>
                        <a:pt x="15" y="39"/>
                      </a:lnTo>
                      <a:lnTo>
                        <a:pt x="10" y="41"/>
                      </a:lnTo>
                      <a:lnTo>
                        <a:pt x="6" y="41"/>
                      </a:lnTo>
                      <a:lnTo>
                        <a:pt x="3" y="43"/>
                      </a:lnTo>
                      <a:lnTo>
                        <a:pt x="1" y="43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86" name="Freeform 160">
                  <a:extLst>
                    <a:ext uri="{FF2B5EF4-FFF2-40B4-BE49-F238E27FC236}">
                      <a16:creationId xmlns:a16="http://schemas.microsoft.com/office/drawing/2014/main" id="{9CE2102C-9383-C94A-9A91-2F11C4A916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537"/>
                  <a:ext cx="148" cy="91"/>
                </a:xfrm>
                <a:custGeom>
                  <a:avLst/>
                  <a:gdLst>
                    <a:gd name="T0" fmla="*/ 1 w 148"/>
                    <a:gd name="T1" fmla="*/ 44 h 91"/>
                    <a:gd name="T2" fmla="*/ 8 w 148"/>
                    <a:gd name="T3" fmla="*/ 48 h 91"/>
                    <a:gd name="T4" fmla="*/ 11 w 148"/>
                    <a:gd name="T5" fmla="*/ 56 h 91"/>
                    <a:gd name="T6" fmla="*/ 16 w 148"/>
                    <a:gd name="T7" fmla="*/ 59 h 91"/>
                    <a:gd name="T8" fmla="*/ 20 w 148"/>
                    <a:gd name="T9" fmla="*/ 63 h 91"/>
                    <a:gd name="T10" fmla="*/ 25 w 148"/>
                    <a:gd name="T11" fmla="*/ 71 h 91"/>
                    <a:gd name="T12" fmla="*/ 32 w 148"/>
                    <a:gd name="T13" fmla="*/ 73 h 91"/>
                    <a:gd name="T14" fmla="*/ 38 w 148"/>
                    <a:gd name="T15" fmla="*/ 73 h 91"/>
                    <a:gd name="T16" fmla="*/ 37 w 148"/>
                    <a:gd name="T17" fmla="*/ 80 h 91"/>
                    <a:gd name="T18" fmla="*/ 43 w 148"/>
                    <a:gd name="T19" fmla="*/ 81 h 91"/>
                    <a:gd name="T20" fmla="*/ 45 w 148"/>
                    <a:gd name="T21" fmla="*/ 88 h 91"/>
                    <a:gd name="T22" fmla="*/ 59 w 148"/>
                    <a:gd name="T23" fmla="*/ 88 h 91"/>
                    <a:gd name="T24" fmla="*/ 75 w 148"/>
                    <a:gd name="T25" fmla="*/ 90 h 91"/>
                    <a:gd name="T26" fmla="*/ 87 w 148"/>
                    <a:gd name="T27" fmla="*/ 90 h 91"/>
                    <a:gd name="T28" fmla="*/ 99 w 148"/>
                    <a:gd name="T29" fmla="*/ 85 h 91"/>
                    <a:gd name="T30" fmla="*/ 111 w 148"/>
                    <a:gd name="T31" fmla="*/ 81 h 91"/>
                    <a:gd name="T32" fmla="*/ 121 w 148"/>
                    <a:gd name="T33" fmla="*/ 85 h 91"/>
                    <a:gd name="T34" fmla="*/ 133 w 148"/>
                    <a:gd name="T35" fmla="*/ 88 h 91"/>
                    <a:gd name="T36" fmla="*/ 133 w 148"/>
                    <a:gd name="T37" fmla="*/ 83 h 91"/>
                    <a:gd name="T38" fmla="*/ 133 w 148"/>
                    <a:gd name="T39" fmla="*/ 80 h 91"/>
                    <a:gd name="T40" fmla="*/ 134 w 148"/>
                    <a:gd name="T41" fmla="*/ 75 h 91"/>
                    <a:gd name="T42" fmla="*/ 136 w 148"/>
                    <a:gd name="T43" fmla="*/ 68 h 91"/>
                    <a:gd name="T44" fmla="*/ 138 w 148"/>
                    <a:gd name="T45" fmla="*/ 66 h 91"/>
                    <a:gd name="T46" fmla="*/ 138 w 148"/>
                    <a:gd name="T47" fmla="*/ 70 h 91"/>
                    <a:gd name="T48" fmla="*/ 134 w 148"/>
                    <a:gd name="T49" fmla="*/ 75 h 91"/>
                    <a:gd name="T50" fmla="*/ 138 w 148"/>
                    <a:gd name="T51" fmla="*/ 73 h 91"/>
                    <a:gd name="T52" fmla="*/ 143 w 148"/>
                    <a:gd name="T53" fmla="*/ 70 h 91"/>
                    <a:gd name="T54" fmla="*/ 148 w 148"/>
                    <a:gd name="T55" fmla="*/ 66 h 91"/>
                    <a:gd name="T56" fmla="*/ 148 w 148"/>
                    <a:gd name="T57" fmla="*/ 61 h 91"/>
                    <a:gd name="T58" fmla="*/ 148 w 148"/>
                    <a:gd name="T59" fmla="*/ 58 h 91"/>
                    <a:gd name="T60" fmla="*/ 143 w 148"/>
                    <a:gd name="T61" fmla="*/ 56 h 91"/>
                    <a:gd name="T62" fmla="*/ 136 w 148"/>
                    <a:gd name="T63" fmla="*/ 58 h 91"/>
                    <a:gd name="T64" fmla="*/ 131 w 148"/>
                    <a:gd name="T65" fmla="*/ 59 h 91"/>
                    <a:gd name="T66" fmla="*/ 128 w 148"/>
                    <a:gd name="T67" fmla="*/ 56 h 91"/>
                    <a:gd name="T68" fmla="*/ 124 w 148"/>
                    <a:gd name="T69" fmla="*/ 54 h 91"/>
                    <a:gd name="T70" fmla="*/ 124 w 148"/>
                    <a:gd name="T71" fmla="*/ 48 h 91"/>
                    <a:gd name="T72" fmla="*/ 124 w 148"/>
                    <a:gd name="T73" fmla="*/ 41 h 91"/>
                    <a:gd name="T74" fmla="*/ 123 w 148"/>
                    <a:gd name="T75" fmla="*/ 29 h 91"/>
                    <a:gd name="T76" fmla="*/ 116 w 148"/>
                    <a:gd name="T77" fmla="*/ 19 h 91"/>
                    <a:gd name="T78" fmla="*/ 111 w 148"/>
                    <a:gd name="T79" fmla="*/ 11 h 91"/>
                    <a:gd name="T80" fmla="*/ 106 w 148"/>
                    <a:gd name="T81" fmla="*/ 4 h 91"/>
                    <a:gd name="T82" fmla="*/ 97 w 148"/>
                    <a:gd name="T83" fmla="*/ 0 h 91"/>
                    <a:gd name="T84" fmla="*/ 87 w 148"/>
                    <a:gd name="T85" fmla="*/ 5 h 91"/>
                    <a:gd name="T86" fmla="*/ 79 w 148"/>
                    <a:gd name="T87" fmla="*/ 7 h 91"/>
                    <a:gd name="T88" fmla="*/ 70 w 148"/>
                    <a:gd name="T89" fmla="*/ 9 h 91"/>
                    <a:gd name="T90" fmla="*/ 64 w 148"/>
                    <a:gd name="T91" fmla="*/ 5 h 91"/>
                    <a:gd name="T92" fmla="*/ 52 w 148"/>
                    <a:gd name="T93" fmla="*/ 7 h 91"/>
                    <a:gd name="T94" fmla="*/ 42 w 148"/>
                    <a:gd name="T95" fmla="*/ 5 h 91"/>
                    <a:gd name="T96" fmla="*/ 38 w 148"/>
                    <a:gd name="T97" fmla="*/ 9 h 91"/>
                    <a:gd name="T98" fmla="*/ 35 w 148"/>
                    <a:gd name="T99" fmla="*/ 11 h 91"/>
                    <a:gd name="T100" fmla="*/ 28 w 148"/>
                    <a:gd name="T101" fmla="*/ 14 h 91"/>
                    <a:gd name="T102" fmla="*/ 27 w 148"/>
                    <a:gd name="T103" fmla="*/ 19 h 91"/>
                    <a:gd name="T104" fmla="*/ 22 w 148"/>
                    <a:gd name="T105" fmla="*/ 24 h 91"/>
                    <a:gd name="T106" fmla="*/ 18 w 148"/>
                    <a:gd name="T107" fmla="*/ 32 h 91"/>
                    <a:gd name="T108" fmla="*/ 15 w 148"/>
                    <a:gd name="T109" fmla="*/ 39 h 91"/>
                    <a:gd name="T110" fmla="*/ 6 w 148"/>
                    <a:gd name="T111" fmla="*/ 41 h 91"/>
                    <a:gd name="T112" fmla="*/ 1 w 148"/>
                    <a:gd name="T113" fmla="*/ 43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48" h="91">
                      <a:moveTo>
                        <a:pt x="0" y="43"/>
                      </a:moveTo>
                      <a:lnTo>
                        <a:pt x="1" y="44"/>
                      </a:lnTo>
                      <a:lnTo>
                        <a:pt x="5" y="46"/>
                      </a:lnTo>
                      <a:lnTo>
                        <a:pt x="8" y="48"/>
                      </a:lnTo>
                      <a:lnTo>
                        <a:pt x="10" y="51"/>
                      </a:lnTo>
                      <a:lnTo>
                        <a:pt x="11" y="56"/>
                      </a:lnTo>
                      <a:lnTo>
                        <a:pt x="13" y="59"/>
                      </a:lnTo>
                      <a:lnTo>
                        <a:pt x="16" y="59"/>
                      </a:lnTo>
                      <a:lnTo>
                        <a:pt x="18" y="61"/>
                      </a:lnTo>
                      <a:lnTo>
                        <a:pt x="20" y="63"/>
                      </a:lnTo>
                      <a:lnTo>
                        <a:pt x="20" y="68"/>
                      </a:lnTo>
                      <a:lnTo>
                        <a:pt x="25" y="71"/>
                      </a:lnTo>
                      <a:lnTo>
                        <a:pt x="28" y="71"/>
                      </a:lnTo>
                      <a:lnTo>
                        <a:pt x="32" y="73"/>
                      </a:lnTo>
                      <a:lnTo>
                        <a:pt x="35" y="71"/>
                      </a:lnTo>
                      <a:lnTo>
                        <a:pt x="38" y="73"/>
                      </a:lnTo>
                      <a:lnTo>
                        <a:pt x="35" y="76"/>
                      </a:lnTo>
                      <a:lnTo>
                        <a:pt x="37" y="80"/>
                      </a:lnTo>
                      <a:lnTo>
                        <a:pt x="40" y="81"/>
                      </a:lnTo>
                      <a:lnTo>
                        <a:pt x="43" y="81"/>
                      </a:lnTo>
                      <a:lnTo>
                        <a:pt x="42" y="85"/>
                      </a:lnTo>
                      <a:lnTo>
                        <a:pt x="45" y="88"/>
                      </a:lnTo>
                      <a:lnTo>
                        <a:pt x="48" y="88"/>
                      </a:lnTo>
                      <a:lnTo>
                        <a:pt x="59" y="88"/>
                      </a:lnTo>
                      <a:lnTo>
                        <a:pt x="70" y="88"/>
                      </a:lnTo>
                      <a:lnTo>
                        <a:pt x="75" y="90"/>
                      </a:lnTo>
                      <a:lnTo>
                        <a:pt x="82" y="91"/>
                      </a:lnTo>
                      <a:lnTo>
                        <a:pt x="87" y="90"/>
                      </a:lnTo>
                      <a:lnTo>
                        <a:pt x="92" y="86"/>
                      </a:lnTo>
                      <a:lnTo>
                        <a:pt x="99" y="85"/>
                      </a:lnTo>
                      <a:lnTo>
                        <a:pt x="106" y="81"/>
                      </a:lnTo>
                      <a:lnTo>
                        <a:pt x="111" y="81"/>
                      </a:lnTo>
                      <a:lnTo>
                        <a:pt x="113" y="83"/>
                      </a:lnTo>
                      <a:lnTo>
                        <a:pt x="121" y="85"/>
                      </a:lnTo>
                      <a:lnTo>
                        <a:pt x="128" y="90"/>
                      </a:lnTo>
                      <a:lnTo>
                        <a:pt x="133" y="88"/>
                      </a:lnTo>
                      <a:lnTo>
                        <a:pt x="133" y="86"/>
                      </a:lnTo>
                      <a:lnTo>
                        <a:pt x="133" y="83"/>
                      </a:lnTo>
                      <a:lnTo>
                        <a:pt x="133" y="81"/>
                      </a:lnTo>
                      <a:lnTo>
                        <a:pt x="133" y="80"/>
                      </a:lnTo>
                      <a:lnTo>
                        <a:pt x="133" y="76"/>
                      </a:lnTo>
                      <a:lnTo>
                        <a:pt x="134" y="75"/>
                      </a:lnTo>
                      <a:lnTo>
                        <a:pt x="134" y="71"/>
                      </a:lnTo>
                      <a:lnTo>
                        <a:pt x="136" y="68"/>
                      </a:lnTo>
                      <a:lnTo>
                        <a:pt x="136" y="66"/>
                      </a:lnTo>
                      <a:lnTo>
                        <a:pt x="138" y="66"/>
                      </a:lnTo>
                      <a:lnTo>
                        <a:pt x="138" y="68"/>
                      </a:lnTo>
                      <a:lnTo>
                        <a:pt x="138" y="70"/>
                      </a:lnTo>
                      <a:lnTo>
                        <a:pt x="136" y="71"/>
                      </a:lnTo>
                      <a:lnTo>
                        <a:pt x="134" y="75"/>
                      </a:lnTo>
                      <a:lnTo>
                        <a:pt x="136" y="75"/>
                      </a:lnTo>
                      <a:lnTo>
                        <a:pt x="138" y="73"/>
                      </a:lnTo>
                      <a:lnTo>
                        <a:pt x="140" y="71"/>
                      </a:lnTo>
                      <a:lnTo>
                        <a:pt x="143" y="70"/>
                      </a:lnTo>
                      <a:lnTo>
                        <a:pt x="146" y="70"/>
                      </a:lnTo>
                      <a:lnTo>
                        <a:pt x="148" y="66"/>
                      </a:lnTo>
                      <a:lnTo>
                        <a:pt x="148" y="63"/>
                      </a:lnTo>
                      <a:lnTo>
                        <a:pt x="148" y="61"/>
                      </a:lnTo>
                      <a:lnTo>
                        <a:pt x="148" y="59"/>
                      </a:lnTo>
                      <a:lnTo>
                        <a:pt x="148" y="58"/>
                      </a:lnTo>
                      <a:lnTo>
                        <a:pt x="146" y="56"/>
                      </a:lnTo>
                      <a:lnTo>
                        <a:pt x="143" y="56"/>
                      </a:lnTo>
                      <a:lnTo>
                        <a:pt x="141" y="58"/>
                      </a:lnTo>
                      <a:lnTo>
                        <a:pt x="136" y="58"/>
                      </a:lnTo>
                      <a:lnTo>
                        <a:pt x="134" y="59"/>
                      </a:lnTo>
                      <a:lnTo>
                        <a:pt x="131" y="59"/>
                      </a:lnTo>
                      <a:lnTo>
                        <a:pt x="129" y="58"/>
                      </a:lnTo>
                      <a:lnTo>
                        <a:pt x="128" y="56"/>
                      </a:lnTo>
                      <a:lnTo>
                        <a:pt x="124" y="56"/>
                      </a:lnTo>
                      <a:lnTo>
                        <a:pt x="124" y="54"/>
                      </a:lnTo>
                      <a:lnTo>
                        <a:pt x="124" y="51"/>
                      </a:lnTo>
                      <a:lnTo>
                        <a:pt x="124" y="48"/>
                      </a:lnTo>
                      <a:lnTo>
                        <a:pt x="124" y="46"/>
                      </a:lnTo>
                      <a:lnTo>
                        <a:pt x="124" y="41"/>
                      </a:lnTo>
                      <a:lnTo>
                        <a:pt x="124" y="36"/>
                      </a:lnTo>
                      <a:lnTo>
                        <a:pt x="123" y="29"/>
                      </a:lnTo>
                      <a:lnTo>
                        <a:pt x="119" y="24"/>
                      </a:lnTo>
                      <a:lnTo>
                        <a:pt x="116" y="19"/>
                      </a:lnTo>
                      <a:lnTo>
                        <a:pt x="113" y="14"/>
                      </a:lnTo>
                      <a:lnTo>
                        <a:pt x="111" y="11"/>
                      </a:lnTo>
                      <a:lnTo>
                        <a:pt x="109" y="7"/>
                      </a:lnTo>
                      <a:lnTo>
                        <a:pt x="106" y="4"/>
                      </a:lnTo>
                      <a:lnTo>
                        <a:pt x="102" y="0"/>
                      </a:lnTo>
                      <a:lnTo>
                        <a:pt x="97" y="0"/>
                      </a:lnTo>
                      <a:lnTo>
                        <a:pt x="92" y="4"/>
                      </a:lnTo>
                      <a:lnTo>
                        <a:pt x="87" y="5"/>
                      </a:lnTo>
                      <a:lnTo>
                        <a:pt x="84" y="5"/>
                      </a:lnTo>
                      <a:lnTo>
                        <a:pt x="79" y="7"/>
                      </a:lnTo>
                      <a:lnTo>
                        <a:pt x="74" y="11"/>
                      </a:lnTo>
                      <a:lnTo>
                        <a:pt x="70" y="9"/>
                      </a:lnTo>
                      <a:lnTo>
                        <a:pt x="69" y="5"/>
                      </a:lnTo>
                      <a:lnTo>
                        <a:pt x="64" y="5"/>
                      </a:lnTo>
                      <a:lnTo>
                        <a:pt x="59" y="7"/>
                      </a:lnTo>
                      <a:lnTo>
                        <a:pt x="52" y="7"/>
                      </a:lnTo>
                      <a:lnTo>
                        <a:pt x="47" y="5"/>
                      </a:lnTo>
                      <a:lnTo>
                        <a:pt x="42" y="5"/>
                      </a:lnTo>
                      <a:lnTo>
                        <a:pt x="40" y="7"/>
                      </a:lnTo>
                      <a:lnTo>
                        <a:pt x="38" y="9"/>
                      </a:lnTo>
                      <a:lnTo>
                        <a:pt x="37" y="11"/>
                      </a:lnTo>
                      <a:lnTo>
                        <a:pt x="35" y="11"/>
                      </a:lnTo>
                      <a:lnTo>
                        <a:pt x="32" y="12"/>
                      </a:lnTo>
                      <a:lnTo>
                        <a:pt x="28" y="14"/>
                      </a:lnTo>
                      <a:lnTo>
                        <a:pt x="28" y="16"/>
                      </a:lnTo>
                      <a:lnTo>
                        <a:pt x="27" y="19"/>
                      </a:lnTo>
                      <a:lnTo>
                        <a:pt x="25" y="22"/>
                      </a:lnTo>
                      <a:lnTo>
                        <a:pt x="22" y="24"/>
                      </a:lnTo>
                      <a:lnTo>
                        <a:pt x="20" y="27"/>
                      </a:lnTo>
                      <a:lnTo>
                        <a:pt x="18" y="32"/>
                      </a:lnTo>
                      <a:lnTo>
                        <a:pt x="16" y="34"/>
                      </a:lnTo>
                      <a:lnTo>
                        <a:pt x="15" y="39"/>
                      </a:lnTo>
                      <a:lnTo>
                        <a:pt x="10" y="41"/>
                      </a:lnTo>
                      <a:lnTo>
                        <a:pt x="6" y="41"/>
                      </a:lnTo>
                      <a:lnTo>
                        <a:pt x="3" y="43"/>
                      </a:lnTo>
                      <a:lnTo>
                        <a:pt x="1" y="43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65" name="Group 1664">
                <a:extLst>
                  <a:ext uri="{FF2B5EF4-FFF2-40B4-BE49-F238E27FC236}">
                    <a16:creationId xmlns:a16="http://schemas.microsoft.com/office/drawing/2014/main" id="{2F0C0111-289E-D441-B533-918EB11DDBE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69" y="566"/>
                <a:ext cx="59" cy="76"/>
                <a:chOff x="369" y="566"/>
                <a:chExt cx="59" cy="76"/>
              </a:xfrm>
            </p:grpSpPr>
            <p:grpSp>
              <p:nvGrpSpPr>
                <p:cNvPr id="1770" name="Group 1769">
                  <a:extLst>
                    <a:ext uri="{FF2B5EF4-FFF2-40B4-BE49-F238E27FC236}">
                      <a16:creationId xmlns:a16="http://schemas.microsoft.com/office/drawing/2014/main" id="{B6915A90-B285-C448-8D5B-71DD40BE55F1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69" y="566"/>
                  <a:ext cx="51" cy="29"/>
                  <a:chOff x="369" y="566"/>
                  <a:chExt cx="51" cy="29"/>
                </a:xfrm>
              </p:grpSpPr>
              <p:sp>
                <p:nvSpPr>
                  <p:cNvPr id="1783" name="Freeform 157">
                    <a:extLst>
                      <a:ext uri="{FF2B5EF4-FFF2-40B4-BE49-F238E27FC236}">
                        <a16:creationId xmlns:a16="http://schemas.microsoft.com/office/drawing/2014/main" id="{5F4D0F3D-53D6-914A-9337-634AA47FD4B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9" y="566"/>
                    <a:ext cx="51" cy="29"/>
                  </a:xfrm>
                  <a:custGeom>
                    <a:avLst/>
                    <a:gdLst>
                      <a:gd name="T0" fmla="*/ 48 w 51"/>
                      <a:gd name="T1" fmla="*/ 7 h 29"/>
                      <a:gd name="T2" fmla="*/ 51 w 51"/>
                      <a:gd name="T3" fmla="*/ 7 h 29"/>
                      <a:gd name="T4" fmla="*/ 46 w 51"/>
                      <a:gd name="T5" fmla="*/ 0 h 29"/>
                      <a:gd name="T6" fmla="*/ 43 w 51"/>
                      <a:gd name="T7" fmla="*/ 0 h 29"/>
                      <a:gd name="T8" fmla="*/ 39 w 51"/>
                      <a:gd name="T9" fmla="*/ 2 h 29"/>
                      <a:gd name="T10" fmla="*/ 36 w 51"/>
                      <a:gd name="T11" fmla="*/ 2 h 29"/>
                      <a:gd name="T12" fmla="*/ 32 w 51"/>
                      <a:gd name="T13" fmla="*/ 3 h 29"/>
                      <a:gd name="T14" fmla="*/ 29 w 51"/>
                      <a:gd name="T15" fmla="*/ 3 h 29"/>
                      <a:gd name="T16" fmla="*/ 22 w 51"/>
                      <a:gd name="T17" fmla="*/ 3 h 29"/>
                      <a:gd name="T18" fmla="*/ 21 w 51"/>
                      <a:gd name="T19" fmla="*/ 7 h 29"/>
                      <a:gd name="T20" fmla="*/ 17 w 51"/>
                      <a:gd name="T21" fmla="*/ 7 h 29"/>
                      <a:gd name="T22" fmla="*/ 14 w 51"/>
                      <a:gd name="T23" fmla="*/ 7 h 29"/>
                      <a:gd name="T24" fmla="*/ 9 w 51"/>
                      <a:gd name="T25" fmla="*/ 7 h 29"/>
                      <a:gd name="T26" fmla="*/ 5 w 51"/>
                      <a:gd name="T27" fmla="*/ 7 h 29"/>
                      <a:gd name="T28" fmla="*/ 4 w 51"/>
                      <a:gd name="T29" fmla="*/ 8 h 29"/>
                      <a:gd name="T30" fmla="*/ 0 w 51"/>
                      <a:gd name="T31" fmla="*/ 12 h 29"/>
                      <a:gd name="T32" fmla="*/ 4 w 51"/>
                      <a:gd name="T33" fmla="*/ 12 h 29"/>
                      <a:gd name="T34" fmla="*/ 2 w 51"/>
                      <a:gd name="T35" fmla="*/ 17 h 29"/>
                      <a:gd name="T36" fmla="*/ 4 w 51"/>
                      <a:gd name="T37" fmla="*/ 19 h 29"/>
                      <a:gd name="T38" fmla="*/ 5 w 51"/>
                      <a:gd name="T39" fmla="*/ 20 h 29"/>
                      <a:gd name="T40" fmla="*/ 7 w 51"/>
                      <a:gd name="T41" fmla="*/ 22 h 29"/>
                      <a:gd name="T42" fmla="*/ 9 w 51"/>
                      <a:gd name="T43" fmla="*/ 24 h 29"/>
                      <a:gd name="T44" fmla="*/ 7 w 51"/>
                      <a:gd name="T45" fmla="*/ 25 h 29"/>
                      <a:gd name="T46" fmla="*/ 4 w 51"/>
                      <a:gd name="T47" fmla="*/ 25 h 29"/>
                      <a:gd name="T48" fmla="*/ 5 w 51"/>
                      <a:gd name="T49" fmla="*/ 27 h 29"/>
                      <a:gd name="T50" fmla="*/ 7 w 51"/>
                      <a:gd name="T51" fmla="*/ 29 h 29"/>
                      <a:gd name="T52" fmla="*/ 10 w 51"/>
                      <a:gd name="T53" fmla="*/ 29 h 29"/>
                      <a:gd name="T54" fmla="*/ 12 w 51"/>
                      <a:gd name="T55" fmla="*/ 27 h 29"/>
                      <a:gd name="T56" fmla="*/ 14 w 51"/>
                      <a:gd name="T57" fmla="*/ 29 h 29"/>
                      <a:gd name="T58" fmla="*/ 16 w 51"/>
                      <a:gd name="T59" fmla="*/ 27 h 29"/>
                      <a:gd name="T60" fmla="*/ 19 w 51"/>
                      <a:gd name="T61" fmla="*/ 27 h 29"/>
                      <a:gd name="T62" fmla="*/ 21 w 51"/>
                      <a:gd name="T63" fmla="*/ 25 h 29"/>
                      <a:gd name="T64" fmla="*/ 22 w 51"/>
                      <a:gd name="T65" fmla="*/ 24 h 29"/>
                      <a:gd name="T66" fmla="*/ 24 w 51"/>
                      <a:gd name="T67" fmla="*/ 27 h 29"/>
                      <a:gd name="T68" fmla="*/ 26 w 51"/>
                      <a:gd name="T69" fmla="*/ 25 h 29"/>
                      <a:gd name="T70" fmla="*/ 29 w 51"/>
                      <a:gd name="T71" fmla="*/ 25 h 29"/>
                      <a:gd name="T72" fmla="*/ 31 w 51"/>
                      <a:gd name="T73" fmla="*/ 27 h 29"/>
                      <a:gd name="T74" fmla="*/ 31 w 51"/>
                      <a:gd name="T75" fmla="*/ 24 h 29"/>
                      <a:gd name="T76" fmla="*/ 31 w 51"/>
                      <a:gd name="T77" fmla="*/ 22 h 29"/>
                      <a:gd name="T78" fmla="*/ 34 w 51"/>
                      <a:gd name="T79" fmla="*/ 20 h 29"/>
                      <a:gd name="T80" fmla="*/ 36 w 51"/>
                      <a:gd name="T81" fmla="*/ 19 h 29"/>
                      <a:gd name="T82" fmla="*/ 36 w 51"/>
                      <a:gd name="T83" fmla="*/ 15 h 29"/>
                      <a:gd name="T84" fmla="*/ 34 w 51"/>
                      <a:gd name="T85" fmla="*/ 14 h 29"/>
                      <a:gd name="T86" fmla="*/ 41 w 51"/>
                      <a:gd name="T87" fmla="*/ 10 h 29"/>
                      <a:gd name="T88" fmla="*/ 44 w 51"/>
                      <a:gd name="T89" fmla="*/ 10 h 29"/>
                      <a:gd name="T90" fmla="*/ 44 w 51"/>
                      <a:gd name="T91" fmla="*/ 7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</a:cxnLst>
                    <a:rect l="0" t="0" r="r" b="b"/>
                    <a:pathLst>
                      <a:path w="51" h="29">
                        <a:moveTo>
                          <a:pt x="46" y="7"/>
                        </a:moveTo>
                        <a:lnTo>
                          <a:pt x="48" y="7"/>
                        </a:lnTo>
                        <a:lnTo>
                          <a:pt x="49" y="7"/>
                        </a:lnTo>
                        <a:lnTo>
                          <a:pt x="51" y="7"/>
                        </a:lnTo>
                        <a:lnTo>
                          <a:pt x="48" y="3"/>
                        </a:lnTo>
                        <a:lnTo>
                          <a:pt x="46" y="0"/>
                        </a:lnTo>
                        <a:lnTo>
                          <a:pt x="44" y="0"/>
                        </a:lnTo>
                        <a:lnTo>
                          <a:pt x="43" y="0"/>
                        </a:lnTo>
                        <a:lnTo>
                          <a:pt x="39" y="0"/>
                        </a:lnTo>
                        <a:lnTo>
                          <a:pt x="39" y="2"/>
                        </a:lnTo>
                        <a:lnTo>
                          <a:pt x="37" y="2"/>
                        </a:lnTo>
                        <a:lnTo>
                          <a:pt x="36" y="2"/>
                        </a:lnTo>
                        <a:lnTo>
                          <a:pt x="34" y="2"/>
                        </a:lnTo>
                        <a:lnTo>
                          <a:pt x="32" y="3"/>
                        </a:lnTo>
                        <a:lnTo>
                          <a:pt x="31" y="3"/>
                        </a:lnTo>
                        <a:lnTo>
                          <a:pt x="29" y="3"/>
                        </a:lnTo>
                        <a:lnTo>
                          <a:pt x="26" y="3"/>
                        </a:lnTo>
                        <a:lnTo>
                          <a:pt x="22" y="3"/>
                        </a:lnTo>
                        <a:lnTo>
                          <a:pt x="21" y="5"/>
                        </a:lnTo>
                        <a:lnTo>
                          <a:pt x="21" y="7"/>
                        </a:lnTo>
                        <a:lnTo>
                          <a:pt x="19" y="7"/>
                        </a:lnTo>
                        <a:lnTo>
                          <a:pt x="17" y="7"/>
                        </a:lnTo>
                        <a:lnTo>
                          <a:pt x="16" y="7"/>
                        </a:lnTo>
                        <a:lnTo>
                          <a:pt x="14" y="7"/>
                        </a:lnTo>
                        <a:lnTo>
                          <a:pt x="12" y="7"/>
                        </a:lnTo>
                        <a:lnTo>
                          <a:pt x="9" y="7"/>
                        </a:lnTo>
                        <a:lnTo>
                          <a:pt x="7" y="7"/>
                        </a:lnTo>
                        <a:lnTo>
                          <a:pt x="5" y="7"/>
                        </a:lnTo>
                        <a:lnTo>
                          <a:pt x="4" y="7"/>
                        </a:lnTo>
                        <a:lnTo>
                          <a:pt x="4" y="8"/>
                        </a:lnTo>
                        <a:lnTo>
                          <a:pt x="2" y="8"/>
                        </a:lnTo>
                        <a:lnTo>
                          <a:pt x="0" y="12"/>
                        </a:lnTo>
                        <a:lnTo>
                          <a:pt x="2" y="12"/>
                        </a:lnTo>
                        <a:lnTo>
                          <a:pt x="4" y="12"/>
                        </a:lnTo>
                        <a:lnTo>
                          <a:pt x="2" y="14"/>
                        </a:lnTo>
                        <a:lnTo>
                          <a:pt x="2" y="17"/>
                        </a:lnTo>
                        <a:lnTo>
                          <a:pt x="4" y="17"/>
                        </a:lnTo>
                        <a:lnTo>
                          <a:pt x="4" y="19"/>
                        </a:lnTo>
                        <a:lnTo>
                          <a:pt x="4" y="20"/>
                        </a:lnTo>
                        <a:lnTo>
                          <a:pt x="5" y="20"/>
                        </a:lnTo>
                        <a:lnTo>
                          <a:pt x="7" y="20"/>
                        </a:lnTo>
                        <a:lnTo>
                          <a:pt x="7" y="22"/>
                        </a:lnTo>
                        <a:lnTo>
                          <a:pt x="9" y="22"/>
                        </a:lnTo>
                        <a:lnTo>
                          <a:pt x="9" y="24"/>
                        </a:lnTo>
                        <a:lnTo>
                          <a:pt x="9" y="25"/>
                        </a:lnTo>
                        <a:lnTo>
                          <a:pt x="7" y="25"/>
                        </a:lnTo>
                        <a:lnTo>
                          <a:pt x="5" y="25"/>
                        </a:lnTo>
                        <a:lnTo>
                          <a:pt x="4" y="25"/>
                        </a:lnTo>
                        <a:lnTo>
                          <a:pt x="4" y="27"/>
                        </a:lnTo>
                        <a:lnTo>
                          <a:pt x="5" y="27"/>
                        </a:lnTo>
                        <a:lnTo>
                          <a:pt x="5" y="29"/>
                        </a:lnTo>
                        <a:lnTo>
                          <a:pt x="7" y="29"/>
                        </a:lnTo>
                        <a:lnTo>
                          <a:pt x="9" y="29"/>
                        </a:lnTo>
                        <a:lnTo>
                          <a:pt x="10" y="29"/>
                        </a:lnTo>
                        <a:lnTo>
                          <a:pt x="10" y="27"/>
                        </a:lnTo>
                        <a:lnTo>
                          <a:pt x="12" y="27"/>
                        </a:lnTo>
                        <a:lnTo>
                          <a:pt x="14" y="27"/>
                        </a:lnTo>
                        <a:lnTo>
                          <a:pt x="14" y="29"/>
                        </a:lnTo>
                        <a:lnTo>
                          <a:pt x="16" y="29"/>
                        </a:lnTo>
                        <a:lnTo>
                          <a:pt x="16" y="27"/>
                        </a:lnTo>
                        <a:lnTo>
                          <a:pt x="17" y="27"/>
                        </a:lnTo>
                        <a:lnTo>
                          <a:pt x="19" y="27"/>
                        </a:lnTo>
                        <a:lnTo>
                          <a:pt x="21" y="27"/>
                        </a:lnTo>
                        <a:lnTo>
                          <a:pt x="21" y="25"/>
                        </a:lnTo>
                        <a:lnTo>
                          <a:pt x="21" y="24"/>
                        </a:lnTo>
                        <a:lnTo>
                          <a:pt x="22" y="24"/>
                        </a:lnTo>
                        <a:lnTo>
                          <a:pt x="24" y="25"/>
                        </a:lnTo>
                        <a:lnTo>
                          <a:pt x="24" y="27"/>
                        </a:lnTo>
                        <a:lnTo>
                          <a:pt x="26" y="27"/>
                        </a:lnTo>
                        <a:lnTo>
                          <a:pt x="26" y="25"/>
                        </a:lnTo>
                        <a:lnTo>
                          <a:pt x="27" y="25"/>
                        </a:lnTo>
                        <a:lnTo>
                          <a:pt x="29" y="25"/>
                        </a:lnTo>
                        <a:lnTo>
                          <a:pt x="29" y="27"/>
                        </a:lnTo>
                        <a:lnTo>
                          <a:pt x="31" y="27"/>
                        </a:lnTo>
                        <a:lnTo>
                          <a:pt x="31" y="25"/>
                        </a:lnTo>
                        <a:lnTo>
                          <a:pt x="31" y="24"/>
                        </a:lnTo>
                        <a:lnTo>
                          <a:pt x="32" y="24"/>
                        </a:lnTo>
                        <a:lnTo>
                          <a:pt x="31" y="22"/>
                        </a:lnTo>
                        <a:lnTo>
                          <a:pt x="32" y="22"/>
                        </a:lnTo>
                        <a:lnTo>
                          <a:pt x="34" y="20"/>
                        </a:lnTo>
                        <a:lnTo>
                          <a:pt x="36" y="20"/>
                        </a:lnTo>
                        <a:lnTo>
                          <a:pt x="36" y="19"/>
                        </a:lnTo>
                        <a:lnTo>
                          <a:pt x="36" y="17"/>
                        </a:lnTo>
                        <a:lnTo>
                          <a:pt x="36" y="15"/>
                        </a:lnTo>
                        <a:lnTo>
                          <a:pt x="34" y="15"/>
                        </a:lnTo>
                        <a:lnTo>
                          <a:pt x="34" y="14"/>
                        </a:lnTo>
                        <a:lnTo>
                          <a:pt x="39" y="10"/>
                        </a:lnTo>
                        <a:lnTo>
                          <a:pt x="41" y="10"/>
                        </a:lnTo>
                        <a:lnTo>
                          <a:pt x="43" y="10"/>
                        </a:lnTo>
                        <a:lnTo>
                          <a:pt x="44" y="10"/>
                        </a:lnTo>
                        <a:lnTo>
                          <a:pt x="44" y="8"/>
                        </a:lnTo>
                        <a:lnTo>
                          <a:pt x="44" y="7"/>
                        </a:lnTo>
                        <a:lnTo>
                          <a:pt x="46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84" name="Freeform 158">
                    <a:extLst>
                      <a:ext uri="{FF2B5EF4-FFF2-40B4-BE49-F238E27FC236}">
                        <a16:creationId xmlns:a16="http://schemas.microsoft.com/office/drawing/2014/main" id="{50DE2FE6-4F8B-1D45-963A-740B30FEF1D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9" y="566"/>
                    <a:ext cx="51" cy="29"/>
                  </a:xfrm>
                  <a:custGeom>
                    <a:avLst/>
                    <a:gdLst>
                      <a:gd name="T0" fmla="*/ 48 w 51"/>
                      <a:gd name="T1" fmla="*/ 7 h 29"/>
                      <a:gd name="T2" fmla="*/ 51 w 51"/>
                      <a:gd name="T3" fmla="*/ 7 h 29"/>
                      <a:gd name="T4" fmla="*/ 46 w 51"/>
                      <a:gd name="T5" fmla="*/ 0 h 29"/>
                      <a:gd name="T6" fmla="*/ 43 w 51"/>
                      <a:gd name="T7" fmla="*/ 0 h 29"/>
                      <a:gd name="T8" fmla="*/ 39 w 51"/>
                      <a:gd name="T9" fmla="*/ 2 h 29"/>
                      <a:gd name="T10" fmla="*/ 36 w 51"/>
                      <a:gd name="T11" fmla="*/ 2 h 29"/>
                      <a:gd name="T12" fmla="*/ 32 w 51"/>
                      <a:gd name="T13" fmla="*/ 3 h 29"/>
                      <a:gd name="T14" fmla="*/ 29 w 51"/>
                      <a:gd name="T15" fmla="*/ 3 h 29"/>
                      <a:gd name="T16" fmla="*/ 22 w 51"/>
                      <a:gd name="T17" fmla="*/ 3 h 29"/>
                      <a:gd name="T18" fmla="*/ 21 w 51"/>
                      <a:gd name="T19" fmla="*/ 7 h 29"/>
                      <a:gd name="T20" fmla="*/ 17 w 51"/>
                      <a:gd name="T21" fmla="*/ 7 h 29"/>
                      <a:gd name="T22" fmla="*/ 14 w 51"/>
                      <a:gd name="T23" fmla="*/ 7 h 29"/>
                      <a:gd name="T24" fmla="*/ 9 w 51"/>
                      <a:gd name="T25" fmla="*/ 7 h 29"/>
                      <a:gd name="T26" fmla="*/ 5 w 51"/>
                      <a:gd name="T27" fmla="*/ 7 h 29"/>
                      <a:gd name="T28" fmla="*/ 4 w 51"/>
                      <a:gd name="T29" fmla="*/ 8 h 29"/>
                      <a:gd name="T30" fmla="*/ 0 w 51"/>
                      <a:gd name="T31" fmla="*/ 12 h 29"/>
                      <a:gd name="T32" fmla="*/ 4 w 51"/>
                      <a:gd name="T33" fmla="*/ 12 h 29"/>
                      <a:gd name="T34" fmla="*/ 2 w 51"/>
                      <a:gd name="T35" fmla="*/ 17 h 29"/>
                      <a:gd name="T36" fmla="*/ 4 w 51"/>
                      <a:gd name="T37" fmla="*/ 19 h 29"/>
                      <a:gd name="T38" fmla="*/ 5 w 51"/>
                      <a:gd name="T39" fmla="*/ 20 h 29"/>
                      <a:gd name="T40" fmla="*/ 7 w 51"/>
                      <a:gd name="T41" fmla="*/ 22 h 29"/>
                      <a:gd name="T42" fmla="*/ 9 w 51"/>
                      <a:gd name="T43" fmla="*/ 24 h 29"/>
                      <a:gd name="T44" fmla="*/ 7 w 51"/>
                      <a:gd name="T45" fmla="*/ 25 h 29"/>
                      <a:gd name="T46" fmla="*/ 4 w 51"/>
                      <a:gd name="T47" fmla="*/ 25 h 29"/>
                      <a:gd name="T48" fmla="*/ 5 w 51"/>
                      <a:gd name="T49" fmla="*/ 27 h 29"/>
                      <a:gd name="T50" fmla="*/ 7 w 51"/>
                      <a:gd name="T51" fmla="*/ 29 h 29"/>
                      <a:gd name="T52" fmla="*/ 10 w 51"/>
                      <a:gd name="T53" fmla="*/ 29 h 29"/>
                      <a:gd name="T54" fmla="*/ 12 w 51"/>
                      <a:gd name="T55" fmla="*/ 27 h 29"/>
                      <a:gd name="T56" fmla="*/ 14 w 51"/>
                      <a:gd name="T57" fmla="*/ 29 h 29"/>
                      <a:gd name="T58" fmla="*/ 16 w 51"/>
                      <a:gd name="T59" fmla="*/ 27 h 29"/>
                      <a:gd name="T60" fmla="*/ 19 w 51"/>
                      <a:gd name="T61" fmla="*/ 27 h 29"/>
                      <a:gd name="T62" fmla="*/ 21 w 51"/>
                      <a:gd name="T63" fmla="*/ 25 h 29"/>
                      <a:gd name="T64" fmla="*/ 22 w 51"/>
                      <a:gd name="T65" fmla="*/ 24 h 29"/>
                      <a:gd name="T66" fmla="*/ 24 w 51"/>
                      <a:gd name="T67" fmla="*/ 27 h 29"/>
                      <a:gd name="T68" fmla="*/ 26 w 51"/>
                      <a:gd name="T69" fmla="*/ 25 h 29"/>
                      <a:gd name="T70" fmla="*/ 29 w 51"/>
                      <a:gd name="T71" fmla="*/ 25 h 29"/>
                      <a:gd name="T72" fmla="*/ 31 w 51"/>
                      <a:gd name="T73" fmla="*/ 27 h 29"/>
                      <a:gd name="T74" fmla="*/ 31 w 51"/>
                      <a:gd name="T75" fmla="*/ 24 h 29"/>
                      <a:gd name="T76" fmla="*/ 31 w 51"/>
                      <a:gd name="T77" fmla="*/ 22 h 29"/>
                      <a:gd name="T78" fmla="*/ 34 w 51"/>
                      <a:gd name="T79" fmla="*/ 20 h 29"/>
                      <a:gd name="T80" fmla="*/ 36 w 51"/>
                      <a:gd name="T81" fmla="*/ 19 h 29"/>
                      <a:gd name="T82" fmla="*/ 36 w 51"/>
                      <a:gd name="T83" fmla="*/ 15 h 29"/>
                      <a:gd name="T84" fmla="*/ 34 w 51"/>
                      <a:gd name="T85" fmla="*/ 14 h 29"/>
                      <a:gd name="T86" fmla="*/ 41 w 51"/>
                      <a:gd name="T87" fmla="*/ 10 h 29"/>
                      <a:gd name="T88" fmla="*/ 44 w 51"/>
                      <a:gd name="T89" fmla="*/ 10 h 29"/>
                      <a:gd name="T90" fmla="*/ 44 w 51"/>
                      <a:gd name="T91" fmla="*/ 7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</a:cxnLst>
                    <a:rect l="0" t="0" r="r" b="b"/>
                    <a:pathLst>
                      <a:path w="51" h="29">
                        <a:moveTo>
                          <a:pt x="46" y="7"/>
                        </a:moveTo>
                        <a:lnTo>
                          <a:pt x="48" y="7"/>
                        </a:lnTo>
                        <a:lnTo>
                          <a:pt x="49" y="7"/>
                        </a:lnTo>
                        <a:lnTo>
                          <a:pt x="51" y="7"/>
                        </a:lnTo>
                        <a:lnTo>
                          <a:pt x="48" y="3"/>
                        </a:lnTo>
                        <a:lnTo>
                          <a:pt x="46" y="0"/>
                        </a:lnTo>
                        <a:lnTo>
                          <a:pt x="44" y="0"/>
                        </a:lnTo>
                        <a:lnTo>
                          <a:pt x="43" y="0"/>
                        </a:lnTo>
                        <a:lnTo>
                          <a:pt x="39" y="0"/>
                        </a:lnTo>
                        <a:lnTo>
                          <a:pt x="39" y="2"/>
                        </a:lnTo>
                        <a:lnTo>
                          <a:pt x="37" y="2"/>
                        </a:lnTo>
                        <a:lnTo>
                          <a:pt x="36" y="2"/>
                        </a:lnTo>
                        <a:lnTo>
                          <a:pt x="34" y="2"/>
                        </a:lnTo>
                        <a:lnTo>
                          <a:pt x="32" y="3"/>
                        </a:lnTo>
                        <a:lnTo>
                          <a:pt x="31" y="3"/>
                        </a:lnTo>
                        <a:lnTo>
                          <a:pt x="29" y="3"/>
                        </a:lnTo>
                        <a:lnTo>
                          <a:pt x="26" y="3"/>
                        </a:lnTo>
                        <a:lnTo>
                          <a:pt x="22" y="3"/>
                        </a:lnTo>
                        <a:lnTo>
                          <a:pt x="21" y="5"/>
                        </a:lnTo>
                        <a:lnTo>
                          <a:pt x="21" y="7"/>
                        </a:lnTo>
                        <a:lnTo>
                          <a:pt x="19" y="7"/>
                        </a:lnTo>
                        <a:lnTo>
                          <a:pt x="17" y="7"/>
                        </a:lnTo>
                        <a:lnTo>
                          <a:pt x="16" y="7"/>
                        </a:lnTo>
                        <a:lnTo>
                          <a:pt x="14" y="7"/>
                        </a:lnTo>
                        <a:lnTo>
                          <a:pt x="12" y="7"/>
                        </a:lnTo>
                        <a:lnTo>
                          <a:pt x="9" y="7"/>
                        </a:lnTo>
                        <a:lnTo>
                          <a:pt x="7" y="7"/>
                        </a:lnTo>
                        <a:lnTo>
                          <a:pt x="5" y="7"/>
                        </a:lnTo>
                        <a:lnTo>
                          <a:pt x="4" y="7"/>
                        </a:lnTo>
                        <a:lnTo>
                          <a:pt x="4" y="8"/>
                        </a:lnTo>
                        <a:lnTo>
                          <a:pt x="2" y="8"/>
                        </a:lnTo>
                        <a:lnTo>
                          <a:pt x="0" y="12"/>
                        </a:lnTo>
                        <a:lnTo>
                          <a:pt x="2" y="12"/>
                        </a:lnTo>
                        <a:lnTo>
                          <a:pt x="4" y="12"/>
                        </a:lnTo>
                        <a:lnTo>
                          <a:pt x="2" y="14"/>
                        </a:lnTo>
                        <a:lnTo>
                          <a:pt x="2" y="17"/>
                        </a:lnTo>
                        <a:lnTo>
                          <a:pt x="4" y="17"/>
                        </a:lnTo>
                        <a:lnTo>
                          <a:pt x="4" y="19"/>
                        </a:lnTo>
                        <a:lnTo>
                          <a:pt x="4" y="20"/>
                        </a:lnTo>
                        <a:lnTo>
                          <a:pt x="5" y="20"/>
                        </a:lnTo>
                        <a:lnTo>
                          <a:pt x="7" y="20"/>
                        </a:lnTo>
                        <a:lnTo>
                          <a:pt x="7" y="22"/>
                        </a:lnTo>
                        <a:lnTo>
                          <a:pt x="9" y="22"/>
                        </a:lnTo>
                        <a:lnTo>
                          <a:pt x="9" y="24"/>
                        </a:lnTo>
                        <a:lnTo>
                          <a:pt x="9" y="25"/>
                        </a:lnTo>
                        <a:lnTo>
                          <a:pt x="7" y="25"/>
                        </a:lnTo>
                        <a:lnTo>
                          <a:pt x="5" y="25"/>
                        </a:lnTo>
                        <a:lnTo>
                          <a:pt x="4" y="25"/>
                        </a:lnTo>
                        <a:lnTo>
                          <a:pt x="4" y="27"/>
                        </a:lnTo>
                        <a:lnTo>
                          <a:pt x="5" y="27"/>
                        </a:lnTo>
                        <a:lnTo>
                          <a:pt x="5" y="29"/>
                        </a:lnTo>
                        <a:lnTo>
                          <a:pt x="7" y="29"/>
                        </a:lnTo>
                        <a:lnTo>
                          <a:pt x="9" y="29"/>
                        </a:lnTo>
                        <a:lnTo>
                          <a:pt x="10" y="29"/>
                        </a:lnTo>
                        <a:lnTo>
                          <a:pt x="10" y="27"/>
                        </a:lnTo>
                        <a:lnTo>
                          <a:pt x="12" y="27"/>
                        </a:lnTo>
                        <a:lnTo>
                          <a:pt x="14" y="27"/>
                        </a:lnTo>
                        <a:lnTo>
                          <a:pt x="14" y="29"/>
                        </a:lnTo>
                        <a:lnTo>
                          <a:pt x="16" y="29"/>
                        </a:lnTo>
                        <a:lnTo>
                          <a:pt x="16" y="27"/>
                        </a:lnTo>
                        <a:lnTo>
                          <a:pt x="17" y="27"/>
                        </a:lnTo>
                        <a:lnTo>
                          <a:pt x="19" y="27"/>
                        </a:lnTo>
                        <a:lnTo>
                          <a:pt x="21" y="27"/>
                        </a:lnTo>
                        <a:lnTo>
                          <a:pt x="21" y="25"/>
                        </a:lnTo>
                        <a:lnTo>
                          <a:pt x="21" y="24"/>
                        </a:lnTo>
                        <a:lnTo>
                          <a:pt x="22" y="24"/>
                        </a:lnTo>
                        <a:lnTo>
                          <a:pt x="24" y="25"/>
                        </a:lnTo>
                        <a:lnTo>
                          <a:pt x="24" y="27"/>
                        </a:lnTo>
                        <a:lnTo>
                          <a:pt x="26" y="27"/>
                        </a:lnTo>
                        <a:lnTo>
                          <a:pt x="26" y="25"/>
                        </a:lnTo>
                        <a:lnTo>
                          <a:pt x="27" y="25"/>
                        </a:lnTo>
                        <a:lnTo>
                          <a:pt x="29" y="25"/>
                        </a:lnTo>
                        <a:lnTo>
                          <a:pt x="29" y="27"/>
                        </a:lnTo>
                        <a:lnTo>
                          <a:pt x="31" y="27"/>
                        </a:lnTo>
                        <a:lnTo>
                          <a:pt x="31" y="25"/>
                        </a:lnTo>
                        <a:lnTo>
                          <a:pt x="31" y="24"/>
                        </a:lnTo>
                        <a:lnTo>
                          <a:pt x="32" y="24"/>
                        </a:lnTo>
                        <a:lnTo>
                          <a:pt x="31" y="22"/>
                        </a:lnTo>
                        <a:lnTo>
                          <a:pt x="32" y="22"/>
                        </a:lnTo>
                        <a:lnTo>
                          <a:pt x="34" y="20"/>
                        </a:lnTo>
                        <a:lnTo>
                          <a:pt x="36" y="20"/>
                        </a:lnTo>
                        <a:lnTo>
                          <a:pt x="36" y="19"/>
                        </a:lnTo>
                        <a:lnTo>
                          <a:pt x="36" y="17"/>
                        </a:lnTo>
                        <a:lnTo>
                          <a:pt x="36" y="15"/>
                        </a:lnTo>
                        <a:lnTo>
                          <a:pt x="34" y="15"/>
                        </a:lnTo>
                        <a:lnTo>
                          <a:pt x="34" y="14"/>
                        </a:lnTo>
                        <a:lnTo>
                          <a:pt x="39" y="10"/>
                        </a:lnTo>
                        <a:lnTo>
                          <a:pt x="41" y="10"/>
                        </a:lnTo>
                        <a:lnTo>
                          <a:pt x="43" y="10"/>
                        </a:lnTo>
                        <a:lnTo>
                          <a:pt x="44" y="10"/>
                        </a:lnTo>
                        <a:lnTo>
                          <a:pt x="44" y="8"/>
                        </a:lnTo>
                        <a:lnTo>
                          <a:pt x="44" y="7"/>
                        </a:lnTo>
                        <a:lnTo>
                          <a:pt x="46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71" name="Group 1770">
                  <a:extLst>
                    <a:ext uri="{FF2B5EF4-FFF2-40B4-BE49-F238E27FC236}">
                      <a16:creationId xmlns:a16="http://schemas.microsoft.com/office/drawing/2014/main" id="{9F23C84B-C771-644C-AF8D-6FBB73DD553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17" y="632"/>
                  <a:ext cx="6" cy="3"/>
                  <a:chOff x="417" y="632"/>
                  <a:chExt cx="6" cy="3"/>
                </a:xfrm>
              </p:grpSpPr>
              <p:sp>
                <p:nvSpPr>
                  <p:cNvPr id="1781" name="Freeform 155">
                    <a:extLst>
                      <a:ext uri="{FF2B5EF4-FFF2-40B4-BE49-F238E27FC236}">
                        <a16:creationId xmlns:a16="http://schemas.microsoft.com/office/drawing/2014/main" id="{D5D4E587-1115-0A41-9DEA-9EBB449182D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17" y="632"/>
                    <a:ext cx="6" cy="3"/>
                  </a:xfrm>
                  <a:custGeom>
                    <a:avLst/>
                    <a:gdLst>
                      <a:gd name="T0" fmla="*/ 6 w 6"/>
                      <a:gd name="T1" fmla="*/ 1 h 3"/>
                      <a:gd name="T2" fmla="*/ 5 w 6"/>
                      <a:gd name="T3" fmla="*/ 1 h 3"/>
                      <a:gd name="T4" fmla="*/ 3 w 6"/>
                      <a:gd name="T5" fmla="*/ 1 h 3"/>
                      <a:gd name="T6" fmla="*/ 1 w 6"/>
                      <a:gd name="T7" fmla="*/ 1 h 3"/>
                      <a:gd name="T8" fmla="*/ 1 w 6"/>
                      <a:gd name="T9" fmla="*/ 0 h 3"/>
                      <a:gd name="T10" fmla="*/ 0 w 6"/>
                      <a:gd name="T11" fmla="*/ 0 h 3"/>
                      <a:gd name="T12" fmla="*/ 0 w 6"/>
                      <a:gd name="T13" fmla="*/ 1 h 3"/>
                      <a:gd name="T14" fmla="*/ 0 w 6"/>
                      <a:gd name="T15" fmla="*/ 3 h 3"/>
                      <a:gd name="T16" fmla="*/ 1 w 6"/>
                      <a:gd name="T17" fmla="*/ 3 h 3"/>
                      <a:gd name="T18" fmla="*/ 3 w 6"/>
                      <a:gd name="T19" fmla="*/ 3 h 3"/>
                      <a:gd name="T20" fmla="*/ 5 w 6"/>
                      <a:gd name="T21" fmla="*/ 3 h 3"/>
                      <a:gd name="T22" fmla="*/ 6 w 6"/>
                      <a:gd name="T23" fmla="*/ 3 h 3"/>
                      <a:gd name="T24" fmla="*/ 6 w 6"/>
                      <a:gd name="T25" fmla="*/ 1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6" h="3">
                        <a:moveTo>
                          <a:pt x="6" y="1"/>
                        </a:moveTo>
                        <a:lnTo>
                          <a:pt x="5" y="1"/>
                        </a:lnTo>
                        <a:lnTo>
                          <a:pt x="3" y="1"/>
                        </a:lnTo>
                        <a:lnTo>
                          <a:pt x="1" y="1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3"/>
                        </a:lnTo>
                        <a:lnTo>
                          <a:pt x="1" y="3"/>
                        </a:lnTo>
                        <a:lnTo>
                          <a:pt x="3" y="3"/>
                        </a:lnTo>
                        <a:lnTo>
                          <a:pt x="5" y="3"/>
                        </a:lnTo>
                        <a:lnTo>
                          <a:pt x="6" y="3"/>
                        </a:lnTo>
                        <a:lnTo>
                          <a:pt x="6" y="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82" name="Freeform 156">
                    <a:extLst>
                      <a:ext uri="{FF2B5EF4-FFF2-40B4-BE49-F238E27FC236}">
                        <a16:creationId xmlns:a16="http://schemas.microsoft.com/office/drawing/2014/main" id="{311011DF-3BD0-2244-872D-26426D89859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17" y="632"/>
                    <a:ext cx="6" cy="3"/>
                  </a:xfrm>
                  <a:custGeom>
                    <a:avLst/>
                    <a:gdLst>
                      <a:gd name="T0" fmla="*/ 6 w 6"/>
                      <a:gd name="T1" fmla="*/ 1 h 3"/>
                      <a:gd name="T2" fmla="*/ 5 w 6"/>
                      <a:gd name="T3" fmla="*/ 1 h 3"/>
                      <a:gd name="T4" fmla="*/ 3 w 6"/>
                      <a:gd name="T5" fmla="*/ 1 h 3"/>
                      <a:gd name="T6" fmla="*/ 1 w 6"/>
                      <a:gd name="T7" fmla="*/ 1 h 3"/>
                      <a:gd name="T8" fmla="*/ 1 w 6"/>
                      <a:gd name="T9" fmla="*/ 0 h 3"/>
                      <a:gd name="T10" fmla="*/ 0 w 6"/>
                      <a:gd name="T11" fmla="*/ 0 h 3"/>
                      <a:gd name="T12" fmla="*/ 0 w 6"/>
                      <a:gd name="T13" fmla="*/ 1 h 3"/>
                      <a:gd name="T14" fmla="*/ 0 w 6"/>
                      <a:gd name="T15" fmla="*/ 3 h 3"/>
                      <a:gd name="T16" fmla="*/ 1 w 6"/>
                      <a:gd name="T17" fmla="*/ 3 h 3"/>
                      <a:gd name="T18" fmla="*/ 3 w 6"/>
                      <a:gd name="T19" fmla="*/ 3 h 3"/>
                      <a:gd name="T20" fmla="*/ 5 w 6"/>
                      <a:gd name="T21" fmla="*/ 3 h 3"/>
                      <a:gd name="T22" fmla="*/ 6 w 6"/>
                      <a:gd name="T23" fmla="*/ 3 h 3"/>
                      <a:gd name="T24" fmla="*/ 6 w 6"/>
                      <a:gd name="T25" fmla="*/ 1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6" h="3">
                        <a:moveTo>
                          <a:pt x="6" y="1"/>
                        </a:moveTo>
                        <a:lnTo>
                          <a:pt x="5" y="1"/>
                        </a:lnTo>
                        <a:lnTo>
                          <a:pt x="3" y="1"/>
                        </a:lnTo>
                        <a:lnTo>
                          <a:pt x="1" y="1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3"/>
                        </a:lnTo>
                        <a:lnTo>
                          <a:pt x="1" y="3"/>
                        </a:lnTo>
                        <a:lnTo>
                          <a:pt x="3" y="3"/>
                        </a:lnTo>
                        <a:lnTo>
                          <a:pt x="5" y="3"/>
                        </a:lnTo>
                        <a:lnTo>
                          <a:pt x="6" y="3"/>
                        </a:lnTo>
                        <a:lnTo>
                          <a:pt x="6" y="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72" name="Group 1771">
                  <a:extLst>
                    <a:ext uri="{FF2B5EF4-FFF2-40B4-BE49-F238E27FC236}">
                      <a16:creationId xmlns:a16="http://schemas.microsoft.com/office/drawing/2014/main" id="{46D3C748-ECEA-9A42-ABB2-7964A1CC775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20" y="640"/>
                  <a:ext cx="8" cy="2"/>
                  <a:chOff x="420" y="640"/>
                  <a:chExt cx="8" cy="2"/>
                </a:xfrm>
              </p:grpSpPr>
              <p:sp>
                <p:nvSpPr>
                  <p:cNvPr id="1779" name="Freeform 153">
                    <a:extLst>
                      <a:ext uri="{FF2B5EF4-FFF2-40B4-BE49-F238E27FC236}">
                        <a16:creationId xmlns:a16="http://schemas.microsoft.com/office/drawing/2014/main" id="{B1B66AE5-C0A3-9D4B-8C60-0C57AA8DD29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20" y="640"/>
                    <a:ext cx="8" cy="2"/>
                  </a:xfrm>
                  <a:custGeom>
                    <a:avLst/>
                    <a:gdLst>
                      <a:gd name="T0" fmla="*/ 7 w 8"/>
                      <a:gd name="T1" fmla="*/ 0 h 2"/>
                      <a:gd name="T2" fmla="*/ 5 w 8"/>
                      <a:gd name="T3" fmla="*/ 0 h 2"/>
                      <a:gd name="T4" fmla="*/ 3 w 8"/>
                      <a:gd name="T5" fmla="*/ 0 h 2"/>
                      <a:gd name="T6" fmla="*/ 2 w 8"/>
                      <a:gd name="T7" fmla="*/ 0 h 2"/>
                      <a:gd name="T8" fmla="*/ 0 w 8"/>
                      <a:gd name="T9" fmla="*/ 0 h 2"/>
                      <a:gd name="T10" fmla="*/ 0 w 8"/>
                      <a:gd name="T11" fmla="*/ 2 h 2"/>
                      <a:gd name="T12" fmla="*/ 2 w 8"/>
                      <a:gd name="T13" fmla="*/ 2 h 2"/>
                      <a:gd name="T14" fmla="*/ 3 w 8"/>
                      <a:gd name="T15" fmla="*/ 2 h 2"/>
                      <a:gd name="T16" fmla="*/ 5 w 8"/>
                      <a:gd name="T17" fmla="*/ 2 h 2"/>
                      <a:gd name="T18" fmla="*/ 7 w 8"/>
                      <a:gd name="T19" fmla="*/ 2 h 2"/>
                      <a:gd name="T20" fmla="*/ 8 w 8"/>
                      <a:gd name="T21" fmla="*/ 2 h 2"/>
                      <a:gd name="T22" fmla="*/ 7 w 8"/>
                      <a:gd name="T23" fmla="*/ 0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8" h="2">
                        <a:moveTo>
                          <a:pt x="7" y="0"/>
                        </a:moveTo>
                        <a:lnTo>
                          <a:pt x="5" y="0"/>
                        </a:ln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2"/>
                        </a:lnTo>
                        <a:lnTo>
                          <a:pt x="2" y="2"/>
                        </a:lnTo>
                        <a:lnTo>
                          <a:pt x="3" y="2"/>
                        </a:lnTo>
                        <a:lnTo>
                          <a:pt x="5" y="2"/>
                        </a:lnTo>
                        <a:lnTo>
                          <a:pt x="7" y="2"/>
                        </a:lnTo>
                        <a:lnTo>
                          <a:pt x="8" y="2"/>
                        </a:lnTo>
                        <a:lnTo>
                          <a:pt x="7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80" name="Freeform 154">
                    <a:extLst>
                      <a:ext uri="{FF2B5EF4-FFF2-40B4-BE49-F238E27FC236}">
                        <a16:creationId xmlns:a16="http://schemas.microsoft.com/office/drawing/2014/main" id="{0766CA02-A1A0-9941-BB19-7711440044D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20" y="640"/>
                    <a:ext cx="8" cy="2"/>
                  </a:xfrm>
                  <a:custGeom>
                    <a:avLst/>
                    <a:gdLst>
                      <a:gd name="T0" fmla="*/ 7 w 8"/>
                      <a:gd name="T1" fmla="*/ 0 h 2"/>
                      <a:gd name="T2" fmla="*/ 5 w 8"/>
                      <a:gd name="T3" fmla="*/ 0 h 2"/>
                      <a:gd name="T4" fmla="*/ 3 w 8"/>
                      <a:gd name="T5" fmla="*/ 0 h 2"/>
                      <a:gd name="T6" fmla="*/ 2 w 8"/>
                      <a:gd name="T7" fmla="*/ 0 h 2"/>
                      <a:gd name="T8" fmla="*/ 0 w 8"/>
                      <a:gd name="T9" fmla="*/ 0 h 2"/>
                      <a:gd name="T10" fmla="*/ 0 w 8"/>
                      <a:gd name="T11" fmla="*/ 2 h 2"/>
                      <a:gd name="T12" fmla="*/ 2 w 8"/>
                      <a:gd name="T13" fmla="*/ 2 h 2"/>
                      <a:gd name="T14" fmla="*/ 3 w 8"/>
                      <a:gd name="T15" fmla="*/ 2 h 2"/>
                      <a:gd name="T16" fmla="*/ 5 w 8"/>
                      <a:gd name="T17" fmla="*/ 2 h 2"/>
                      <a:gd name="T18" fmla="*/ 7 w 8"/>
                      <a:gd name="T19" fmla="*/ 2 h 2"/>
                      <a:gd name="T20" fmla="*/ 8 w 8"/>
                      <a:gd name="T21" fmla="*/ 2 h 2"/>
                      <a:gd name="T22" fmla="*/ 7 w 8"/>
                      <a:gd name="T23" fmla="*/ 0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8" h="2">
                        <a:moveTo>
                          <a:pt x="7" y="0"/>
                        </a:moveTo>
                        <a:lnTo>
                          <a:pt x="5" y="0"/>
                        </a:ln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2"/>
                        </a:lnTo>
                        <a:lnTo>
                          <a:pt x="2" y="2"/>
                        </a:lnTo>
                        <a:lnTo>
                          <a:pt x="3" y="2"/>
                        </a:lnTo>
                        <a:lnTo>
                          <a:pt x="5" y="2"/>
                        </a:lnTo>
                        <a:lnTo>
                          <a:pt x="7" y="2"/>
                        </a:lnTo>
                        <a:lnTo>
                          <a:pt x="8" y="2"/>
                        </a:lnTo>
                        <a:lnTo>
                          <a:pt x="7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73" name="Group 1772">
                  <a:extLst>
                    <a:ext uri="{FF2B5EF4-FFF2-40B4-BE49-F238E27FC236}">
                      <a16:creationId xmlns:a16="http://schemas.microsoft.com/office/drawing/2014/main" id="{B3933D70-7AA4-5B40-B73D-4DD8F20158A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86" y="598"/>
                  <a:ext cx="5" cy="5"/>
                  <a:chOff x="386" y="598"/>
                  <a:chExt cx="5" cy="5"/>
                </a:xfrm>
              </p:grpSpPr>
              <p:sp>
                <p:nvSpPr>
                  <p:cNvPr id="1777" name="Freeform 151">
                    <a:extLst>
                      <a:ext uri="{FF2B5EF4-FFF2-40B4-BE49-F238E27FC236}">
                        <a16:creationId xmlns:a16="http://schemas.microsoft.com/office/drawing/2014/main" id="{35FB54A0-CC2D-9845-961D-5A805060D30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" y="598"/>
                    <a:ext cx="5" cy="5"/>
                  </a:xfrm>
                  <a:custGeom>
                    <a:avLst/>
                    <a:gdLst>
                      <a:gd name="T0" fmla="*/ 4 w 5"/>
                      <a:gd name="T1" fmla="*/ 3 h 5"/>
                      <a:gd name="T2" fmla="*/ 2 w 5"/>
                      <a:gd name="T3" fmla="*/ 2 h 5"/>
                      <a:gd name="T4" fmla="*/ 2 w 5"/>
                      <a:gd name="T5" fmla="*/ 0 h 5"/>
                      <a:gd name="T6" fmla="*/ 0 w 5"/>
                      <a:gd name="T7" fmla="*/ 0 h 5"/>
                      <a:gd name="T8" fmla="*/ 0 w 5"/>
                      <a:gd name="T9" fmla="*/ 2 h 5"/>
                      <a:gd name="T10" fmla="*/ 0 w 5"/>
                      <a:gd name="T11" fmla="*/ 3 h 5"/>
                      <a:gd name="T12" fmla="*/ 2 w 5"/>
                      <a:gd name="T13" fmla="*/ 3 h 5"/>
                      <a:gd name="T14" fmla="*/ 4 w 5"/>
                      <a:gd name="T15" fmla="*/ 3 h 5"/>
                      <a:gd name="T16" fmla="*/ 5 w 5"/>
                      <a:gd name="T17" fmla="*/ 5 h 5"/>
                      <a:gd name="T18" fmla="*/ 5 w 5"/>
                      <a:gd name="T19" fmla="*/ 3 h 5"/>
                      <a:gd name="T20" fmla="*/ 4 w 5"/>
                      <a:gd name="T21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5" h="5">
                        <a:moveTo>
                          <a:pt x="4" y="3"/>
                        </a:moveTo>
                        <a:lnTo>
                          <a:pt x="2" y="2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2"/>
                        </a:lnTo>
                        <a:lnTo>
                          <a:pt x="0" y="3"/>
                        </a:lnTo>
                        <a:lnTo>
                          <a:pt x="2" y="3"/>
                        </a:lnTo>
                        <a:lnTo>
                          <a:pt x="4" y="3"/>
                        </a:lnTo>
                        <a:lnTo>
                          <a:pt x="5" y="5"/>
                        </a:lnTo>
                        <a:lnTo>
                          <a:pt x="5" y="3"/>
                        </a:lnTo>
                        <a:lnTo>
                          <a:pt x="4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78" name="Freeform 152">
                    <a:extLst>
                      <a:ext uri="{FF2B5EF4-FFF2-40B4-BE49-F238E27FC236}">
                        <a16:creationId xmlns:a16="http://schemas.microsoft.com/office/drawing/2014/main" id="{FED4F82C-415F-854A-AEAB-4B4B37DB006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" y="598"/>
                    <a:ext cx="5" cy="5"/>
                  </a:xfrm>
                  <a:custGeom>
                    <a:avLst/>
                    <a:gdLst>
                      <a:gd name="T0" fmla="*/ 4 w 5"/>
                      <a:gd name="T1" fmla="*/ 3 h 5"/>
                      <a:gd name="T2" fmla="*/ 2 w 5"/>
                      <a:gd name="T3" fmla="*/ 2 h 5"/>
                      <a:gd name="T4" fmla="*/ 2 w 5"/>
                      <a:gd name="T5" fmla="*/ 0 h 5"/>
                      <a:gd name="T6" fmla="*/ 0 w 5"/>
                      <a:gd name="T7" fmla="*/ 0 h 5"/>
                      <a:gd name="T8" fmla="*/ 0 w 5"/>
                      <a:gd name="T9" fmla="*/ 2 h 5"/>
                      <a:gd name="T10" fmla="*/ 0 w 5"/>
                      <a:gd name="T11" fmla="*/ 3 h 5"/>
                      <a:gd name="T12" fmla="*/ 2 w 5"/>
                      <a:gd name="T13" fmla="*/ 3 h 5"/>
                      <a:gd name="T14" fmla="*/ 4 w 5"/>
                      <a:gd name="T15" fmla="*/ 3 h 5"/>
                      <a:gd name="T16" fmla="*/ 5 w 5"/>
                      <a:gd name="T17" fmla="*/ 5 h 5"/>
                      <a:gd name="T18" fmla="*/ 5 w 5"/>
                      <a:gd name="T19" fmla="*/ 3 h 5"/>
                      <a:gd name="T20" fmla="*/ 4 w 5"/>
                      <a:gd name="T21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5" h="5">
                        <a:moveTo>
                          <a:pt x="4" y="3"/>
                        </a:moveTo>
                        <a:lnTo>
                          <a:pt x="2" y="2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2"/>
                        </a:lnTo>
                        <a:lnTo>
                          <a:pt x="0" y="3"/>
                        </a:lnTo>
                        <a:lnTo>
                          <a:pt x="2" y="3"/>
                        </a:lnTo>
                        <a:lnTo>
                          <a:pt x="4" y="3"/>
                        </a:lnTo>
                        <a:lnTo>
                          <a:pt x="5" y="5"/>
                        </a:lnTo>
                        <a:lnTo>
                          <a:pt x="5" y="3"/>
                        </a:lnTo>
                        <a:lnTo>
                          <a:pt x="4" y="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74" name="Group 1773">
                  <a:extLst>
                    <a:ext uri="{FF2B5EF4-FFF2-40B4-BE49-F238E27FC236}">
                      <a16:creationId xmlns:a16="http://schemas.microsoft.com/office/drawing/2014/main" id="{A2262301-1F44-8C4E-B13E-2BB3BD5AE9C6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83" y="598"/>
                  <a:ext cx="3" cy="10"/>
                  <a:chOff x="383" y="598"/>
                  <a:chExt cx="3" cy="10"/>
                </a:xfrm>
              </p:grpSpPr>
              <p:sp>
                <p:nvSpPr>
                  <p:cNvPr id="1775" name="Freeform 149">
                    <a:extLst>
                      <a:ext uri="{FF2B5EF4-FFF2-40B4-BE49-F238E27FC236}">
                        <a16:creationId xmlns:a16="http://schemas.microsoft.com/office/drawing/2014/main" id="{CA80B2E4-A4B4-664B-A81D-134C2866423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3" y="598"/>
                    <a:ext cx="3" cy="10"/>
                  </a:xfrm>
                  <a:custGeom>
                    <a:avLst/>
                    <a:gdLst>
                      <a:gd name="T0" fmla="*/ 3 w 3"/>
                      <a:gd name="T1" fmla="*/ 9 h 10"/>
                      <a:gd name="T2" fmla="*/ 2 w 3"/>
                      <a:gd name="T3" fmla="*/ 7 h 10"/>
                      <a:gd name="T4" fmla="*/ 2 w 3"/>
                      <a:gd name="T5" fmla="*/ 5 h 10"/>
                      <a:gd name="T6" fmla="*/ 2 w 3"/>
                      <a:gd name="T7" fmla="*/ 3 h 10"/>
                      <a:gd name="T8" fmla="*/ 2 w 3"/>
                      <a:gd name="T9" fmla="*/ 2 h 10"/>
                      <a:gd name="T10" fmla="*/ 2 w 3"/>
                      <a:gd name="T11" fmla="*/ 0 h 10"/>
                      <a:gd name="T12" fmla="*/ 0 w 3"/>
                      <a:gd name="T13" fmla="*/ 0 h 10"/>
                      <a:gd name="T14" fmla="*/ 2 w 3"/>
                      <a:gd name="T15" fmla="*/ 2 h 10"/>
                      <a:gd name="T16" fmla="*/ 2 w 3"/>
                      <a:gd name="T17" fmla="*/ 3 h 10"/>
                      <a:gd name="T18" fmla="*/ 2 w 3"/>
                      <a:gd name="T19" fmla="*/ 5 h 10"/>
                      <a:gd name="T20" fmla="*/ 0 w 3"/>
                      <a:gd name="T21" fmla="*/ 7 h 10"/>
                      <a:gd name="T22" fmla="*/ 2 w 3"/>
                      <a:gd name="T23" fmla="*/ 9 h 10"/>
                      <a:gd name="T24" fmla="*/ 3 w 3"/>
                      <a:gd name="T25" fmla="*/ 10 h 10"/>
                      <a:gd name="T26" fmla="*/ 3 w 3"/>
                      <a:gd name="T27" fmla="*/ 9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" h="10">
                        <a:moveTo>
                          <a:pt x="3" y="9"/>
                        </a:moveTo>
                        <a:lnTo>
                          <a:pt x="2" y="7"/>
                        </a:lnTo>
                        <a:lnTo>
                          <a:pt x="2" y="5"/>
                        </a:lnTo>
                        <a:lnTo>
                          <a:pt x="2" y="3"/>
                        </a:lnTo>
                        <a:lnTo>
                          <a:pt x="2" y="2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2" y="2"/>
                        </a:lnTo>
                        <a:lnTo>
                          <a:pt x="2" y="3"/>
                        </a:lnTo>
                        <a:lnTo>
                          <a:pt x="2" y="5"/>
                        </a:lnTo>
                        <a:lnTo>
                          <a:pt x="0" y="7"/>
                        </a:lnTo>
                        <a:lnTo>
                          <a:pt x="2" y="9"/>
                        </a:lnTo>
                        <a:lnTo>
                          <a:pt x="3" y="10"/>
                        </a:lnTo>
                        <a:lnTo>
                          <a:pt x="3" y="9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76" name="Freeform 150">
                    <a:extLst>
                      <a:ext uri="{FF2B5EF4-FFF2-40B4-BE49-F238E27FC236}">
                        <a16:creationId xmlns:a16="http://schemas.microsoft.com/office/drawing/2014/main" id="{866FB318-C2DD-7747-9DE2-11117A02751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3" y="598"/>
                    <a:ext cx="3" cy="10"/>
                  </a:xfrm>
                  <a:custGeom>
                    <a:avLst/>
                    <a:gdLst>
                      <a:gd name="T0" fmla="*/ 3 w 3"/>
                      <a:gd name="T1" fmla="*/ 9 h 10"/>
                      <a:gd name="T2" fmla="*/ 2 w 3"/>
                      <a:gd name="T3" fmla="*/ 7 h 10"/>
                      <a:gd name="T4" fmla="*/ 2 w 3"/>
                      <a:gd name="T5" fmla="*/ 5 h 10"/>
                      <a:gd name="T6" fmla="*/ 2 w 3"/>
                      <a:gd name="T7" fmla="*/ 3 h 10"/>
                      <a:gd name="T8" fmla="*/ 2 w 3"/>
                      <a:gd name="T9" fmla="*/ 2 h 10"/>
                      <a:gd name="T10" fmla="*/ 2 w 3"/>
                      <a:gd name="T11" fmla="*/ 0 h 10"/>
                      <a:gd name="T12" fmla="*/ 0 w 3"/>
                      <a:gd name="T13" fmla="*/ 0 h 10"/>
                      <a:gd name="T14" fmla="*/ 2 w 3"/>
                      <a:gd name="T15" fmla="*/ 2 h 10"/>
                      <a:gd name="T16" fmla="*/ 2 w 3"/>
                      <a:gd name="T17" fmla="*/ 3 h 10"/>
                      <a:gd name="T18" fmla="*/ 2 w 3"/>
                      <a:gd name="T19" fmla="*/ 5 h 10"/>
                      <a:gd name="T20" fmla="*/ 0 w 3"/>
                      <a:gd name="T21" fmla="*/ 7 h 10"/>
                      <a:gd name="T22" fmla="*/ 2 w 3"/>
                      <a:gd name="T23" fmla="*/ 9 h 10"/>
                      <a:gd name="T24" fmla="*/ 3 w 3"/>
                      <a:gd name="T25" fmla="*/ 10 h 10"/>
                      <a:gd name="T26" fmla="*/ 3 w 3"/>
                      <a:gd name="T27" fmla="*/ 9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" h="10">
                        <a:moveTo>
                          <a:pt x="3" y="9"/>
                        </a:moveTo>
                        <a:lnTo>
                          <a:pt x="2" y="7"/>
                        </a:lnTo>
                        <a:lnTo>
                          <a:pt x="2" y="5"/>
                        </a:lnTo>
                        <a:lnTo>
                          <a:pt x="2" y="3"/>
                        </a:lnTo>
                        <a:lnTo>
                          <a:pt x="2" y="2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2" y="2"/>
                        </a:lnTo>
                        <a:lnTo>
                          <a:pt x="2" y="3"/>
                        </a:lnTo>
                        <a:lnTo>
                          <a:pt x="2" y="5"/>
                        </a:lnTo>
                        <a:lnTo>
                          <a:pt x="0" y="7"/>
                        </a:lnTo>
                        <a:lnTo>
                          <a:pt x="2" y="9"/>
                        </a:lnTo>
                        <a:lnTo>
                          <a:pt x="3" y="10"/>
                        </a:lnTo>
                        <a:lnTo>
                          <a:pt x="3" y="9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666" name="Group 1665">
                <a:extLst>
                  <a:ext uri="{FF2B5EF4-FFF2-40B4-BE49-F238E27FC236}">
                    <a16:creationId xmlns:a16="http://schemas.microsoft.com/office/drawing/2014/main" id="{0337EAB0-4DD3-6D4A-8CB5-0D4F63D6A84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9" y="627"/>
                <a:ext cx="210" cy="140"/>
                <a:chOff x="19" y="627"/>
                <a:chExt cx="210" cy="140"/>
              </a:xfrm>
            </p:grpSpPr>
            <p:grpSp>
              <p:nvGrpSpPr>
                <p:cNvPr id="1758" name="Group 1757">
                  <a:extLst>
                    <a:ext uri="{FF2B5EF4-FFF2-40B4-BE49-F238E27FC236}">
                      <a16:creationId xmlns:a16="http://schemas.microsoft.com/office/drawing/2014/main" id="{68797F8B-919D-C946-824B-12849F2343B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9" y="627"/>
                  <a:ext cx="195" cy="140"/>
                  <a:chOff x="19" y="627"/>
                  <a:chExt cx="195" cy="140"/>
                </a:xfrm>
              </p:grpSpPr>
              <p:sp>
                <p:nvSpPr>
                  <p:cNvPr id="1768" name="Freeform 142">
                    <a:extLst>
                      <a:ext uri="{FF2B5EF4-FFF2-40B4-BE49-F238E27FC236}">
                        <a16:creationId xmlns:a16="http://schemas.microsoft.com/office/drawing/2014/main" id="{C1B6A553-671C-2C47-A8D9-C475AA1F48C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" y="627"/>
                    <a:ext cx="195" cy="140"/>
                  </a:xfrm>
                  <a:custGeom>
                    <a:avLst/>
                    <a:gdLst>
                      <a:gd name="T0" fmla="*/ 18 w 195"/>
                      <a:gd name="T1" fmla="*/ 32 h 140"/>
                      <a:gd name="T2" fmla="*/ 27 w 195"/>
                      <a:gd name="T3" fmla="*/ 35 h 140"/>
                      <a:gd name="T4" fmla="*/ 44 w 195"/>
                      <a:gd name="T5" fmla="*/ 35 h 140"/>
                      <a:gd name="T6" fmla="*/ 45 w 195"/>
                      <a:gd name="T7" fmla="*/ 45 h 140"/>
                      <a:gd name="T8" fmla="*/ 38 w 195"/>
                      <a:gd name="T9" fmla="*/ 57 h 140"/>
                      <a:gd name="T10" fmla="*/ 38 w 195"/>
                      <a:gd name="T11" fmla="*/ 69 h 140"/>
                      <a:gd name="T12" fmla="*/ 30 w 195"/>
                      <a:gd name="T13" fmla="*/ 77 h 140"/>
                      <a:gd name="T14" fmla="*/ 35 w 195"/>
                      <a:gd name="T15" fmla="*/ 87 h 140"/>
                      <a:gd name="T16" fmla="*/ 32 w 195"/>
                      <a:gd name="T17" fmla="*/ 99 h 140"/>
                      <a:gd name="T18" fmla="*/ 30 w 195"/>
                      <a:gd name="T19" fmla="*/ 109 h 140"/>
                      <a:gd name="T20" fmla="*/ 28 w 195"/>
                      <a:gd name="T21" fmla="*/ 119 h 140"/>
                      <a:gd name="T22" fmla="*/ 38 w 195"/>
                      <a:gd name="T23" fmla="*/ 121 h 140"/>
                      <a:gd name="T24" fmla="*/ 45 w 195"/>
                      <a:gd name="T25" fmla="*/ 130 h 140"/>
                      <a:gd name="T26" fmla="*/ 50 w 195"/>
                      <a:gd name="T27" fmla="*/ 138 h 140"/>
                      <a:gd name="T28" fmla="*/ 60 w 195"/>
                      <a:gd name="T29" fmla="*/ 140 h 140"/>
                      <a:gd name="T30" fmla="*/ 65 w 195"/>
                      <a:gd name="T31" fmla="*/ 135 h 140"/>
                      <a:gd name="T32" fmla="*/ 79 w 195"/>
                      <a:gd name="T33" fmla="*/ 130 h 140"/>
                      <a:gd name="T34" fmla="*/ 94 w 195"/>
                      <a:gd name="T35" fmla="*/ 128 h 140"/>
                      <a:gd name="T36" fmla="*/ 111 w 195"/>
                      <a:gd name="T37" fmla="*/ 128 h 140"/>
                      <a:gd name="T38" fmla="*/ 116 w 195"/>
                      <a:gd name="T39" fmla="*/ 121 h 140"/>
                      <a:gd name="T40" fmla="*/ 126 w 195"/>
                      <a:gd name="T41" fmla="*/ 114 h 140"/>
                      <a:gd name="T42" fmla="*/ 133 w 195"/>
                      <a:gd name="T43" fmla="*/ 109 h 140"/>
                      <a:gd name="T44" fmla="*/ 138 w 195"/>
                      <a:gd name="T45" fmla="*/ 101 h 140"/>
                      <a:gd name="T46" fmla="*/ 146 w 195"/>
                      <a:gd name="T47" fmla="*/ 92 h 140"/>
                      <a:gd name="T48" fmla="*/ 141 w 195"/>
                      <a:gd name="T49" fmla="*/ 87 h 140"/>
                      <a:gd name="T50" fmla="*/ 138 w 195"/>
                      <a:gd name="T51" fmla="*/ 81 h 140"/>
                      <a:gd name="T52" fmla="*/ 146 w 195"/>
                      <a:gd name="T53" fmla="*/ 71 h 140"/>
                      <a:gd name="T54" fmla="*/ 156 w 195"/>
                      <a:gd name="T55" fmla="*/ 57 h 140"/>
                      <a:gd name="T56" fmla="*/ 172 w 195"/>
                      <a:gd name="T57" fmla="*/ 47 h 140"/>
                      <a:gd name="T58" fmla="*/ 192 w 195"/>
                      <a:gd name="T59" fmla="*/ 37 h 140"/>
                      <a:gd name="T60" fmla="*/ 195 w 195"/>
                      <a:gd name="T61" fmla="*/ 27 h 140"/>
                      <a:gd name="T62" fmla="*/ 190 w 195"/>
                      <a:gd name="T63" fmla="*/ 25 h 140"/>
                      <a:gd name="T64" fmla="*/ 175 w 195"/>
                      <a:gd name="T65" fmla="*/ 25 h 140"/>
                      <a:gd name="T66" fmla="*/ 167 w 195"/>
                      <a:gd name="T67" fmla="*/ 25 h 140"/>
                      <a:gd name="T68" fmla="*/ 160 w 195"/>
                      <a:gd name="T69" fmla="*/ 18 h 140"/>
                      <a:gd name="T70" fmla="*/ 150 w 195"/>
                      <a:gd name="T71" fmla="*/ 20 h 140"/>
                      <a:gd name="T72" fmla="*/ 133 w 195"/>
                      <a:gd name="T73" fmla="*/ 17 h 140"/>
                      <a:gd name="T74" fmla="*/ 123 w 195"/>
                      <a:gd name="T75" fmla="*/ 12 h 140"/>
                      <a:gd name="T76" fmla="*/ 116 w 195"/>
                      <a:gd name="T77" fmla="*/ 6 h 140"/>
                      <a:gd name="T78" fmla="*/ 97 w 195"/>
                      <a:gd name="T79" fmla="*/ 6 h 140"/>
                      <a:gd name="T80" fmla="*/ 82 w 195"/>
                      <a:gd name="T81" fmla="*/ 5 h 140"/>
                      <a:gd name="T82" fmla="*/ 62 w 195"/>
                      <a:gd name="T83" fmla="*/ 3 h 140"/>
                      <a:gd name="T84" fmla="*/ 47 w 195"/>
                      <a:gd name="T85" fmla="*/ 3 h 140"/>
                      <a:gd name="T86" fmla="*/ 27 w 195"/>
                      <a:gd name="T87" fmla="*/ 0 h 140"/>
                      <a:gd name="T88" fmla="*/ 15 w 195"/>
                      <a:gd name="T89" fmla="*/ 3 h 140"/>
                      <a:gd name="T90" fmla="*/ 5 w 195"/>
                      <a:gd name="T91" fmla="*/ 8 h 140"/>
                      <a:gd name="T92" fmla="*/ 5 w 195"/>
                      <a:gd name="T93" fmla="*/ 17 h 140"/>
                      <a:gd name="T94" fmla="*/ 5 w 195"/>
                      <a:gd name="T95" fmla="*/ 23 h 140"/>
                      <a:gd name="T96" fmla="*/ 6 w 195"/>
                      <a:gd name="T97" fmla="*/ 28 h 1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195" h="140">
                        <a:moveTo>
                          <a:pt x="10" y="33"/>
                        </a:moveTo>
                        <a:lnTo>
                          <a:pt x="13" y="32"/>
                        </a:lnTo>
                        <a:lnTo>
                          <a:pt x="18" y="30"/>
                        </a:lnTo>
                        <a:lnTo>
                          <a:pt x="18" y="32"/>
                        </a:lnTo>
                        <a:lnTo>
                          <a:pt x="18" y="33"/>
                        </a:lnTo>
                        <a:lnTo>
                          <a:pt x="20" y="35"/>
                        </a:lnTo>
                        <a:lnTo>
                          <a:pt x="23" y="35"/>
                        </a:lnTo>
                        <a:lnTo>
                          <a:pt x="27" y="35"/>
                        </a:lnTo>
                        <a:lnTo>
                          <a:pt x="30" y="35"/>
                        </a:lnTo>
                        <a:lnTo>
                          <a:pt x="33" y="33"/>
                        </a:lnTo>
                        <a:lnTo>
                          <a:pt x="38" y="33"/>
                        </a:lnTo>
                        <a:lnTo>
                          <a:pt x="44" y="35"/>
                        </a:lnTo>
                        <a:lnTo>
                          <a:pt x="45" y="37"/>
                        </a:lnTo>
                        <a:lnTo>
                          <a:pt x="47" y="40"/>
                        </a:lnTo>
                        <a:lnTo>
                          <a:pt x="47" y="42"/>
                        </a:lnTo>
                        <a:lnTo>
                          <a:pt x="45" y="45"/>
                        </a:lnTo>
                        <a:lnTo>
                          <a:pt x="42" y="49"/>
                        </a:lnTo>
                        <a:lnTo>
                          <a:pt x="38" y="50"/>
                        </a:lnTo>
                        <a:lnTo>
                          <a:pt x="38" y="54"/>
                        </a:lnTo>
                        <a:lnTo>
                          <a:pt x="38" y="57"/>
                        </a:lnTo>
                        <a:lnTo>
                          <a:pt x="38" y="60"/>
                        </a:lnTo>
                        <a:lnTo>
                          <a:pt x="37" y="64"/>
                        </a:lnTo>
                        <a:lnTo>
                          <a:pt x="37" y="66"/>
                        </a:lnTo>
                        <a:lnTo>
                          <a:pt x="38" y="69"/>
                        </a:lnTo>
                        <a:lnTo>
                          <a:pt x="38" y="71"/>
                        </a:lnTo>
                        <a:lnTo>
                          <a:pt x="35" y="74"/>
                        </a:lnTo>
                        <a:lnTo>
                          <a:pt x="32" y="76"/>
                        </a:lnTo>
                        <a:lnTo>
                          <a:pt x="30" y="77"/>
                        </a:lnTo>
                        <a:lnTo>
                          <a:pt x="30" y="81"/>
                        </a:lnTo>
                        <a:lnTo>
                          <a:pt x="32" y="84"/>
                        </a:lnTo>
                        <a:lnTo>
                          <a:pt x="33" y="86"/>
                        </a:lnTo>
                        <a:lnTo>
                          <a:pt x="35" y="87"/>
                        </a:lnTo>
                        <a:lnTo>
                          <a:pt x="33" y="89"/>
                        </a:lnTo>
                        <a:lnTo>
                          <a:pt x="32" y="92"/>
                        </a:lnTo>
                        <a:lnTo>
                          <a:pt x="32" y="96"/>
                        </a:lnTo>
                        <a:lnTo>
                          <a:pt x="32" y="99"/>
                        </a:lnTo>
                        <a:lnTo>
                          <a:pt x="35" y="103"/>
                        </a:lnTo>
                        <a:lnTo>
                          <a:pt x="35" y="104"/>
                        </a:lnTo>
                        <a:lnTo>
                          <a:pt x="33" y="108"/>
                        </a:lnTo>
                        <a:lnTo>
                          <a:pt x="30" y="109"/>
                        </a:lnTo>
                        <a:lnTo>
                          <a:pt x="28" y="113"/>
                        </a:lnTo>
                        <a:lnTo>
                          <a:pt x="28" y="116"/>
                        </a:lnTo>
                        <a:lnTo>
                          <a:pt x="28" y="118"/>
                        </a:lnTo>
                        <a:lnTo>
                          <a:pt x="28" y="119"/>
                        </a:lnTo>
                        <a:lnTo>
                          <a:pt x="33" y="119"/>
                        </a:lnTo>
                        <a:lnTo>
                          <a:pt x="35" y="119"/>
                        </a:lnTo>
                        <a:lnTo>
                          <a:pt x="37" y="119"/>
                        </a:lnTo>
                        <a:lnTo>
                          <a:pt x="38" y="121"/>
                        </a:lnTo>
                        <a:lnTo>
                          <a:pt x="42" y="123"/>
                        </a:lnTo>
                        <a:lnTo>
                          <a:pt x="44" y="125"/>
                        </a:lnTo>
                        <a:lnTo>
                          <a:pt x="45" y="126"/>
                        </a:lnTo>
                        <a:lnTo>
                          <a:pt x="45" y="130"/>
                        </a:lnTo>
                        <a:lnTo>
                          <a:pt x="47" y="131"/>
                        </a:lnTo>
                        <a:lnTo>
                          <a:pt x="47" y="133"/>
                        </a:lnTo>
                        <a:lnTo>
                          <a:pt x="49" y="135"/>
                        </a:lnTo>
                        <a:lnTo>
                          <a:pt x="50" y="138"/>
                        </a:lnTo>
                        <a:lnTo>
                          <a:pt x="54" y="140"/>
                        </a:lnTo>
                        <a:lnTo>
                          <a:pt x="57" y="140"/>
                        </a:lnTo>
                        <a:lnTo>
                          <a:pt x="59" y="140"/>
                        </a:lnTo>
                        <a:lnTo>
                          <a:pt x="60" y="140"/>
                        </a:lnTo>
                        <a:lnTo>
                          <a:pt x="62" y="140"/>
                        </a:lnTo>
                        <a:lnTo>
                          <a:pt x="62" y="138"/>
                        </a:lnTo>
                        <a:lnTo>
                          <a:pt x="64" y="136"/>
                        </a:lnTo>
                        <a:lnTo>
                          <a:pt x="65" y="135"/>
                        </a:lnTo>
                        <a:lnTo>
                          <a:pt x="69" y="133"/>
                        </a:lnTo>
                        <a:lnTo>
                          <a:pt x="72" y="133"/>
                        </a:lnTo>
                        <a:lnTo>
                          <a:pt x="76" y="130"/>
                        </a:lnTo>
                        <a:lnTo>
                          <a:pt x="79" y="130"/>
                        </a:lnTo>
                        <a:lnTo>
                          <a:pt x="81" y="128"/>
                        </a:lnTo>
                        <a:lnTo>
                          <a:pt x="86" y="128"/>
                        </a:lnTo>
                        <a:lnTo>
                          <a:pt x="91" y="128"/>
                        </a:lnTo>
                        <a:lnTo>
                          <a:pt x="94" y="128"/>
                        </a:lnTo>
                        <a:lnTo>
                          <a:pt x="99" y="130"/>
                        </a:lnTo>
                        <a:lnTo>
                          <a:pt x="103" y="130"/>
                        </a:lnTo>
                        <a:lnTo>
                          <a:pt x="108" y="128"/>
                        </a:lnTo>
                        <a:lnTo>
                          <a:pt x="111" y="128"/>
                        </a:lnTo>
                        <a:lnTo>
                          <a:pt x="113" y="128"/>
                        </a:lnTo>
                        <a:lnTo>
                          <a:pt x="114" y="126"/>
                        </a:lnTo>
                        <a:lnTo>
                          <a:pt x="116" y="125"/>
                        </a:lnTo>
                        <a:lnTo>
                          <a:pt x="116" y="121"/>
                        </a:lnTo>
                        <a:lnTo>
                          <a:pt x="118" y="119"/>
                        </a:lnTo>
                        <a:lnTo>
                          <a:pt x="121" y="116"/>
                        </a:lnTo>
                        <a:lnTo>
                          <a:pt x="123" y="114"/>
                        </a:lnTo>
                        <a:lnTo>
                          <a:pt x="126" y="114"/>
                        </a:lnTo>
                        <a:lnTo>
                          <a:pt x="129" y="113"/>
                        </a:lnTo>
                        <a:lnTo>
                          <a:pt x="133" y="113"/>
                        </a:lnTo>
                        <a:lnTo>
                          <a:pt x="131" y="111"/>
                        </a:lnTo>
                        <a:lnTo>
                          <a:pt x="133" y="109"/>
                        </a:lnTo>
                        <a:lnTo>
                          <a:pt x="133" y="108"/>
                        </a:lnTo>
                        <a:lnTo>
                          <a:pt x="135" y="104"/>
                        </a:lnTo>
                        <a:lnTo>
                          <a:pt x="136" y="103"/>
                        </a:lnTo>
                        <a:lnTo>
                          <a:pt x="138" y="101"/>
                        </a:lnTo>
                        <a:lnTo>
                          <a:pt x="140" y="99"/>
                        </a:lnTo>
                        <a:lnTo>
                          <a:pt x="141" y="98"/>
                        </a:lnTo>
                        <a:lnTo>
                          <a:pt x="145" y="94"/>
                        </a:lnTo>
                        <a:lnTo>
                          <a:pt x="146" y="92"/>
                        </a:lnTo>
                        <a:lnTo>
                          <a:pt x="146" y="91"/>
                        </a:lnTo>
                        <a:lnTo>
                          <a:pt x="143" y="89"/>
                        </a:lnTo>
                        <a:lnTo>
                          <a:pt x="141" y="89"/>
                        </a:lnTo>
                        <a:lnTo>
                          <a:pt x="141" y="87"/>
                        </a:lnTo>
                        <a:lnTo>
                          <a:pt x="140" y="86"/>
                        </a:lnTo>
                        <a:lnTo>
                          <a:pt x="140" y="84"/>
                        </a:lnTo>
                        <a:lnTo>
                          <a:pt x="138" y="82"/>
                        </a:lnTo>
                        <a:lnTo>
                          <a:pt x="138" y="81"/>
                        </a:lnTo>
                        <a:lnTo>
                          <a:pt x="140" y="79"/>
                        </a:lnTo>
                        <a:lnTo>
                          <a:pt x="140" y="76"/>
                        </a:lnTo>
                        <a:lnTo>
                          <a:pt x="143" y="72"/>
                        </a:lnTo>
                        <a:lnTo>
                          <a:pt x="146" y="71"/>
                        </a:lnTo>
                        <a:lnTo>
                          <a:pt x="148" y="66"/>
                        </a:lnTo>
                        <a:lnTo>
                          <a:pt x="150" y="62"/>
                        </a:lnTo>
                        <a:lnTo>
                          <a:pt x="153" y="59"/>
                        </a:lnTo>
                        <a:lnTo>
                          <a:pt x="156" y="57"/>
                        </a:lnTo>
                        <a:lnTo>
                          <a:pt x="156" y="55"/>
                        </a:lnTo>
                        <a:lnTo>
                          <a:pt x="160" y="50"/>
                        </a:lnTo>
                        <a:lnTo>
                          <a:pt x="165" y="49"/>
                        </a:lnTo>
                        <a:lnTo>
                          <a:pt x="172" y="47"/>
                        </a:lnTo>
                        <a:lnTo>
                          <a:pt x="177" y="45"/>
                        </a:lnTo>
                        <a:lnTo>
                          <a:pt x="180" y="42"/>
                        </a:lnTo>
                        <a:lnTo>
                          <a:pt x="187" y="40"/>
                        </a:lnTo>
                        <a:lnTo>
                          <a:pt x="192" y="37"/>
                        </a:lnTo>
                        <a:lnTo>
                          <a:pt x="194" y="33"/>
                        </a:lnTo>
                        <a:lnTo>
                          <a:pt x="194" y="32"/>
                        </a:lnTo>
                        <a:lnTo>
                          <a:pt x="192" y="28"/>
                        </a:lnTo>
                        <a:lnTo>
                          <a:pt x="195" y="27"/>
                        </a:lnTo>
                        <a:lnTo>
                          <a:pt x="194" y="27"/>
                        </a:lnTo>
                        <a:lnTo>
                          <a:pt x="194" y="25"/>
                        </a:lnTo>
                        <a:lnTo>
                          <a:pt x="192" y="25"/>
                        </a:lnTo>
                        <a:lnTo>
                          <a:pt x="190" y="25"/>
                        </a:lnTo>
                        <a:lnTo>
                          <a:pt x="187" y="25"/>
                        </a:lnTo>
                        <a:lnTo>
                          <a:pt x="183" y="25"/>
                        </a:lnTo>
                        <a:lnTo>
                          <a:pt x="178" y="25"/>
                        </a:lnTo>
                        <a:lnTo>
                          <a:pt x="175" y="25"/>
                        </a:lnTo>
                        <a:lnTo>
                          <a:pt x="172" y="25"/>
                        </a:lnTo>
                        <a:lnTo>
                          <a:pt x="170" y="23"/>
                        </a:lnTo>
                        <a:lnTo>
                          <a:pt x="168" y="25"/>
                        </a:lnTo>
                        <a:lnTo>
                          <a:pt x="167" y="25"/>
                        </a:lnTo>
                        <a:lnTo>
                          <a:pt x="167" y="23"/>
                        </a:lnTo>
                        <a:lnTo>
                          <a:pt x="163" y="22"/>
                        </a:lnTo>
                        <a:lnTo>
                          <a:pt x="162" y="20"/>
                        </a:lnTo>
                        <a:lnTo>
                          <a:pt x="160" y="18"/>
                        </a:lnTo>
                        <a:lnTo>
                          <a:pt x="158" y="18"/>
                        </a:lnTo>
                        <a:lnTo>
                          <a:pt x="155" y="18"/>
                        </a:lnTo>
                        <a:lnTo>
                          <a:pt x="151" y="20"/>
                        </a:lnTo>
                        <a:lnTo>
                          <a:pt x="150" y="20"/>
                        </a:lnTo>
                        <a:lnTo>
                          <a:pt x="146" y="20"/>
                        </a:lnTo>
                        <a:lnTo>
                          <a:pt x="141" y="18"/>
                        </a:lnTo>
                        <a:lnTo>
                          <a:pt x="136" y="18"/>
                        </a:lnTo>
                        <a:lnTo>
                          <a:pt x="133" y="17"/>
                        </a:lnTo>
                        <a:lnTo>
                          <a:pt x="131" y="15"/>
                        </a:lnTo>
                        <a:lnTo>
                          <a:pt x="128" y="13"/>
                        </a:lnTo>
                        <a:lnTo>
                          <a:pt x="124" y="13"/>
                        </a:lnTo>
                        <a:lnTo>
                          <a:pt x="123" y="12"/>
                        </a:lnTo>
                        <a:lnTo>
                          <a:pt x="119" y="10"/>
                        </a:lnTo>
                        <a:lnTo>
                          <a:pt x="118" y="8"/>
                        </a:lnTo>
                        <a:lnTo>
                          <a:pt x="116" y="8"/>
                        </a:lnTo>
                        <a:lnTo>
                          <a:pt x="116" y="6"/>
                        </a:lnTo>
                        <a:lnTo>
                          <a:pt x="113" y="6"/>
                        </a:lnTo>
                        <a:lnTo>
                          <a:pt x="108" y="6"/>
                        </a:lnTo>
                        <a:lnTo>
                          <a:pt x="104" y="6"/>
                        </a:lnTo>
                        <a:lnTo>
                          <a:pt x="97" y="6"/>
                        </a:lnTo>
                        <a:lnTo>
                          <a:pt x="96" y="6"/>
                        </a:lnTo>
                        <a:lnTo>
                          <a:pt x="89" y="5"/>
                        </a:lnTo>
                        <a:lnTo>
                          <a:pt x="86" y="5"/>
                        </a:lnTo>
                        <a:lnTo>
                          <a:pt x="82" y="5"/>
                        </a:lnTo>
                        <a:lnTo>
                          <a:pt x="77" y="6"/>
                        </a:lnTo>
                        <a:lnTo>
                          <a:pt x="72" y="5"/>
                        </a:lnTo>
                        <a:lnTo>
                          <a:pt x="65" y="5"/>
                        </a:lnTo>
                        <a:lnTo>
                          <a:pt x="62" y="3"/>
                        </a:lnTo>
                        <a:lnTo>
                          <a:pt x="59" y="3"/>
                        </a:lnTo>
                        <a:lnTo>
                          <a:pt x="54" y="1"/>
                        </a:lnTo>
                        <a:lnTo>
                          <a:pt x="50" y="1"/>
                        </a:lnTo>
                        <a:lnTo>
                          <a:pt x="47" y="3"/>
                        </a:lnTo>
                        <a:lnTo>
                          <a:pt x="42" y="3"/>
                        </a:lnTo>
                        <a:lnTo>
                          <a:pt x="35" y="3"/>
                        </a:lnTo>
                        <a:lnTo>
                          <a:pt x="30" y="1"/>
                        </a:lnTo>
                        <a:lnTo>
                          <a:pt x="27" y="0"/>
                        </a:lnTo>
                        <a:lnTo>
                          <a:pt x="23" y="0"/>
                        </a:lnTo>
                        <a:lnTo>
                          <a:pt x="20" y="0"/>
                        </a:lnTo>
                        <a:lnTo>
                          <a:pt x="17" y="1"/>
                        </a:lnTo>
                        <a:lnTo>
                          <a:pt x="15" y="3"/>
                        </a:lnTo>
                        <a:lnTo>
                          <a:pt x="15" y="5"/>
                        </a:lnTo>
                        <a:lnTo>
                          <a:pt x="13" y="8"/>
                        </a:lnTo>
                        <a:lnTo>
                          <a:pt x="8" y="8"/>
                        </a:lnTo>
                        <a:lnTo>
                          <a:pt x="5" y="8"/>
                        </a:lnTo>
                        <a:lnTo>
                          <a:pt x="1" y="10"/>
                        </a:lnTo>
                        <a:lnTo>
                          <a:pt x="0" y="13"/>
                        </a:lnTo>
                        <a:lnTo>
                          <a:pt x="1" y="17"/>
                        </a:lnTo>
                        <a:lnTo>
                          <a:pt x="5" y="17"/>
                        </a:lnTo>
                        <a:lnTo>
                          <a:pt x="3" y="20"/>
                        </a:lnTo>
                        <a:lnTo>
                          <a:pt x="5" y="20"/>
                        </a:lnTo>
                        <a:lnTo>
                          <a:pt x="6" y="20"/>
                        </a:lnTo>
                        <a:lnTo>
                          <a:pt x="5" y="23"/>
                        </a:lnTo>
                        <a:lnTo>
                          <a:pt x="8" y="25"/>
                        </a:lnTo>
                        <a:lnTo>
                          <a:pt x="6" y="27"/>
                        </a:lnTo>
                        <a:lnTo>
                          <a:pt x="10" y="27"/>
                        </a:lnTo>
                        <a:lnTo>
                          <a:pt x="6" y="28"/>
                        </a:lnTo>
                        <a:lnTo>
                          <a:pt x="6" y="32"/>
                        </a:lnTo>
                        <a:lnTo>
                          <a:pt x="6" y="35"/>
                        </a:lnTo>
                        <a:lnTo>
                          <a:pt x="10" y="3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69" name="Freeform 143">
                    <a:extLst>
                      <a:ext uri="{FF2B5EF4-FFF2-40B4-BE49-F238E27FC236}">
                        <a16:creationId xmlns:a16="http://schemas.microsoft.com/office/drawing/2014/main" id="{FF597C3E-0F54-1C4A-963B-11C1F531F72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" y="627"/>
                    <a:ext cx="195" cy="140"/>
                  </a:xfrm>
                  <a:custGeom>
                    <a:avLst/>
                    <a:gdLst>
                      <a:gd name="T0" fmla="*/ 18 w 195"/>
                      <a:gd name="T1" fmla="*/ 32 h 140"/>
                      <a:gd name="T2" fmla="*/ 27 w 195"/>
                      <a:gd name="T3" fmla="*/ 35 h 140"/>
                      <a:gd name="T4" fmla="*/ 44 w 195"/>
                      <a:gd name="T5" fmla="*/ 35 h 140"/>
                      <a:gd name="T6" fmla="*/ 45 w 195"/>
                      <a:gd name="T7" fmla="*/ 45 h 140"/>
                      <a:gd name="T8" fmla="*/ 38 w 195"/>
                      <a:gd name="T9" fmla="*/ 57 h 140"/>
                      <a:gd name="T10" fmla="*/ 38 w 195"/>
                      <a:gd name="T11" fmla="*/ 69 h 140"/>
                      <a:gd name="T12" fmla="*/ 30 w 195"/>
                      <a:gd name="T13" fmla="*/ 77 h 140"/>
                      <a:gd name="T14" fmla="*/ 35 w 195"/>
                      <a:gd name="T15" fmla="*/ 87 h 140"/>
                      <a:gd name="T16" fmla="*/ 32 w 195"/>
                      <a:gd name="T17" fmla="*/ 99 h 140"/>
                      <a:gd name="T18" fmla="*/ 30 w 195"/>
                      <a:gd name="T19" fmla="*/ 109 h 140"/>
                      <a:gd name="T20" fmla="*/ 28 w 195"/>
                      <a:gd name="T21" fmla="*/ 119 h 140"/>
                      <a:gd name="T22" fmla="*/ 38 w 195"/>
                      <a:gd name="T23" fmla="*/ 121 h 140"/>
                      <a:gd name="T24" fmla="*/ 45 w 195"/>
                      <a:gd name="T25" fmla="*/ 130 h 140"/>
                      <a:gd name="T26" fmla="*/ 50 w 195"/>
                      <a:gd name="T27" fmla="*/ 138 h 140"/>
                      <a:gd name="T28" fmla="*/ 60 w 195"/>
                      <a:gd name="T29" fmla="*/ 140 h 140"/>
                      <a:gd name="T30" fmla="*/ 65 w 195"/>
                      <a:gd name="T31" fmla="*/ 135 h 140"/>
                      <a:gd name="T32" fmla="*/ 79 w 195"/>
                      <a:gd name="T33" fmla="*/ 130 h 140"/>
                      <a:gd name="T34" fmla="*/ 94 w 195"/>
                      <a:gd name="T35" fmla="*/ 128 h 140"/>
                      <a:gd name="T36" fmla="*/ 111 w 195"/>
                      <a:gd name="T37" fmla="*/ 128 h 140"/>
                      <a:gd name="T38" fmla="*/ 116 w 195"/>
                      <a:gd name="T39" fmla="*/ 121 h 140"/>
                      <a:gd name="T40" fmla="*/ 126 w 195"/>
                      <a:gd name="T41" fmla="*/ 114 h 140"/>
                      <a:gd name="T42" fmla="*/ 133 w 195"/>
                      <a:gd name="T43" fmla="*/ 109 h 140"/>
                      <a:gd name="T44" fmla="*/ 138 w 195"/>
                      <a:gd name="T45" fmla="*/ 101 h 140"/>
                      <a:gd name="T46" fmla="*/ 146 w 195"/>
                      <a:gd name="T47" fmla="*/ 92 h 140"/>
                      <a:gd name="T48" fmla="*/ 141 w 195"/>
                      <a:gd name="T49" fmla="*/ 87 h 140"/>
                      <a:gd name="T50" fmla="*/ 138 w 195"/>
                      <a:gd name="T51" fmla="*/ 81 h 140"/>
                      <a:gd name="T52" fmla="*/ 146 w 195"/>
                      <a:gd name="T53" fmla="*/ 71 h 140"/>
                      <a:gd name="T54" fmla="*/ 156 w 195"/>
                      <a:gd name="T55" fmla="*/ 57 h 140"/>
                      <a:gd name="T56" fmla="*/ 172 w 195"/>
                      <a:gd name="T57" fmla="*/ 47 h 140"/>
                      <a:gd name="T58" fmla="*/ 192 w 195"/>
                      <a:gd name="T59" fmla="*/ 37 h 140"/>
                      <a:gd name="T60" fmla="*/ 195 w 195"/>
                      <a:gd name="T61" fmla="*/ 27 h 140"/>
                      <a:gd name="T62" fmla="*/ 190 w 195"/>
                      <a:gd name="T63" fmla="*/ 25 h 140"/>
                      <a:gd name="T64" fmla="*/ 175 w 195"/>
                      <a:gd name="T65" fmla="*/ 25 h 140"/>
                      <a:gd name="T66" fmla="*/ 167 w 195"/>
                      <a:gd name="T67" fmla="*/ 25 h 140"/>
                      <a:gd name="T68" fmla="*/ 160 w 195"/>
                      <a:gd name="T69" fmla="*/ 18 h 140"/>
                      <a:gd name="T70" fmla="*/ 150 w 195"/>
                      <a:gd name="T71" fmla="*/ 20 h 140"/>
                      <a:gd name="T72" fmla="*/ 133 w 195"/>
                      <a:gd name="T73" fmla="*/ 17 h 140"/>
                      <a:gd name="T74" fmla="*/ 123 w 195"/>
                      <a:gd name="T75" fmla="*/ 12 h 140"/>
                      <a:gd name="T76" fmla="*/ 116 w 195"/>
                      <a:gd name="T77" fmla="*/ 6 h 140"/>
                      <a:gd name="T78" fmla="*/ 97 w 195"/>
                      <a:gd name="T79" fmla="*/ 6 h 140"/>
                      <a:gd name="T80" fmla="*/ 82 w 195"/>
                      <a:gd name="T81" fmla="*/ 5 h 140"/>
                      <a:gd name="T82" fmla="*/ 62 w 195"/>
                      <a:gd name="T83" fmla="*/ 3 h 140"/>
                      <a:gd name="T84" fmla="*/ 47 w 195"/>
                      <a:gd name="T85" fmla="*/ 3 h 140"/>
                      <a:gd name="T86" fmla="*/ 27 w 195"/>
                      <a:gd name="T87" fmla="*/ 0 h 140"/>
                      <a:gd name="T88" fmla="*/ 15 w 195"/>
                      <a:gd name="T89" fmla="*/ 3 h 140"/>
                      <a:gd name="T90" fmla="*/ 5 w 195"/>
                      <a:gd name="T91" fmla="*/ 8 h 140"/>
                      <a:gd name="T92" fmla="*/ 5 w 195"/>
                      <a:gd name="T93" fmla="*/ 17 h 140"/>
                      <a:gd name="T94" fmla="*/ 5 w 195"/>
                      <a:gd name="T95" fmla="*/ 23 h 140"/>
                      <a:gd name="T96" fmla="*/ 6 w 195"/>
                      <a:gd name="T97" fmla="*/ 28 h 1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195" h="140">
                        <a:moveTo>
                          <a:pt x="10" y="33"/>
                        </a:moveTo>
                        <a:lnTo>
                          <a:pt x="13" y="32"/>
                        </a:lnTo>
                        <a:lnTo>
                          <a:pt x="18" y="30"/>
                        </a:lnTo>
                        <a:lnTo>
                          <a:pt x="18" y="32"/>
                        </a:lnTo>
                        <a:lnTo>
                          <a:pt x="18" y="33"/>
                        </a:lnTo>
                        <a:lnTo>
                          <a:pt x="20" y="35"/>
                        </a:lnTo>
                        <a:lnTo>
                          <a:pt x="23" y="35"/>
                        </a:lnTo>
                        <a:lnTo>
                          <a:pt x="27" y="35"/>
                        </a:lnTo>
                        <a:lnTo>
                          <a:pt x="30" y="35"/>
                        </a:lnTo>
                        <a:lnTo>
                          <a:pt x="33" y="33"/>
                        </a:lnTo>
                        <a:lnTo>
                          <a:pt x="38" y="33"/>
                        </a:lnTo>
                        <a:lnTo>
                          <a:pt x="44" y="35"/>
                        </a:lnTo>
                        <a:lnTo>
                          <a:pt x="45" y="37"/>
                        </a:lnTo>
                        <a:lnTo>
                          <a:pt x="47" y="40"/>
                        </a:lnTo>
                        <a:lnTo>
                          <a:pt x="47" y="42"/>
                        </a:lnTo>
                        <a:lnTo>
                          <a:pt x="45" y="45"/>
                        </a:lnTo>
                        <a:lnTo>
                          <a:pt x="42" y="49"/>
                        </a:lnTo>
                        <a:lnTo>
                          <a:pt x="38" y="50"/>
                        </a:lnTo>
                        <a:lnTo>
                          <a:pt x="38" y="54"/>
                        </a:lnTo>
                        <a:lnTo>
                          <a:pt x="38" y="57"/>
                        </a:lnTo>
                        <a:lnTo>
                          <a:pt x="38" y="60"/>
                        </a:lnTo>
                        <a:lnTo>
                          <a:pt x="37" y="64"/>
                        </a:lnTo>
                        <a:lnTo>
                          <a:pt x="37" y="66"/>
                        </a:lnTo>
                        <a:lnTo>
                          <a:pt x="38" y="69"/>
                        </a:lnTo>
                        <a:lnTo>
                          <a:pt x="38" y="71"/>
                        </a:lnTo>
                        <a:lnTo>
                          <a:pt x="35" y="74"/>
                        </a:lnTo>
                        <a:lnTo>
                          <a:pt x="32" y="76"/>
                        </a:lnTo>
                        <a:lnTo>
                          <a:pt x="30" y="77"/>
                        </a:lnTo>
                        <a:lnTo>
                          <a:pt x="30" y="81"/>
                        </a:lnTo>
                        <a:lnTo>
                          <a:pt x="32" y="84"/>
                        </a:lnTo>
                        <a:lnTo>
                          <a:pt x="33" y="86"/>
                        </a:lnTo>
                        <a:lnTo>
                          <a:pt x="35" y="87"/>
                        </a:lnTo>
                        <a:lnTo>
                          <a:pt x="33" y="89"/>
                        </a:lnTo>
                        <a:lnTo>
                          <a:pt x="32" y="92"/>
                        </a:lnTo>
                        <a:lnTo>
                          <a:pt x="32" y="96"/>
                        </a:lnTo>
                        <a:lnTo>
                          <a:pt x="32" y="99"/>
                        </a:lnTo>
                        <a:lnTo>
                          <a:pt x="35" y="103"/>
                        </a:lnTo>
                        <a:lnTo>
                          <a:pt x="35" y="104"/>
                        </a:lnTo>
                        <a:lnTo>
                          <a:pt x="33" y="108"/>
                        </a:lnTo>
                        <a:lnTo>
                          <a:pt x="30" y="109"/>
                        </a:lnTo>
                        <a:lnTo>
                          <a:pt x="28" y="113"/>
                        </a:lnTo>
                        <a:lnTo>
                          <a:pt x="28" y="116"/>
                        </a:lnTo>
                        <a:lnTo>
                          <a:pt x="28" y="118"/>
                        </a:lnTo>
                        <a:lnTo>
                          <a:pt x="28" y="119"/>
                        </a:lnTo>
                        <a:lnTo>
                          <a:pt x="33" y="119"/>
                        </a:lnTo>
                        <a:lnTo>
                          <a:pt x="35" y="119"/>
                        </a:lnTo>
                        <a:lnTo>
                          <a:pt x="37" y="119"/>
                        </a:lnTo>
                        <a:lnTo>
                          <a:pt x="38" y="121"/>
                        </a:lnTo>
                        <a:lnTo>
                          <a:pt x="42" y="123"/>
                        </a:lnTo>
                        <a:lnTo>
                          <a:pt x="44" y="125"/>
                        </a:lnTo>
                        <a:lnTo>
                          <a:pt x="45" y="126"/>
                        </a:lnTo>
                        <a:lnTo>
                          <a:pt x="45" y="130"/>
                        </a:lnTo>
                        <a:lnTo>
                          <a:pt x="47" y="131"/>
                        </a:lnTo>
                        <a:lnTo>
                          <a:pt x="47" y="133"/>
                        </a:lnTo>
                        <a:lnTo>
                          <a:pt x="49" y="135"/>
                        </a:lnTo>
                        <a:lnTo>
                          <a:pt x="50" y="138"/>
                        </a:lnTo>
                        <a:lnTo>
                          <a:pt x="54" y="140"/>
                        </a:lnTo>
                        <a:lnTo>
                          <a:pt x="57" y="140"/>
                        </a:lnTo>
                        <a:lnTo>
                          <a:pt x="59" y="140"/>
                        </a:lnTo>
                        <a:lnTo>
                          <a:pt x="60" y="140"/>
                        </a:lnTo>
                        <a:lnTo>
                          <a:pt x="62" y="140"/>
                        </a:lnTo>
                        <a:lnTo>
                          <a:pt x="62" y="138"/>
                        </a:lnTo>
                        <a:lnTo>
                          <a:pt x="64" y="136"/>
                        </a:lnTo>
                        <a:lnTo>
                          <a:pt x="65" y="135"/>
                        </a:lnTo>
                        <a:lnTo>
                          <a:pt x="69" y="133"/>
                        </a:lnTo>
                        <a:lnTo>
                          <a:pt x="72" y="133"/>
                        </a:lnTo>
                        <a:lnTo>
                          <a:pt x="76" y="130"/>
                        </a:lnTo>
                        <a:lnTo>
                          <a:pt x="79" y="130"/>
                        </a:lnTo>
                        <a:lnTo>
                          <a:pt x="81" y="128"/>
                        </a:lnTo>
                        <a:lnTo>
                          <a:pt x="86" y="128"/>
                        </a:lnTo>
                        <a:lnTo>
                          <a:pt x="91" y="128"/>
                        </a:lnTo>
                        <a:lnTo>
                          <a:pt x="94" y="128"/>
                        </a:lnTo>
                        <a:lnTo>
                          <a:pt x="99" y="130"/>
                        </a:lnTo>
                        <a:lnTo>
                          <a:pt x="103" y="130"/>
                        </a:lnTo>
                        <a:lnTo>
                          <a:pt x="108" y="128"/>
                        </a:lnTo>
                        <a:lnTo>
                          <a:pt x="111" y="128"/>
                        </a:lnTo>
                        <a:lnTo>
                          <a:pt x="113" y="128"/>
                        </a:lnTo>
                        <a:lnTo>
                          <a:pt x="114" y="126"/>
                        </a:lnTo>
                        <a:lnTo>
                          <a:pt x="116" y="125"/>
                        </a:lnTo>
                        <a:lnTo>
                          <a:pt x="116" y="121"/>
                        </a:lnTo>
                        <a:lnTo>
                          <a:pt x="118" y="119"/>
                        </a:lnTo>
                        <a:lnTo>
                          <a:pt x="121" y="116"/>
                        </a:lnTo>
                        <a:lnTo>
                          <a:pt x="123" y="114"/>
                        </a:lnTo>
                        <a:lnTo>
                          <a:pt x="126" y="114"/>
                        </a:lnTo>
                        <a:lnTo>
                          <a:pt x="129" y="113"/>
                        </a:lnTo>
                        <a:lnTo>
                          <a:pt x="133" y="113"/>
                        </a:lnTo>
                        <a:lnTo>
                          <a:pt x="131" y="111"/>
                        </a:lnTo>
                        <a:lnTo>
                          <a:pt x="133" y="109"/>
                        </a:lnTo>
                        <a:lnTo>
                          <a:pt x="133" y="108"/>
                        </a:lnTo>
                        <a:lnTo>
                          <a:pt x="135" y="104"/>
                        </a:lnTo>
                        <a:lnTo>
                          <a:pt x="136" y="103"/>
                        </a:lnTo>
                        <a:lnTo>
                          <a:pt x="138" y="101"/>
                        </a:lnTo>
                        <a:lnTo>
                          <a:pt x="140" y="99"/>
                        </a:lnTo>
                        <a:lnTo>
                          <a:pt x="141" y="98"/>
                        </a:lnTo>
                        <a:lnTo>
                          <a:pt x="145" y="94"/>
                        </a:lnTo>
                        <a:lnTo>
                          <a:pt x="146" y="92"/>
                        </a:lnTo>
                        <a:lnTo>
                          <a:pt x="146" y="91"/>
                        </a:lnTo>
                        <a:lnTo>
                          <a:pt x="143" y="89"/>
                        </a:lnTo>
                        <a:lnTo>
                          <a:pt x="141" y="89"/>
                        </a:lnTo>
                        <a:lnTo>
                          <a:pt x="141" y="87"/>
                        </a:lnTo>
                        <a:lnTo>
                          <a:pt x="140" y="86"/>
                        </a:lnTo>
                        <a:lnTo>
                          <a:pt x="140" y="84"/>
                        </a:lnTo>
                        <a:lnTo>
                          <a:pt x="138" y="82"/>
                        </a:lnTo>
                        <a:lnTo>
                          <a:pt x="138" y="81"/>
                        </a:lnTo>
                        <a:lnTo>
                          <a:pt x="140" y="79"/>
                        </a:lnTo>
                        <a:lnTo>
                          <a:pt x="140" y="76"/>
                        </a:lnTo>
                        <a:lnTo>
                          <a:pt x="143" y="72"/>
                        </a:lnTo>
                        <a:lnTo>
                          <a:pt x="146" y="71"/>
                        </a:lnTo>
                        <a:lnTo>
                          <a:pt x="148" y="66"/>
                        </a:lnTo>
                        <a:lnTo>
                          <a:pt x="150" y="62"/>
                        </a:lnTo>
                        <a:lnTo>
                          <a:pt x="153" y="59"/>
                        </a:lnTo>
                        <a:lnTo>
                          <a:pt x="156" y="57"/>
                        </a:lnTo>
                        <a:lnTo>
                          <a:pt x="156" y="55"/>
                        </a:lnTo>
                        <a:lnTo>
                          <a:pt x="160" y="50"/>
                        </a:lnTo>
                        <a:lnTo>
                          <a:pt x="165" y="49"/>
                        </a:lnTo>
                        <a:lnTo>
                          <a:pt x="172" y="47"/>
                        </a:lnTo>
                        <a:lnTo>
                          <a:pt x="177" y="45"/>
                        </a:lnTo>
                        <a:lnTo>
                          <a:pt x="180" y="42"/>
                        </a:lnTo>
                        <a:lnTo>
                          <a:pt x="187" y="40"/>
                        </a:lnTo>
                        <a:lnTo>
                          <a:pt x="192" y="37"/>
                        </a:lnTo>
                        <a:lnTo>
                          <a:pt x="194" y="33"/>
                        </a:lnTo>
                        <a:lnTo>
                          <a:pt x="194" y="32"/>
                        </a:lnTo>
                        <a:lnTo>
                          <a:pt x="192" y="28"/>
                        </a:lnTo>
                        <a:lnTo>
                          <a:pt x="195" y="27"/>
                        </a:lnTo>
                        <a:lnTo>
                          <a:pt x="194" y="27"/>
                        </a:lnTo>
                        <a:lnTo>
                          <a:pt x="194" y="25"/>
                        </a:lnTo>
                        <a:lnTo>
                          <a:pt x="192" y="25"/>
                        </a:lnTo>
                        <a:lnTo>
                          <a:pt x="190" y="25"/>
                        </a:lnTo>
                        <a:lnTo>
                          <a:pt x="187" y="25"/>
                        </a:lnTo>
                        <a:lnTo>
                          <a:pt x="183" y="25"/>
                        </a:lnTo>
                        <a:lnTo>
                          <a:pt x="178" y="25"/>
                        </a:lnTo>
                        <a:lnTo>
                          <a:pt x="175" y="25"/>
                        </a:lnTo>
                        <a:lnTo>
                          <a:pt x="172" y="25"/>
                        </a:lnTo>
                        <a:lnTo>
                          <a:pt x="170" y="23"/>
                        </a:lnTo>
                        <a:lnTo>
                          <a:pt x="168" y="25"/>
                        </a:lnTo>
                        <a:lnTo>
                          <a:pt x="167" y="25"/>
                        </a:lnTo>
                        <a:lnTo>
                          <a:pt x="167" y="23"/>
                        </a:lnTo>
                        <a:lnTo>
                          <a:pt x="163" y="22"/>
                        </a:lnTo>
                        <a:lnTo>
                          <a:pt x="162" y="20"/>
                        </a:lnTo>
                        <a:lnTo>
                          <a:pt x="160" y="18"/>
                        </a:lnTo>
                        <a:lnTo>
                          <a:pt x="158" y="18"/>
                        </a:lnTo>
                        <a:lnTo>
                          <a:pt x="155" y="18"/>
                        </a:lnTo>
                        <a:lnTo>
                          <a:pt x="151" y="20"/>
                        </a:lnTo>
                        <a:lnTo>
                          <a:pt x="150" y="20"/>
                        </a:lnTo>
                        <a:lnTo>
                          <a:pt x="146" y="20"/>
                        </a:lnTo>
                        <a:lnTo>
                          <a:pt x="141" y="18"/>
                        </a:lnTo>
                        <a:lnTo>
                          <a:pt x="136" y="18"/>
                        </a:lnTo>
                        <a:lnTo>
                          <a:pt x="133" y="17"/>
                        </a:lnTo>
                        <a:lnTo>
                          <a:pt x="131" y="15"/>
                        </a:lnTo>
                        <a:lnTo>
                          <a:pt x="128" y="13"/>
                        </a:lnTo>
                        <a:lnTo>
                          <a:pt x="124" y="13"/>
                        </a:lnTo>
                        <a:lnTo>
                          <a:pt x="123" y="12"/>
                        </a:lnTo>
                        <a:lnTo>
                          <a:pt x="119" y="10"/>
                        </a:lnTo>
                        <a:lnTo>
                          <a:pt x="118" y="8"/>
                        </a:lnTo>
                        <a:lnTo>
                          <a:pt x="116" y="8"/>
                        </a:lnTo>
                        <a:lnTo>
                          <a:pt x="116" y="6"/>
                        </a:lnTo>
                        <a:lnTo>
                          <a:pt x="113" y="6"/>
                        </a:lnTo>
                        <a:lnTo>
                          <a:pt x="108" y="6"/>
                        </a:lnTo>
                        <a:lnTo>
                          <a:pt x="104" y="6"/>
                        </a:lnTo>
                        <a:lnTo>
                          <a:pt x="97" y="6"/>
                        </a:lnTo>
                        <a:lnTo>
                          <a:pt x="96" y="6"/>
                        </a:lnTo>
                        <a:lnTo>
                          <a:pt x="89" y="5"/>
                        </a:lnTo>
                        <a:lnTo>
                          <a:pt x="86" y="5"/>
                        </a:lnTo>
                        <a:lnTo>
                          <a:pt x="82" y="5"/>
                        </a:lnTo>
                        <a:lnTo>
                          <a:pt x="77" y="6"/>
                        </a:lnTo>
                        <a:lnTo>
                          <a:pt x="72" y="5"/>
                        </a:lnTo>
                        <a:lnTo>
                          <a:pt x="65" y="5"/>
                        </a:lnTo>
                        <a:lnTo>
                          <a:pt x="62" y="3"/>
                        </a:lnTo>
                        <a:lnTo>
                          <a:pt x="59" y="3"/>
                        </a:lnTo>
                        <a:lnTo>
                          <a:pt x="54" y="1"/>
                        </a:lnTo>
                        <a:lnTo>
                          <a:pt x="50" y="1"/>
                        </a:lnTo>
                        <a:lnTo>
                          <a:pt x="47" y="3"/>
                        </a:lnTo>
                        <a:lnTo>
                          <a:pt x="42" y="3"/>
                        </a:lnTo>
                        <a:lnTo>
                          <a:pt x="35" y="3"/>
                        </a:lnTo>
                        <a:lnTo>
                          <a:pt x="30" y="1"/>
                        </a:lnTo>
                        <a:lnTo>
                          <a:pt x="27" y="0"/>
                        </a:lnTo>
                        <a:lnTo>
                          <a:pt x="23" y="0"/>
                        </a:lnTo>
                        <a:lnTo>
                          <a:pt x="20" y="0"/>
                        </a:lnTo>
                        <a:lnTo>
                          <a:pt x="17" y="1"/>
                        </a:lnTo>
                        <a:lnTo>
                          <a:pt x="15" y="3"/>
                        </a:lnTo>
                        <a:lnTo>
                          <a:pt x="15" y="5"/>
                        </a:lnTo>
                        <a:lnTo>
                          <a:pt x="13" y="8"/>
                        </a:lnTo>
                        <a:lnTo>
                          <a:pt x="8" y="8"/>
                        </a:lnTo>
                        <a:lnTo>
                          <a:pt x="5" y="8"/>
                        </a:lnTo>
                        <a:lnTo>
                          <a:pt x="1" y="10"/>
                        </a:lnTo>
                        <a:lnTo>
                          <a:pt x="0" y="13"/>
                        </a:lnTo>
                        <a:lnTo>
                          <a:pt x="1" y="17"/>
                        </a:lnTo>
                        <a:lnTo>
                          <a:pt x="5" y="17"/>
                        </a:lnTo>
                        <a:lnTo>
                          <a:pt x="3" y="20"/>
                        </a:lnTo>
                        <a:lnTo>
                          <a:pt x="5" y="20"/>
                        </a:lnTo>
                        <a:lnTo>
                          <a:pt x="6" y="20"/>
                        </a:lnTo>
                        <a:lnTo>
                          <a:pt x="5" y="23"/>
                        </a:lnTo>
                        <a:lnTo>
                          <a:pt x="8" y="25"/>
                        </a:lnTo>
                        <a:lnTo>
                          <a:pt x="6" y="27"/>
                        </a:lnTo>
                        <a:lnTo>
                          <a:pt x="10" y="27"/>
                        </a:lnTo>
                        <a:lnTo>
                          <a:pt x="6" y="28"/>
                        </a:lnTo>
                        <a:lnTo>
                          <a:pt x="6" y="32"/>
                        </a:lnTo>
                        <a:lnTo>
                          <a:pt x="6" y="35"/>
                        </a:lnTo>
                        <a:lnTo>
                          <a:pt x="10" y="33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59" name="Group 1758">
                  <a:extLst>
                    <a:ext uri="{FF2B5EF4-FFF2-40B4-BE49-F238E27FC236}">
                      <a16:creationId xmlns:a16="http://schemas.microsoft.com/office/drawing/2014/main" id="{913E8BB1-4249-C746-9229-947B69F1649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82" y="713"/>
                  <a:ext cx="5" cy="5"/>
                  <a:chOff x="182" y="713"/>
                  <a:chExt cx="5" cy="5"/>
                </a:xfrm>
              </p:grpSpPr>
              <p:sp>
                <p:nvSpPr>
                  <p:cNvPr id="1766" name="Freeform 140">
                    <a:extLst>
                      <a:ext uri="{FF2B5EF4-FFF2-40B4-BE49-F238E27FC236}">
                        <a16:creationId xmlns:a16="http://schemas.microsoft.com/office/drawing/2014/main" id="{64ADE24F-CAEE-6B4E-B313-5EC35E372C0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2" y="713"/>
                    <a:ext cx="5" cy="5"/>
                  </a:xfrm>
                  <a:custGeom>
                    <a:avLst/>
                    <a:gdLst>
                      <a:gd name="T0" fmla="*/ 2 w 5"/>
                      <a:gd name="T1" fmla="*/ 1 h 5"/>
                      <a:gd name="T2" fmla="*/ 0 w 5"/>
                      <a:gd name="T3" fmla="*/ 3 h 5"/>
                      <a:gd name="T4" fmla="*/ 2 w 5"/>
                      <a:gd name="T5" fmla="*/ 5 h 5"/>
                      <a:gd name="T6" fmla="*/ 4 w 5"/>
                      <a:gd name="T7" fmla="*/ 3 h 5"/>
                      <a:gd name="T8" fmla="*/ 5 w 5"/>
                      <a:gd name="T9" fmla="*/ 1 h 5"/>
                      <a:gd name="T10" fmla="*/ 4 w 5"/>
                      <a:gd name="T11" fmla="*/ 0 h 5"/>
                      <a:gd name="T12" fmla="*/ 2 w 5"/>
                      <a:gd name="T13" fmla="*/ 1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" h="5">
                        <a:moveTo>
                          <a:pt x="2" y="1"/>
                        </a:moveTo>
                        <a:lnTo>
                          <a:pt x="0" y="3"/>
                        </a:lnTo>
                        <a:lnTo>
                          <a:pt x="2" y="5"/>
                        </a:lnTo>
                        <a:lnTo>
                          <a:pt x="4" y="3"/>
                        </a:lnTo>
                        <a:lnTo>
                          <a:pt x="5" y="1"/>
                        </a:lnTo>
                        <a:lnTo>
                          <a:pt x="4" y="0"/>
                        </a:lnTo>
                        <a:lnTo>
                          <a:pt x="2" y="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67" name="Freeform 141">
                    <a:extLst>
                      <a:ext uri="{FF2B5EF4-FFF2-40B4-BE49-F238E27FC236}">
                        <a16:creationId xmlns:a16="http://schemas.microsoft.com/office/drawing/2014/main" id="{2032C58C-D8CA-364E-BAFD-243955904A9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2" y="713"/>
                    <a:ext cx="5" cy="5"/>
                  </a:xfrm>
                  <a:custGeom>
                    <a:avLst/>
                    <a:gdLst>
                      <a:gd name="T0" fmla="*/ 2 w 5"/>
                      <a:gd name="T1" fmla="*/ 1 h 5"/>
                      <a:gd name="T2" fmla="*/ 0 w 5"/>
                      <a:gd name="T3" fmla="*/ 3 h 5"/>
                      <a:gd name="T4" fmla="*/ 2 w 5"/>
                      <a:gd name="T5" fmla="*/ 5 h 5"/>
                      <a:gd name="T6" fmla="*/ 4 w 5"/>
                      <a:gd name="T7" fmla="*/ 3 h 5"/>
                      <a:gd name="T8" fmla="*/ 5 w 5"/>
                      <a:gd name="T9" fmla="*/ 1 h 5"/>
                      <a:gd name="T10" fmla="*/ 4 w 5"/>
                      <a:gd name="T11" fmla="*/ 0 h 5"/>
                      <a:gd name="T12" fmla="*/ 2 w 5"/>
                      <a:gd name="T13" fmla="*/ 1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" h="5">
                        <a:moveTo>
                          <a:pt x="2" y="1"/>
                        </a:moveTo>
                        <a:lnTo>
                          <a:pt x="0" y="3"/>
                        </a:lnTo>
                        <a:lnTo>
                          <a:pt x="2" y="5"/>
                        </a:lnTo>
                        <a:lnTo>
                          <a:pt x="4" y="3"/>
                        </a:lnTo>
                        <a:lnTo>
                          <a:pt x="5" y="1"/>
                        </a:lnTo>
                        <a:lnTo>
                          <a:pt x="4" y="0"/>
                        </a:lnTo>
                        <a:lnTo>
                          <a:pt x="2" y="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60" name="Group 1759">
                  <a:extLst>
                    <a:ext uri="{FF2B5EF4-FFF2-40B4-BE49-F238E27FC236}">
                      <a16:creationId xmlns:a16="http://schemas.microsoft.com/office/drawing/2014/main" id="{36BF3216-5FDB-5E49-AFCC-D20035E9140B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01" y="698"/>
                  <a:ext cx="15" cy="11"/>
                  <a:chOff x="201" y="698"/>
                  <a:chExt cx="15" cy="11"/>
                </a:xfrm>
              </p:grpSpPr>
              <p:sp>
                <p:nvSpPr>
                  <p:cNvPr id="1764" name="Freeform 138">
                    <a:extLst>
                      <a:ext uri="{FF2B5EF4-FFF2-40B4-BE49-F238E27FC236}">
                        <a16:creationId xmlns:a16="http://schemas.microsoft.com/office/drawing/2014/main" id="{C7C73996-BB6C-BA42-93DF-6D8AD2C5536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01" y="698"/>
                    <a:ext cx="15" cy="11"/>
                  </a:xfrm>
                  <a:custGeom>
                    <a:avLst/>
                    <a:gdLst>
                      <a:gd name="T0" fmla="*/ 12 w 15"/>
                      <a:gd name="T1" fmla="*/ 0 h 11"/>
                      <a:gd name="T2" fmla="*/ 10 w 15"/>
                      <a:gd name="T3" fmla="*/ 0 h 11"/>
                      <a:gd name="T4" fmla="*/ 7 w 15"/>
                      <a:gd name="T5" fmla="*/ 1 h 11"/>
                      <a:gd name="T6" fmla="*/ 1 w 15"/>
                      <a:gd name="T7" fmla="*/ 3 h 11"/>
                      <a:gd name="T8" fmla="*/ 0 w 15"/>
                      <a:gd name="T9" fmla="*/ 6 h 11"/>
                      <a:gd name="T10" fmla="*/ 1 w 15"/>
                      <a:gd name="T11" fmla="*/ 8 h 11"/>
                      <a:gd name="T12" fmla="*/ 1 w 15"/>
                      <a:gd name="T13" fmla="*/ 6 h 11"/>
                      <a:gd name="T14" fmla="*/ 5 w 15"/>
                      <a:gd name="T15" fmla="*/ 6 h 11"/>
                      <a:gd name="T16" fmla="*/ 5 w 15"/>
                      <a:gd name="T17" fmla="*/ 10 h 11"/>
                      <a:gd name="T18" fmla="*/ 8 w 15"/>
                      <a:gd name="T19" fmla="*/ 10 h 11"/>
                      <a:gd name="T20" fmla="*/ 10 w 15"/>
                      <a:gd name="T21" fmla="*/ 11 h 11"/>
                      <a:gd name="T22" fmla="*/ 13 w 15"/>
                      <a:gd name="T23" fmla="*/ 8 h 11"/>
                      <a:gd name="T24" fmla="*/ 15 w 15"/>
                      <a:gd name="T25" fmla="*/ 5 h 11"/>
                      <a:gd name="T26" fmla="*/ 13 w 15"/>
                      <a:gd name="T27" fmla="*/ 3 h 11"/>
                      <a:gd name="T28" fmla="*/ 12 w 15"/>
                      <a:gd name="T29" fmla="*/ 3 h 11"/>
                      <a:gd name="T30" fmla="*/ 10 w 15"/>
                      <a:gd name="T31" fmla="*/ 1 h 11"/>
                      <a:gd name="T32" fmla="*/ 12 w 15"/>
                      <a:gd name="T33" fmla="*/ 0 h 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15" h="11">
                        <a:moveTo>
                          <a:pt x="12" y="0"/>
                        </a:moveTo>
                        <a:lnTo>
                          <a:pt x="10" y="0"/>
                        </a:lnTo>
                        <a:lnTo>
                          <a:pt x="7" y="1"/>
                        </a:lnTo>
                        <a:lnTo>
                          <a:pt x="1" y="3"/>
                        </a:lnTo>
                        <a:lnTo>
                          <a:pt x="0" y="6"/>
                        </a:lnTo>
                        <a:lnTo>
                          <a:pt x="1" y="8"/>
                        </a:lnTo>
                        <a:lnTo>
                          <a:pt x="1" y="6"/>
                        </a:lnTo>
                        <a:lnTo>
                          <a:pt x="5" y="6"/>
                        </a:lnTo>
                        <a:lnTo>
                          <a:pt x="5" y="10"/>
                        </a:lnTo>
                        <a:lnTo>
                          <a:pt x="8" y="10"/>
                        </a:lnTo>
                        <a:lnTo>
                          <a:pt x="10" y="11"/>
                        </a:lnTo>
                        <a:lnTo>
                          <a:pt x="13" y="8"/>
                        </a:lnTo>
                        <a:lnTo>
                          <a:pt x="15" y="5"/>
                        </a:lnTo>
                        <a:lnTo>
                          <a:pt x="13" y="3"/>
                        </a:lnTo>
                        <a:lnTo>
                          <a:pt x="12" y="3"/>
                        </a:lnTo>
                        <a:lnTo>
                          <a:pt x="10" y="1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65" name="Freeform 139">
                    <a:extLst>
                      <a:ext uri="{FF2B5EF4-FFF2-40B4-BE49-F238E27FC236}">
                        <a16:creationId xmlns:a16="http://schemas.microsoft.com/office/drawing/2014/main" id="{8ED78107-17EF-9E4E-BCB7-5D7981C64C9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01" y="698"/>
                    <a:ext cx="15" cy="11"/>
                  </a:xfrm>
                  <a:custGeom>
                    <a:avLst/>
                    <a:gdLst>
                      <a:gd name="T0" fmla="*/ 12 w 15"/>
                      <a:gd name="T1" fmla="*/ 0 h 11"/>
                      <a:gd name="T2" fmla="*/ 10 w 15"/>
                      <a:gd name="T3" fmla="*/ 0 h 11"/>
                      <a:gd name="T4" fmla="*/ 7 w 15"/>
                      <a:gd name="T5" fmla="*/ 1 h 11"/>
                      <a:gd name="T6" fmla="*/ 1 w 15"/>
                      <a:gd name="T7" fmla="*/ 3 h 11"/>
                      <a:gd name="T8" fmla="*/ 0 w 15"/>
                      <a:gd name="T9" fmla="*/ 6 h 11"/>
                      <a:gd name="T10" fmla="*/ 1 w 15"/>
                      <a:gd name="T11" fmla="*/ 8 h 11"/>
                      <a:gd name="T12" fmla="*/ 1 w 15"/>
                      <a:gd name="T13" fmla="*/ 6 h 11"/>
                      <a:gd name="T14" fmla="*/ 5 w 15"/>
                      <a:gd name="T15" fmla="*/ 6 h 11"/>
                      <a:gd name="T16" fmla="*/ 5 w 15"/>
                      <a:gd name="T17" fmla="*/ 10 h 11"/>
                      <a:gd name="T18" fmla="*/ 8 w 15"/>
                      <a:gd name="T19" fmla="*/ 10 h 11"/>
                      <a:gd name="T20" fmla="*/ 10 w 15"/>
                      <a:gd name="T21" fmla="*/ 11 h 11"/>
                      <a:gd name="T22" fmla="*/ 13 w 15"/>
                      <a:gd name="T23" fmla="*/ 8 h 11"/>
                      <a:gd name="T24" fmla="*/ 15 w 15"/>
                      <a:gd name="T25" fmla="*/ 5 h 11"/>
                      <a:gd name="T26" fmla="*/ 13 w 15"/>
                      <a:gd name="T27" fmla="*/ 3 h 11"/>
                      <a:gd name="T28" fmla="*/ 12 w 15"/>
                      <a:gd name="T29" fmla="*/ 3 h 11"/>
                      <a:gd name="T30" fmla="*/ 10 w 15"/>
                      <a:gd name="T31" fmla="*/ 1 h 11"/>
                      <a:gd name="T32" fmla="*/ 12 w 15"/>
                      <a:gd name="T33" fmla="*/ 0 h 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15" h="11">
                        <a:moveTo>
                          <a:pt x="12" y="0"/>
                        </a:moveTo>
                        <a:lnTo>
                          <a:pt x="10" y="0"/>
                        </a:lnTo>
                        <a:lnTo>
                          <a:pt x="7" y="1"/>
                        </a:lnTo>
                        <a:lnTo>
                          <a:pt x="1" y="3"/>
                        </a:lnTo>
                        <a:lnTo>
                          <a:pt x="0" y="6"/>
                        </a:lnTo>
                        <a:lnTo>
                          <a:pt x="1" y="8"/>
                        </a:lnTo>
                        <a:lnTo>
                          <a:pt x="1" y="6"/>
                        </a:lnTo>
                        <a:lnTo>
                          <a:pt x="5" y="6"/>
                        </a:lnTo>
                        <a:lnTo>
                          <a:pt x="5" y="10"/>
                        </a:lnTo>
                        <a:lnTo>
                          <a:pt x="8" y="10"/>
                        </a:lnTo>
                        <a:lnTo>
                          <a:pt x="10" y="11"/>
                        </a:lnTo>
                        <a:lnTo>
                          <a:pt x="13" y="8"/>
                        </a:lnTo>
                        <a:lnTo>
                          <a:pt x="15" y="5"/>
                        </a:lnTo>
                        <a:lnTo>
                          <a:pt x="13" y="3"/>
                        </a:lnTo>
                        <a:lnTo>
                          <a:pt x="12" y="3"/>
                        </a:lnTo>
                        <a:lnTo>
                          <a:pt x="10" y="1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61" name="Group 1760">
                  <a:extLst>
                    <a:ext uri="{FF2B5EF4-FFF2-40B4-BE49-F238E27FC236}">
                      <a16:creationId xmlns:a16="http://schemas.microsoft.com/office/drawing/2014/main" id="{8E19238D-FE2F-304F-8C4C-EECAE2FDC0F7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23" y="696"/>
                  <a:ext cx="6" cy="3"/>
                  <a:chOff x="223" y="696"/>
                  <a:chExt cx="6" cy="3"/>
                </a:xfrm>
              </p:grpSpPr>
              <p:sp>
                <p:nvSpPr>
                  <p:cNvPr id="1762" name="Freeform 136">
                    <a:extLst>
                      <a:ext uri="{FF2B5EF4-FFF2-40B4-BE49-F238E27FC236}">
                        <a16:creationId xmlns:a16="http://schemas.microsoft.com/office/drawing/2014/main" id="{12AE70F6-8DA1-8544-9442-2A771D17EAC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23" y="696"/>
                    <a:ext cx="6" cy="3"/>
                  </a:xfrm>
                  <a:custGeom>
                    <a:avLst/>
                    <a:gdLst>
                      <a:gd name="T0" fmla="*/ 5 w 6"/>
                      <a:gd name="T1" fmla="*/ 0 h 3"/>
                      <a:gd name="T2" fmla="*/ 3 w 6"/>
                      <a:gd name="T3" fmla="*/ 0 h 3"/>
                      <a:gd name="T4" fmla="*/ 1 w 6"/>
                      <a:gd name="T5" fmla="*/ 0 h 3"/>
                      <a:gd name="T6" fmla="*/ 0 w 6"/>
                      <a:gd name="T7" fmla="*/ 0 h 3"/>
                      <a:gd name="T8" fmla="*/ 1 w 6"/>
                      <a:gd name="T9" fmla="*/ 2 h 3"/>
                      <a:gd name="T10" fmla="*/ 5 w 6"/>
                      <a:gd name="T11" fmla="*/ 3 h 3"/>
                      <a:gd name="T12" fmla="*/ 6 w 6"/>
                      <a:gd name="T13" fmla="*/ 3 h 3"/>
                      <a:gd name="T14" fmla="*/ 6 w 6"/>
                      <a:gd name="T15" fmla="*/ 2 h 3"/>
                      <a:gd name="T16" fmla="*/ 5 w 6"/>
                      <a:gd name="T17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6" h="3">
                        <a:moveTo>
                          <a:pt x="5" y="0"/>
                        </a:move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1" y="2"/>
                        </a:lnTo>
                        <a:lnTo>
                          <a:pt x="5" y="3"/>
                        </a:lnTo>
                        <a:lnTo>
                          <a:pt x="6" y="3"/>
                        </a:lnTo>
                        <a:lnTo>
                          <a:pt x="6" y="2"/>
                        </a:lnTo>
                        <a:lnTo>
                          <a:pt x="5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63" name="Freeform 137">
                    <a:extLst>
                      <a:ext uri="{FF2B5EF4-FFF2-40B4-BE49-F238E27FC236}">
                        <a16:creationId xmlns:a16="http://schemas.microsoft.com/office/drawing/2014/main" id="{83A261D7-B3BE-4349-A10B-A6D5A8B90C7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23" y="696"/>
                    <a:ext cx="6" cy="3"/>
                  </a:xfrm>
                  <a:custGeom>
                    <a:avLst/>
                    <a:gdLst>
                      <a:gd name="T0" fmla="*/ 5 w 6"/>
                      <a:gd name="T1" fmla="*/ 0 h 3"/>
                      <a:gd name="T2" fmla="*/ 3 w 6"/>
                      <a:gd name="T3" fmla="*/ 0 h 3"/>
                      <a:gd name="T4" fmla="*/ 1 w 6"/>
                      <a:gd name="T5" fmla="*/ 0 h 3"/>
                      <a:gd name="T6" fmla="*/ 0 w 6"/>
                      <a:gd name="T7" fmla="*/ 0 h 3"/>
                      <a:gd name="T8" fmla="*/ 1 w 6"/>
                      <a:gd name="T9" fmla="*/ 2 h 3"/>
                      <a:gd name="T10" fmla="*/ 5 w 6"/>
                      <a:gd name="T11" fmla="*/ 3 h 3"/>
                      <a:gd name="T12" fmla="*/ 6 w 6"/>
                      <a:gd name="T13" fmla="*/ 3 h 3"/>
                      <a:gd name="T14" fmla="*/ 6 w 6"/>
                      <a:gd name="T15" fmla="*/ 2 h 3"/>
                      <a:gd name="T16" fmla="*/ 5 w 6"/>
                      <a:gd name="T17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6" h="3">
                        <a:moveTo>
                          <a:pt x="5" y="0"/>
                        </a:moveTo>
                        <a:lnTo>
                          <a:pt x="3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1" y="2"/>
                        </a:lnTo>
                        <a:lnTo>
                          <a:pt x="5" y="3"/>
                        </a:lnTo>
                        <a:lnTo>
                          <a:pt x="6" y="3"/>
                        </a:lnTo>
                        <a:lnTo>
                          <a:pt x="6" y="2"/>
                        </a:lnTo>
                        <a:lnTo>
                          <a:pt x="5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667" name="Group 1666">
                <a:extLst>
                  <a:ext uri="{FF2B5EF4-FFF2-40B4-BE49-F238E27FC236}">
                    <a16:creationId xmlns:a16="http://schemas.microsoft.com/office/drawing/2014/main" id="{D7018B0D-8737-2644-93C9-7C705B1DEF6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32" y="57"/>
                <a:ext cx="204" cy="332"/>
                <a:chOff x="332" y="57"/>
                <a:chExt cx="204" cy="332"/>
              </a:xfrm>
            </p:grpSpPr>
            <p:grpSp>
              <p:nvGrpSpPr>
                <p:cNvPr id="1749" name="Group 1748">
                  <a:extLst>
                    <a:ext uri="{FF2B5EF4-FFF2-40B4-BE49-F238E27FC236}">
                      <a16:creationId xmlns:a16="http://schemas.microsoft.com/office/drawing/2014/main" id="{A7F9325A-C188-4441-AADA-0BC1E21C3904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32" y="57"/>
                  <a:ext cx="204" cy="332"/>
                  <a:chOff x="332" y="57"/>
                  <a:chExt cx="204" cy="332"/>
                </a:xfrm>
              </p:grpSpPr>
              <p:sp>
                <p:nvSpPr>
                  <p:cNvPr id="1756" name="Freeform 130">
                    <a:extLst>
                      <a:ext uri="{FF2B5EF4-FFF2-40B4-BE49-F238E27FC236}">
                        <a16:creationId xmlns:a16="http://schemas.microsoft.com/office/drawing/2014/main" id="{BDA49304-E5A7-D34C-95CA-14171831319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2" y="57"/>
                    <a:ext cx="204" cy="332"/>
                  </a:xfrm>
                  <a:custGeom>
                    <a:avLst/>
                    <a:gdLst>
                      <a:gd name="T0" fmla="*/ 191 w 204"/>
                      <a:gd name="T1" fmla="*/ 86 h 332"/>
                      <a:gd name="T2" fmla="*/ 181 w 204"/>
                      <a:gd name="T3" fmla="*/ 86 h 332"/>
                      <a:gd name="T4" fmla="*/ 174 w 204"/>
                      <a:gd name="T5" fmla="*/ 89 h 332"/>
                      <a:gd name="T6" fmla="*/ 171 w 204"/>
                      <a:gd name="T7" fmla="*/ 96 h 332"/>
                      <a:gd name="T8" fmla="*/ 164 w 204"/>
                      <a:gd name="T9" fmla="*/ 101 h 332"/>
                      <a:gd name="T10" fmla="*/ 160 w 204"/>
                      <a:gd name="T11" fmla="*/ 115 h 332"/>
                      <a:gd name="T12" fmla="*/ 162 w 204"/>
                      <a:gd name="T13" fmla="*/ 123 h 332"/>
                      <a:gd name="T14" fmla="*/ 154 w 204"/>
                      <a:gd name="T15" fmla="*/ 130 h 332"/>
                      <a:gd name="T16" fmla="*/ 144 w 204"/>
                      <a:gd name="T17" fmla="*/ 140 h 332"/>
                      <a:gd name="T18" fmla="*/ 128 w 204"/>
                      <a:gd name="T19" fmla="*/ 145 h 332"/>
                      <a:gd name="T20" fmla="*/ 118 w 204"/>
                      <a:gd name="T21" fmla="*/ 153 h 332"/>
                      <a:gd name="T22" fmla="*/ 113 w 204"/>
                      <a:gd name="T23" fmla="*/ 158 h 332"/>
                      <a:gd name="T24" fmla="*/ 105 w 204"/>
                      <a:gd name="T25" fmla="*/ 160 h 332"/>
                      <a:gd name="T26" fmla="*/ 98 w 204"/>
                      <a:gd name="T27" fmla="*/ 169 h 332"/>
                      <a:gd name="T28" fmla="*/ 98 w 204"/>
                      <a:gd name="T29" fmla="*/ 185 h 332"/>
                      <a:gd name="T30" fmla="*/ 95 w 204"/>
                      <a:gd name="T31" fmla="*/ 194 h 332"/>
                      <a:gd name="T32" fmla="*/ 96 w 204"/>
                      <a:gd name="T33" fmla="*/ 211 h 332"/>
                      <a:gd name="T34" fmla="*/ 86 w 204"/>
                      <a:gd name="T35" fmla="*/ 222 h 332"/>
                      <a:gd name="T36" fmla="*/ 96 w 204"/>
                      <a:gd name="T37" fmla="*/ 221 h 332"/>
                      <a:gd name="T38" fmla="*/ 108 w 204"/>
                      <a:gd name="T39" fmla="*/ 217 h 332"/>
                      <a:gd name="T40" fmla="*/ 120 w 204"/>
                      <a:gd name="T41" fmla="*/ 228 h 332"/>
                      <a:gd name="T42" fmla="*/ 113 w 204"/>
                      <a:gd name="T43" fmla="*/ 241 h 332"/>
                      <a:gd name="T44" fmla="*/ 95 w 204"/>
                      <a:gd name="T45" fmla="*/ 241 h 332"/>
                      <a:gd name="T46" fmla="*/ 83 w 204"/>
                      <a:gd name="T47" fmla="*/ 241 h 332"/>
                      <a:gd name="T48" fmla="*/ 107 w 204"/>
                      <a:gd name="T49" fmla="*/ 244 h 332"/>
                      <a:gd name="T50" fmla="*/ 112 w 204"/>
                      <a:gd name="T51" fmla="*/ 244 h 332"/>
                      <a:gd name="T52" fmla="*/ 101 w 204"/>
                      <a:gd name="T53" fmla="*/ 249 h 332"/>
                      <a:gd name="T54" fmla="*/ 90 w 204"/>
                      <a:gd name="T55" fmla="*/ 260 h 332"/>
                      <a:gd name="T56" fmla="*/ 90 w 204"/>
                      <a:gd name="T57" fmla="*/ 265 h 332"/>
                      <a:gd name="T58" fmla="*/ 88 w 204"/>
                      <a:gd name="T59" fmla="*/ 271 h 332"/>
                      <a:gd name="T60" fmla="*/ 86 w 204"/>
                      <a:gd name="T61" fmla="*/ 278 h 332"/>
                      <a:gd name="T62" fmla="*/ 83 w 204"/>
                      <a:gd name="T63" fmla="*/ 298 h 332"/>
                      <a:gd name="T64" fmla="*/ 63 w 204"/>
                      <a:gd name="T65" fmla="*/ 315 h 332"/>
                      <a:gd name="T66" fmla="*/ 49 w 204"/>
                      <a:gd name="T67" fmla="*/ 332 h 332"/>
                      <a:gd name="T68" fmla="*/ 29 w 204"/>
                      <a:gd name="T69" fmla="*/ 330 h 332"/>
                      <a:gd name="T70" fmla="*/ 22 w 204"/>
                      <a:gd name="T71" fmla="*/ 314 h 332"/>
                      <a:gd name="T72" fmla="*/ 29 w 204"/>
                      <a:gd name="T73" fmla="*/ 308 h 332"/>
                      <a:gd name="T74" fmla="*/ 15 w 204"/>
                      <a:gd name="T75" fmla="*/ 288 h 332"/>
                      <a:gd name="T76" fmla="*/ 10 w 204"/>
                      <a:gd name="T77" fmla="*/ 278 h 332"/>
                      <a:gd name="T78" fmla="*/ 7 w 204"/>
                      <a:gd name="T79" fmla="*/ 268 h 332"/>
                      <a:gd name="T80" fmla="*/ 2 w 204"/>
                      <a:gd name="T81" fmla="*/ 263 h 332"/>
                      <a:gd name="T82" fmla="*/ 4 w 204"/>
                      <a:gd name="T83" fmla="*/ 251 h 332"/>
                      <a:gd name="T84" fmla="*/ 10 w 204"/>
                      <a:gd name="T85" fmla="*/ 238 h 332"/>
                      <a:gd name="T86" fmla="*/ 22 w 204"/>
                      <a:gd name="T87" fmla="*/ 217 h 332"/>
                      <a:gd name="T88" fmla="*/ 27 w 204"/>
                      <a:gd name="T89" fmla="*/ 197 h 332"/>
                      <a:gd name="T90" fmla="*/ 15 w 204"/>
                      <a:gd name="T91" fmla="*/ 170 h 332"/>
                      <a:gd name="T92" fmla="*/ 19 w 204"/>
                      <a:gd name="T93" fmla="*/ 153 h 332"/>
                      <a:gd name="T94" fmla="*/ 37 w 204"/>
                      <a:gd name="T95" fmla="*/ 131 h 332"/>
                      <a:gd name="T96" fmla="*/ 42 w 204"/>
                      <a:gd name="T97" fmla="*/ 116 h 332"/>
                      <a:gd name="T98" fmla="*/ 56 w 204"/>
                      <a:gd name="T99" fmla="*/ 79 h 332"/>
                      <a:gd name="T100" fmla="*/ 73 w 204"/>
                      <a:gd name="T101" fmla="*/ 64 h 332"/>
                      <a:gd name="T102" fmla="*/ 81 w 204"/>
                      <a:gd name="T103" fmla="*/ 45 h 332"/>
                      <a:gd name="T104" fmla="*/ 96 w 204"/>
                      <a:gd name="T105" fmla="*/ 27 h 332"/>
                      <a:gd name="T106" fmla="*/ 112 w 204"/>
                      <a:gd name="T107" fmla="*/ 20 h 332"/>
                      <a:gd name="T108" fmla="*/ 128 w 204"/>
                      <a:gd name="T109" fmla="*/ 15 h 332"/>
                      <a:gd name="T110" fmla="*/ 140 w 204"/>
                      <a:gd name="T111" fmla="*/ 15 h 332"/>
                      <a:gd name="T112" fmla="*/ 142 w 204"/>
                      <a:gd name="T113" fmla="*/ 0 h 332"/>
                      <a:gd name="T114" fmla="*/ 155 w 204"/>
                      <a:gd name="T115" fmla="*/ 3 h 332"/>
                      <a:gd name="T116" fmla="*/ 191 w 204"/>
                      <a:gd name="T117" fmla="*/ 24 h 332"/>
                      <a:gd name="T118" fmla="*/ 198 w 204"/>
                      <a:gd name="T119" fmla="*/ 44 h 332"/>
                      <a:gd name="T120" fmla="*/ 203 w 204"/>
                      <a:gd name="T121" fmla="*/ 66 h 3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204" h="332">
                        <a:moveTo>
                          <a:pt x="204" y="86"/>
                        </a:moveTo>
                        <a:lnTo>
                          <a:pt x="203" y="86"/>
                        </a:lnTo>
                        <a:lnTo>
                          <a:pt x="203" y="88"/>
                        </a:lnTo>
                        <a:lnTo>
                          <a:pt x="201" y="86"/>
                        </a:lnTo>
                        <a:lnTo>
                          <a:pt x="198" y="86"/>
                        </a:lnTo>
                        <a:lnTo>
                          <a:pt x="196" y="86"/>
                        </a:lnTo>
                        <a:lnTo>
                          <a:pt x="192" y="86"/>
                        </a:lnTo>
                        <a:lnTo>
                          <a:pt x="191" y="86"/>
                        </a:lnTo>
                        <a:lnTo>
                          <a:pt x="189" y="88"/>
                        </a:lnTo>
                        <a:lnTo>
                          <a:pt x="187" y="88"/>
                        </a:lnTo>
                        <a:lnTo>
                          <a:pt x="186" y="88"/>
                        </a:lnTo>
                        <a:lnTo>
                          <a:pt x="186" y="86"/>
                        </a:lnTo>
                        <a:lnTo>
                          <a:pt x="184" y="84"/>
                        </a:lnTo>
                        <a:lnTo>
                          <a:pt x="182" y="84"/>
                        </a:lnTo>
                        <a:lnTo>
                          <a:pt x="182" y="86"/>
                        </a:lnTo>
                        <a:lnTo>
                          <a:pt x="181" y="86"/>
                        </a:lnTo>
                        <a:lnTo>
                          <a:pt x="179" y="86"/>
                        </a:lnTo>
                        <a:lnTo>
                          <a:pt x="179" y="84"/>
                        </a:lnTo>
                        <a:lnTo>
                          <a:pt x="177" y="84"/>
                        </a:lnTo>
                        <a:lnTo>
                          <a:pt x="177" y="86"/>
                        </a:lnTo>
                        <a:lnTo>
                          <a:pt x="177" y="89"/>
                        </a:lnTo>
                        <a:lnTo>
                          <a:pt x="176" y="89"/>
                        </a:lnTo>
                        <a:lnTo>
                          <a:pt x="176" y="91"/>
                        </a:lnTo>
                        <a:lnTo>
                          <a:pt x="174" y="89"/>
                        </a:lnTo>
                        <a:lnTo>
                          <a:pt x="172" y="89"/>
                        </a:lnTo>
                        <a:lnTo>
                          <a:pt x="171" y="89"/>
                        </a:lnTo>
                        <a:lnTo>
                          <a:pt x="172" y="91"/>
                        </a:lnTo>
                        <a:lnTo>
                          <a:pt x="174" y="93"/>
                        </a:lnTo>
                        <a:lnTo>
                          <a:pt x="172" y="93"/>
                        </a:lnTo>
                        <a:lnTo>
                          <a:pt x="171" y="93"/>
                        </a:lnTo>
                        <a:lnTo>
                          <a:pt x="171" y="94"/>
                        </a:lnTo>
                        <a:lnTo>
                          <a:pt x="171" y="96"/>
                        </a:lnTo>
                        <a:lnTo>
                          <a:pt x="169" y="96"/>
                        </a:lnTo>
                        <a:lnTo>
                          <a:pt x="167" y="96"/>
                        </a:lnTo>
                        <a:lnTo>
                          <a:pt x="166" y="96"/>
                        </a:lnTo>
                        <a:lnTo>
                          <a:pt x="166" y="98"/>
                        </a:lnTo>
                        <a:lnTo>
                          <a:pt x="162" y="98"/>
                        </a:lnTo>
                        <a:lnTo>
                          <a:pt x="162" y="99"/>
                        </a:lnTo>
                        <a:lnTo>
                          <a:pt x="164" y="99"/>
                        </a:lnTo>
                        <a:lnTo>
                          <a:pt x="164" y="101"/>
                        </a:lnTo>
                        <a:lnTo>
                          <a:pt x="166" y="103"/>
                        </a:lnTo>
                        <a:lnTo>
                          <a:pt x="164" y="104"/>
                        </a:lnTo>
                        <a:lnTo>
                          <a:pt x="164" y="106"/>
                        </a:lnTo>
                        <a:lnTo>
                          <a:pt x="162" y="108"/>
                        </a:lnTo>
                        <a:lnTo>
                          <a:pt x="160" y="110"/>
                        </a:lnTo>
                        <a:lnTo>
                          <a:pt x="159" y="111"/>
                        </a:lnTo>
                        <a:lnTo>
                          <a:pt x="159" y="113"/>
                        </a:lnTo>
                        <a:lnTo>
                          <a:pt x="160" y="115"/>
                        </a:lnTo>
                        <a:lnTo>
                          <a:pt x="159" y="115"/>
                        </a:lnTo>
                        <a:lnTo>
                          <a:pt x="160" y="116"/>
                        </a:lnTo>
                        <a:lnTo>
                          <a:pt x="162" y="118"/>
                        </a:lnTo>
                        <a:lnTo>
                          <a:pt x="164" y="120"/>
                        </a:lnTo>
                        <a:lnTo>
                          <a:pt x="166" y="121"/>
                        </a:lnTo>
                        <a:lnTo>
                          <a:pt x="164" y="123"/>
                        </a:lnTo>
                        <a:lnTo>
                          <a:pt x="162" y="125"/>
                        </a:lnTo>
                        <a:lnTo>
                          <a:pt x="162" y="123"/>
                        </a:lnTo>
                        <a:lnTo>
                          <a:pt x="162" y="121"/>
                        </a:lnTo>
                        <a:lnTo>
                          <a:pt x="160" y="123"/>
                        </a:lnTo>
                        <a:lnTo>
                          <a:pt x="160" y="125"/>
                        </a:lnTo>
                        <a:lnTo>
                          <a:pt x="159" y="125"/>
                        </a:lnTo>
                        <a:lnTo>
                          <a:pt x="159" y="126"/>
                        </a:lnTo>
                        <a:lnTo>
                          <a:pt x="157" y="128"/>
                        </a:lnTo>
                        <a:lnTo>
                          <a:pt x="155" y="130"/>
                        </a:lnTo>
                        <a:lnTo>
                          <a:pt x="154" y="130"/>
                        </a:lnTo>
                        <a:lnTo>
                          <a:pt x="154" y="131"/>
                        </a:lnTo>
                        <a:lnTo>
                          <a:pt x="152" y="135"/>
                        </a:lnTo>
                        <a:lnTo>
                          <a:pt x="150" y="136"/>
                        </a:lnTo>
                        <a:lnTo>
                          <a:pt x="149" y="136"/>
                        </a:lnTo>
                        <a:lnTo>
                          <a:pt x="149" y="138"/>
                        </a:lnTo>
                        <a:lnTo>
                          <a:pt x="147" y="138"/>
                        </a:lnTo>
                        <a:lnTo>
                          <a:pt x="145" y="140"/>
                        </a:lnTo>
                        <a:lnTo>
                          <a:pt x="144" y="140"/>
                        </a:lnTo>
                        <a:lnTo>
                          <a:pt x="142" y="140"/>
                        </a:lnTo>
                        <a:lnTo>
                          <a:pt x="139" y="142"/>
                        </a:lnTo>
                        <a:lnTo>
                          <a:pt x="139" y="143"/>
                        </a:lnTo>
                        <a:lnTo>
                          <a:pt x="137" y="143"/>
                        </a:lnTo>
                        <a:lnTo>
                          <a:pt x="135" y="145"/>
                        </a:lnTo>
                        <a:lnTo>
                          <a:pt x="133" y="143"/>
                        </a:lnTo>
                        <a:lnTo>
                          <a:pt x="132" y="145"/>
                        </a:lnTo>
                        <a:lnTo>
                          <a:pt x="128" y="145"/>
                        </a:lnTo>
                        <a:lnTo>
                          <a:pt x="128" y="148"/>
                        </a:lnTo>
                        <a:lnTo>
                          <a:pt x="127" y="148"/>
                        </a:lnTo>
                        <a:lnTo>
                          <a:pt x="125" y="150"/>
                        </a:lnTo>
                        <a:lnTo>
                          <a:pt x="122" y="148"/>
                        </a:lnTo>
                        <a:lnTo>
                          <a:pt x="120" y="150"/>
                        </a:lnTo>
                        <a:lnTo>
                          <a:pt x="120" y="152"/>
                        </a:lnTo>
                        <a:lnTo>
                          <a:pt x="118" y="152"/>
                        </a:lnTo>
                        <a:lnTo>
                          <a:pt x="118" y="153"/>
                        </a:lnTo>
                        <a:lnTo>
                          <a:pt x="115" y="155"/>
                        </a:lnTo>
                        <a:lnTo>
                          <a:pt x="117" y="155"/>
                        </a:lnTo>
                        <a:lnTo>
                          <a:pt x="115" y="157"/>
                        </a:lnTo>
                        <a:lnTo>
                          <a:pt x="113" y="157"/>
                        </a:lnTo>
                        <a:lnTo>
                          <a:pt x="112" y="157"/>
                        </a:lnTo>
                        <a:lnTo>
                          <a:pt x="113" y="157"/>
                        </a:lnTo>
                        <a:lnTo>
                          <a:pt x="115" y="158"/>
                        </a:lnTo>
                        <a:lnTo>
                          <a:pt x="113" y="158"/>
                        </a:lnTo>
                        <a:lnTo>
                          <a:pt x="113" y="160"/>
                        </a:lnTo>
                        <a:lnTo>
                          <a:pt x="112" y="160"/>
                        </a:lnTo>
                        <a:lnTo>
                          <a:pt x="110" y="162"/>
                        </a:lnTo>
                        <a:lnTo>
                          <a:pt x="108" y="162"/>
                        </a:lnTo>
                        <a:lnTo>
                          <a:pt x="107" y="160"/>
                        </a:lnTo>
                        <a:lnTo>
                          <a:pt x="105" y="160"/>
                        </a:lnTo>
                        <a:lnTo>
                          <a:pt x="105" y="158"/>
                        </a:lnTo>
                        <a:lnTo>
                          <a:pt x="105" y="160"/>
                        </a:lnTo>
                        <a:lnTo>
                          <a:pt x="107" y="163"/>
                        </a:lnTo>
                        <a:lnTo>
                          <a:pt x="107" y="165"/>
                        </a:lnTo>
                        <a:lnTo>
                          <a:pt x="105" y="165"/>
                        </a:lnTo>
                        <a:lnTo>
                          <a:pt x="107" y="167"/>
                        </a:lnTo>
                        <a:lnTo>
                          <a:pt x="105" y="169"/>
                        </a:lnTo>
                        <a:lnTo>
                          <a:pt x="103" y="170"/>
                        </a:lnTo>
                        <a:lnTo>
                          <a:pt x="100" y="169"/>
                        </a:lnTo>
                        <a:lnTo>
                          <a:pt x="98" y="169"/>
                        </a:lnTo>
                        <a:lnTo>
                          <a:pt x="98" y="172"/>
                        </a:lnTo>
                        <a:lnTo>
                          <a:pt x="98" y="174"/>
                        </a:lnTo>
                        <a:lnTo>
                          <a:pt x="101" y="175"/>
                        </a:lnTo>
                        <a:lnTo>
                          <a:pt x="100" y="177"/>
                        </a:lnTo>
                        <a:lnTo>
                          <a:pt x="100" y="179"/>
                        </a:lnTo>
                        <a:lnTo>
                          <a:pt x="98" y="182"/>
                        </a:lnTo>
                        <a:lnTo>
                          <a:pt x="98" y="184"/>
                        </a:lnTo>
                        <a:lnTo>
                          <a:pt x="98" y="185"/>
                        </a:lnTo>
                        <a:lnTo>
                          <a:pt x="100" y="187"/>
                        </a:lnTo>
                        <a:lnTo>
                          <a:pt x="100" y="189"/>
                        </a:lnTo>
                        <a:lnTo>
                          <a:pt x="98" y="189"/>
                        </a:lnTo>
                        <a:lnTo>
                          <a:pt x="95" y="187"/>
                        </a:lnTo>
                        <a:lnTo>
                          <a:pt x="95" y="189"/>
                        </a:lnTo>
                        <a:lnTo>
                          <a:pt x="95" y="190"/>
                        </a:lnTo>
                        <a:lnTo>
                          <a:pt x="93" y="192"/>
                        </a:lnTo>
                        <a:lnTo>
                          <a:pt x="95" y="194"/>
                        </a:lnTo>
                        <a:lnTo>
                          <a:pt x="95" y="195"/>
                        </a:lnTo>
                        <a:lnTo>
                          <a:pt x="95" y="197"/>
                        </a:lnTo>
                        <a:lnTo>
                          <a:pt x="95" y="199"/>
                        </a:lnTo>
                        <a:lnTo>
                          <a:pt x="95" y="201"/>
                        </a:lnTo>
                        <a:lnTo>
                          <a:pt x="95" y="204"/>
                        </a:lnTo>
                        <a:lnTo>
                          <a:pt x="95" y="206"/>
                        </a:lnTo>
                        <a:lnTo>
                          <a:pt x="96" y="207"/>
                        </a:lnTo>
                        <a:lnTo>
                          <a:pt x="96" y="211"/>
                        </a:lnTo>
                        <a:lnTo>
                          <a:pt x="95" y="212"/>
                        </a:lnTo>
                        <a:lnTo>
                          <a:pt x="98" y="212"/>
                        </a:lnTo>
                        <a:lnTo>
                          <a:pt x="98" y="216"/>
                        </a:lnTo>
                        <a:lnTo>
                          <a:pt x="96" y="217"/>
                        </a:lnTo>
                        <a:lnTo>
                          <a:pt x="95" y="219"/>
                        </a:lnTo>
                        <a:lnTo>
                          <a:pt x="91" y="221"/>
                        </a:lnTo>
                        <a:lnTo>
                          <a:pt x="90" y="221"/>
                        </a:lnTo>
                        <a:lnTo>
                          <a:pt x="86" y="222"/>
                        </a:lnTo>
                        <a:lnTo>
                          <a:pt x="83" y="224"/>
                        </a:lnTo>
                        <a:lnTo>
                          <a:pt x="81" y="224"/>
                        </a:lnTo>
                        <a:lnTo>
                          <a:pt x="83" y="226"/>
                        </a:lnTo>
                        <a:lnTo>
                          <a:pt x="86" y="224"/>
                        </a:lnTo>
                        <a:lnTo>
                          <a:pt x="90" y="224"/>
                        </a:lnTo>
                        <a:lnTo>
                          <a:pt x="91" y="224"/>
                        </a:lnTo>
                        <a:lnTo>
                          <a:pt x="93" y="222"/>
                        </a:lnTo>
                        <a:lnTo>
                          <a:pt x="96" y="221"/>
                        </a:lnTo>
                        <a:lnTo>
                          <a:pt x="98" y="217"/>
                        </a:lnTo>
                        <a:lnTo>
                          <a:pt x="100" y="216"/>
                        </a:lnTo>
                        <a:lnTo>
                          <a:pt x="100" y="214"/>
                        </a:lnTo>
                        <a:lnTo>
                          <a:pt x="101" y="214"/>
                        </a:lnTo>
                        <a:lnTo>
                          <a:pt x="103" y="216"/>
                        </a:lnTo>
                        <a:lnTo>
                          <a:pt x="105" y="216"/>
                        </a:lnTo>
                        <a:lnTo>
                          <a:pt x="108" y="216"/>
                        </a:lnTo>
                        <a:lnTo>
                          <a:pt x="108" y="217"/>
                        </a:lnTo>
                        <a:lnTo>
                          <a:pt x="110" y="219"/>
                        </a:lnTo>
                        <a:lnTo>
                          <a:pt x="112" y="221"/>
                        </a:lnTo>
                        <a:lnTo>
                          <a:pt x="115" y="221"/>
                        </a:lnTo>
                        <a:lnTo>
                          <a:pt x="115" y="222"/>
                        </a:lnTo>
                        <a:lnTo>
                          <a:pt x="113" y="222"/>
                        </a:lnTo>
                        <a:lnTo>
                          <a:pt x="115" y="224"/>
                        </a:lnTo>
                        <a:lnTo>
                          <a:pt x="117" y="226"/>
                        </a:lnTo>
                        <a:lnTo>
                          <a:pt x="120" y="228"/>
                        </a:lnTo>
                        <a:lnTo>
                          <a:pt x="122" y="229"/>
                        </a:lnTo>
                        <a:lnTo>
                          <a:pt x="122" y="231"/>
                        </a:lnTo>
                        <a:lnTo>
                          <a:pt x="120" y="233"/>
                        </a:lnTo>
                        <a:lnTo>
                          <a:pt x="120" y="234"/>
                        </a:lnTo>
                        <a:lnTo>
                          <a:pt x="118" y="236"/>
                        </a:lnTo>
                        <a:lnTo>
                          <a:pt x="117" y="238"/>
                        </a:lnTo>
                        <a:lnTo>
                          <a:pt x="117" y="239"/>
                        </a:lnTo>
                        <a:lnTo>
                          <a:pt x="113" y="241"/>
                        </a:lnTo>
                        <a:lnTo>
                          <a:pt x="108" y="243"/>
                        </a:lnTo>
                        <a:lnTo>
                          <a:pt x="107" y="243"/>
                        </a:lnTo>
                        <a:lnTo>
                          <a:pt x="105" y="243"/>
                        </a:lnTo>
                        <a:lnTo>
                          <a:pt x="103" y="239"/>
                        </a:lnTo>
                        <a:lnTo>
                          <a:pt x="101" y="241"/>
                        </a:lnTo>
                        <a:lnTo>
                          <a:pt x="100" y="239"/>
                        </a:lnTo>
                        <a:lnTo>
                          <a:pt x="98" y="239"/>
                        </a:lnTo>
                        <a:lnTo>
                          <a:pt x="95" y="241"/>
                        </a:lnTo>
                        <a:lnTo>
                          <a:pt x="93" y="238"/>
                        </a:lnTo>
                        <a:lnTo>
                          <a:pt x="93" y="239"/>
                        </a:lnTo>
                        <a:lnTo>
                          <a:pt x="90" y="238"/>
                        </a:lnTo>
                        <a:lnTo>
                          <a:pt x="86" y="239"/>
                        </a:lnTo>
                        <a:lnTo>
                          <a:pt x="85" y="238"/>
                        </a:lnTo>
                        <a:lnTo>
                          <a:pt x="83" y="239"/>
                        </a:lnTo>
                        <a:lnTo>
                          <a:pt x="81" y="241"/>
                        </a:lnTo>
                        <a:lnTo>
                          <a:pt x="83" y="241"/>
                        </a:lnTo>
                        <a:lnTo>
                          <a:pt x="88" y="241"/>
                        </a:lnTo>
                        <a:lnTo>
                          <a:pt x="91" y="241"/>
                        </a:lnTo>
                        <a:lnTo>
                          <a:pt x="95" y="243"/>
                        </a:lnTo>
                        <a:lnTo>
                          <a:pt x="96" y="244"/>
                        </a:lnTo>
                        <a:lnTo>
                          <a:pt x="96" y="246"/>
                        </a:lnTo>
                        <a:lnTo>
                          <a:pt x="98" y="244"/>
                        </a:lnTo>
                        <a:lnTo>
                          <a:pt x="101" y="244"/>
                        </a:lnTo>
                        <a:lnTo>
                          <a:pt x="107" y="244"/>
                        </a:lnTo>
                        <a:lnTo>
                          <a:pt x="112" y="244"/>
                        </a:lnTo>
                        <a:lnTo>
                          <a:pt x="115" y="243"/>
                        </a:lnTo>
                        <a:lnTo>
                          <a:pt x="117" y="243"/>
                        </a:lnTo>
                        <a:lnTo>
                          <a:pt x="117" y="244"/>
                        </a:lnTo>
                        <a:lnTo>
                          <a:pt x="115" y="244"/>
                        </a:lnTo>
                        <a:lnTo>
                          <a:pt x="115" y="246"/>
                        </a:lnTo>
                        <a:lnTo>
                          <a:pt x="113" y="246"/>
                        </a:lnTo>
                        <a:lnTo>
                          <a:pt x="112" y="244"/>
                        </a:lnTo>
                        <a:lnTo>
                          <a:pt x="112" y="246"/>
                        </a:lnTo>
                        <a:lnTo>
                          <a:pt x="113" y="248"/>
                        </a:lnTo>
                        <a:lnTo>
                          <a:pt x="108" y="251"/>
                        </a:lnTo>
                        <a:lnTo>
                          <a:pt x="107" y="253"/>
                        </a:lnTo>
                        <a:lnTo>
                          <a:pt x="105" y="253"/>
                        </a:lnTo>
                        <a:lnTo>
                          <a:pt x="103" y="253"/>
                        </a:lnTo>
                        <a:lnTo>
                          <a:pt x="103" y="251"/>
                        </a:lnTo>
                        <a:lnTo>
                          <a:pt x="101" y="249"/>
                        </a:lnTo>
                        <a:lnTo>
                          <a:pt x="101" y="253"/>
                        </a:lnTo>
                        <a:lnTo>
                          <a:pt x="100" y="254"/>
                        </a:lnTo>
                        <a:lnTo>
                          <a:pt x="98" y="256"/>
                        </a:lnTo>
                        <a:lnTo>
                          <a:pt x="96" y="256"/>
                        </a:lnTo>
                        <a:lnTo>
                          <a:pt x="95" y="256"/>
                        </a:lnTo>
                        <a:lnTo>
                          <a:pt x="93" y="256"/>
                        </a:lnTo>
                        <a:lnTo>
                          <a:pt x="91" y="260"/>
                        </a:lnTo>
                        <a:lnTo>
                          <a:pt x="90" y="260"/>
                        </a:lnTo>
                        <a:lnTo>
                          <a:pt x="86" y="260"/>
                        </a:lnTo>
                        <a:lnTo>
                          <a:pt x="80" y="260"/>
                        </a:lnTo>
                        <a:lnTo>
                          <a:pt x="81" y="260"/>
                        </a:lnTo>
                        <a:lnTo>
                          <a:pt x="83" y="260"/>
                        </a:lnTo>
                        <a:lnTo>
                          <a:pt x="85" y="261"/>
                        </a:lnTo>
                        <a:lnTo>
                          <a:pt x="88" y="261"/>
                        </a:lnTo>
                        <a:lnTo>
                          <a:pt x="90" y="263"/>
                        </a:lnTo>
                        <a:lnTo>
                          <a:pt x="90" y="265"/>
                        </a:lnTo>
                        <a:lnTo>
                          <a:pt x="86" y="265"/>
                        </a:lnTo>
                        <a:lnTo>
                          <a:pt x="85" y="263"/>
                        </a:lnTo>
                        <a:lnTo>
                          <a:pt x="83" y="263"/>
                        </a:lnTo>
                        <a:lnTo>
                          <a:pt x="86" y="265"/>
                        </a:lnTo>
                        <a:lnTo>
                          <a:pt x="88" y="266"/>
                        </a:lnTo>
                        <a:lnTo>
                          <a:pt x="88" y="268"/>
                        </a:lnTo>
                        <a:lnTo>
                          <a:pt x="88" y="270"/>
                        </a:lnTo>
                        <a:lnTo>
                          <a:pt x="88" y="271"/>
                        </a:lnTo>
                        <a:lnTo>
                          <a:pt x="88" y="273"/>
                        </a:lnTo>
                        <a:lnTo>
                          <a:pt x="86" y="275"/>
                        </a:lnTo>
                        <a:lnTo>
                          <a:pt x="88" y="276"/>
                        </a:lnTo>
                        <a:lnTo>
                          <a:pt x="86" y="276"/>
                        </a:lnTo>
                        <a:lnTo>
                          <a:pt x="85" y="275"/>
                        </a:lnTo>
                        <a:lnTo>
                          <a:pt x="85" y="276"/>
                        </a:lnTo>
                        <a:lnTo>
                          <a:pt x="85" y="278"/>
                        </a:lnTo>
                        <a:lnTo>
                          <a:pt x="86" y="278"/>
                        </a:lnTo>
                        <a:lnTo>
                          <a:pt x="86" y="281"/>
                        </a:lnTo>
                        <a:lnTo>
                          <a:pt x="85" y="283"/>
                        </a:lnTo>
                        <a:lnTo>
                          <a:pt x="86" y="285"/>
                        </a:lnTo>
                        <a:lnTo>
                          <a:pt x="86" y="287"/>
                        </a:lnTo>
                        <a:lnTo>
                          <a:pt x="85" y="290"/>
                        </a:lnTo>
                        <a:lnTo>
                          <a:pt x="83" y="292"/>
                        </a:lnTo>
                        <a:lnTo>
                          <a:pt x="85" y="295"/>
                        </a:lnTo>
                        <a:lnTo>
                          <a:pt x="83" y="298"/>
                        </a:lnTo>
                        <a:lnTo>
                          <a:pt x="83" y="302"/>
                        </a:lnTo>
                        <a:lnTo>
                          <a:pt x="80" y="307"/>
                        </a:lnTo>
                        <a:lnTo>
                          <a:pt x="78" y="312"/>
                        </a:lnTo>
                        <a:lnTo>
                          <a:pt x="76" y="315"/>
                        </a:lnTo>
                        <a:lnTo>
                          <a:pt x="73" y="315"/>
                        </a:lnTo>
                        <a:lnTo>
                          <a:pt x="69" y="315"/>
                        </a:lnTo>
                        <a:lnTo>
                          <a:pt x="66" y="315"/>
                        </a:lnTo>
                        <a:lnTo>
                          <a:pt x="63" y="315"/>
                        </a:lnTo>
                        <a:lnTo>
                          <a:pt x="59" y="315"/>
                        </a:lnTo>
                        <a:lnTo>
                          <a:pt x="56" y="315"/>
                        </a:lnTo>
                        <a:lnTo>
                          <a:pt x="56" y="319"/>
                        </a:lnTo>
                        <a:lnTo>
                          <a:pt x="53" y="317"/>
                        </a:lnTo>
                        <a:lnTo>
                          <a:pt x="51" y="320"/>
                        </a:lnTo>
                        <a:lnTo>
                          <a:pt x="49" y="324"/>
                        </a:lnTo>
                        <a:lnTo>
                          <a:pt x="51" y="329"/>
                        </a:lnTo>
                        <a:lnTo>
                          <a:pt x="49" y="332"/>
                        </a:lnTo>
                        <a:lnTo>
                          <a:pt x="47" y="332"/>
                        </a:lnTo>
                        <a:lnTo>
                          <a:pt x="44" y="330"/>
                        </a:lnTo>
                        <a:lnTo>
                          <a:pt x="39" y="332"/>
                        </a:lnTo>
                        <a:lnTo>
                          <a:pt x="34" y="332"/>
                        </a:lnTo>
                        <a:lnTo>
                          <a:pt x="31" y="332"/>
                        </a:lnTo>
                        <a:lnTo>
                          <a:pt x="27" y="332"/>
                        </a:lnTo>
                        <a:lnTo>
                          <a:pt x="27" y="330"/>
                        </a:lnTo>
                        <a:lnTo>
                          <a:pt x="29" y="330"/>
                        </a:lnTo>
                        <a:lnTo>
                          <a:pt x="29" y="329"/>
                        </a:lnTo>
                        <a:lnTo>
                          <a:pt x="31" y="327"/>
                        </a:lnTo>
                        <a:lnTo>
                          <a:pt x="29" y="325"/>
                        </a:lnTo>
                        <a:lnTo>
                          <a:pt x="27" y="322"/>
                        </a:lnTo>
                        <a:lnTo>
                          <a:pt x="26" y="319"/>
                        </a:lnTo>
                        <a:lnTo>
                          <a:pt x="24" y="317"/>
                        </a:lnTo>
                        <a:lnTo>
                          <a:pt x="22" y="315"/>
                        </a:lnTo>
                        <a:lnTo>
                          <a:pt x="22" y="314"/>
                        </a:lnTo>
                        <a:lnTo>
                          <a:pt x="24" y="314"/>
                        </a:lnTo>
                        <a:lnTo>
                          <a:pt x="27" y="314"/>
                        </a:lnTo>
                        <a:lnTo>
                          <a:pt x="26" y="314"/>
                        </a:lnTo>
                        <a:lnTo>
                          <a:pt x="26" y="312"/>
                        </a:lnTo>
                        <a:lnTo>
                          <a:pt x="24" y="310"/>
                        </a:lnTo>
                        <a:lnTo>
                          <a:pt x="26" y="310"/>
                        </a:lnTo>
                        <a:lnTo>
                          <a:pt x="27" y="310"/>
                        </a:lnTo>
                        <a:lnTo>
                          <a:pt x="29" y="308"/>
                        </a:lnTo>
                        <a:lnTo>
                          <a:pt x="29" y="307"/>
                        </a:lnTo>
                        <a:lnTo>
                          <a:pt x="27" y="305"/>
                        </a:lnTo>
                        <a:lnTo>
                          <a:pt x="24" y="303"/>
                        </a:lnTo>
                        <a:lnTo>
                          <a:pt x="22" y="300"/>
                        </a:lnTo>
                        <a:lnTo>
                          <a:pt x="19" y="298"/>
                        </a:lnTo>
                        <a:lnTo>
                          <a:pt x="17" y="295"/>
                        </a:lnTo>
                        <a:lnTo>
                          <a:pt x="17" y="292"/>
                        </a:lnTo>
                        <a:lnTo>
                          <a:pt x="15" y="288"/>
                        </a:lnTo>
                        <a:lnTo>
                          <a:pt x="14" y="288"/>
                        </a:lnTo>
                        <a:lnTo>
                          <a:pt x="12" y="288"/>
                        </a:lnTo>
                        <a:lnTo>
                          <a:pt x="14" y="287"/>
                        </a:lnTo>
                        <a:lnTo>
                          <a:pt x="12" y="285"/>
                        </a:lnTo>
                        <a:lnTo>
                          <a:pt x="12" y="283"/>
                        </a:lnTo>
                        <a:lnTo>
                          <a:pt x="14" y="281"/>
                        </a:lnTo>
                        <a:lnTo>
                          <a:pt x="14" y="278"/>
                        </a:lnTo>
                        <a:lnTo>
                          <a:pt x="10" y="278"/>
                        </a:lnTo>
                        <a:lnTo>
                          <a:pt x="10" y="276"/>
                        </a:lnTo>
                        <a:lnTo>
                          <a:pt x="10" y="275"/>
                        </a:lnTo>
                        <a:lnTo>
                          <a:pt x="10" y="273"/>
                        </a:lnTo>
                        <a:lnTo>
                          <a:pt x="9" y="273"/>
                        </a:lnTo>
                        <a:lnTo>
                          <a:pt x="5" y="271"/>
                        </a:lnTo>
                        <a:lnTo>
                          <a:pt x="9" y="270"/>
                        </a:lnTo>
                        <a:lnTo>
                          <a:pt x="9" y="268"/>
                        </a:lnTo>
                        <a:lnTo>
                          <a:pt x="7" y="268"/>
                        </a:lnTo>
                        <a:lnTo>
                          <a:pt x="9" y="266"/>
                        </a:lnTo>
                        <a:lnTo>
                          <a:pt x="7" y="265"/>
                        </a:lnTo>
                        <a:lnTo>
                          <a:pt x="7" y="266"/>
                        </a:lnTo>
                        <a:lnTo>
                          <a:pt x="5" y="268"/>
                        </a:lnTo>
                        <a:lnTo>
                          <a:pt x="5" y="266"/>
                        </a:lnTo>
                        <a:lnTo>
                          <a:pt x="5" y="265"/>
                        </a:lnTo>
                        <a:lnTo>
                          <a:pt x="4" y="265"/>
                        </a:lnTo>
                        <a:lnTo>
                          <a:pt x="2" y="263"/>
                        </a:lnTo>
                        <a:lnTo>
                          <a:pt x="2" y="261"/>
                        </a:lnTo>
                        <a:lnTo>
                          <a:pt x="2" y="258"/>
                        </a:lnTo>
                        <a:lnTo>
                          <a:pt x="2" y="256"/>
                        </a:lnTo>
                        <a:lnTo>
                          <a:pt x="0" y="254"/>
                        </a:lnTo>
                        <a:lnTo>
                          <a:pt x="0" y="253"/>
                        </a:lnTo>
                        <a:lnTo>
                          <a:pt x="2" y="249"/>
                        </a:lnTo>
                        <a:lnTo>
                          <a:pt x="4" y="249"/>
                        </a:lnTo>
                        <a:lnTo>
                          <a:pt x="4" y="251"/>
                        </a:lnTo>
                        <a:lnTo>
                          <a:pt x="4" y="254"/>
                        </a:lnTo>
                        <a:lnTo>
                          <a:pt x="5" y="253"/>
                        </a:lnTo>
                        <a:lnTo>
                          <a:pt x="5" y="254"/>
                        </a:lnTo>
                        <a:lnTo>
                          <a:pt x="9" y="253"/>
                        </a:lnTo>
                        <a:lnTo>
                          <a:pt x="10" y="244"/>
                        </a:lnTo>
                        <a:lnTo>
                          <a:pt x="9" y="243"/>
                        </a:lnTo>
                        <a:lnTo>
                          <a:pt x="9" y="239"/>
                        </a:lnTo>
                        <a:lnTo>
                          <a:pt x="10" y="238"/>
                        </a:lnTo>
                        <a:lnTo>
                          <a:pt x="12" y="234"/>
                        </a:lnTo>
                        <a:lnTo>
                          <a:pt x="12" y="231"/>
                        </a:lnTo>
                        <a:lnTo>
                          <a:pt x="15" y="231"/>
                        </a:lnTo>
                        <a:lnTo>
                          <a:pt x="21" y="229"/>
                        </a:lnTo>
                        <a:lnTo>
                          <a:pt x="22" y="226"/>
                        </a:lnTo>
                        <a:lnTo>
                          <a:pt x="22" y="224"/>
                        </a:lnTo>
                        <a:lnTo>
                          <a:pt x="21" y="222"/>
                        </a:lnTo>
                        <a:lnTo>
                          <a:pt x="22" y="217"/>
                        </a:lnTo>
                        <a:lnTo>
                          <a:pt x="24" y="216"/>
                        </a:lnTo>
                        <a:lnTo>
                          <a:pt x="22" y="214"/>
                        </a:lnTo>
                        <a:lnTo>
                          <a:pt x="21" y="209"/>
                        </a:lnTo>
                        <a:lnTo>
                          <a:pt x="17" y="206"/>
                        </a:lnTo>
                        <a:lnTo>
                          <a:pt x="19" y="204"/>
                        </a:lnTo>
                        <a:lnTo>
                          <a:pt x="22" y="202"/>
                        </a:lnTo>
                        <a:lnTo>
                          <a:pt x="26" y="201"/>
                        </a:lnTo>
                        <a:lnTo>
                          <a:pt x="27" y="197"/>
                        </a:lnTo>
                        <a:lnTo>
                          <a:pt x="27" y="192"/>
                        </a:lnTo>
                        <a:lnTo>
                          <a:pt x="21" y="189"/>
                        </a:lnTo>
                        <a:lnTo>
                          <a:pt x="19" y="185"/>
                        </a:lnTo>
                        <a:lnTo>
                          <a:pt x="17" y="182"/>
                        </a:lnTo>
                        <a:lnTo>
                          <a:pt x="17" y="177"/>
                        </a:lnTo>
                        <a:lnTo>
                          <a:pt x="19" y="174"/>
                        </a:lnTo>
                        <a:lnTo>
                          <a:pt x="17" y="170"/>
                        </a:lnTo>
                        <a:lnTo>
                          <a:pt x="15" y="170"/>
                        </a:lnTo>
                        <a:lnTo>
                          <a:pt x="15" y="167"/>
                        </a:lnTo>
                        <a:lnTo>
                          <a:pt x="17" y="165"/>
                        </a:lnTo>
                        <a:lnTo>
                          <a:pt x="17" y="163"/>
                        </a:lnTo>
                        <a:lnTo>
                          <a:pt x="17" y="162"/>
                        </a:lnTo>
                        <a:lnTo>
                          <a:pt x="17" y="158"/>
                        </a:lnTo>
                        <a:lnTo>
                          <a:pt x="19" y="157"/>
                        </a:lnTo>
                        <a:lnTo>
                          <a:pt x="21" y="155"/>
                        </a:lnTo>
                        <a:lnTo>
                          <a:pt x="19" y="153"/>
                        </a:lnTo>
                        <a:lnTo>
                          <a:pt x="17" y="152"/>
                        </a:lnTo>
                        <a:lnTo>
                          <a:pt x="15" y="147"/>
                        </a:lnTo>
                        <a:lnTo>
                          <a:pt x="17" y="143"/>
                        </a:lnTo>
                        <a:lnTo>
                          <a:pt x="19" y="140"/>
                        </a:lnTo>
                        <a:lnTo>
                          <a:pt x="22" y="136"/>
                        </a:lnTo>
                        <a:lnTo>
                          <a:pt x="26" y="135"/>
                        </a:lnTo>
                        <a:lnTo>
                          <a:pt x="31" y="131"/>
                        </a:lnTo>
                        <a:lnTo>
                          <a:pt x="37" y="131"/>
                        </a:lnTo>
                        <a:lnTo>
                          <a:pt x="42" y="131"/>
                        </a:lnTo>
                        <a:lnTo>
                          <a:pt x="46" y="131"/>
                        </a:lnTo>
                        <a:lnTo>
                          <a:pt x="49" y="130"/>
                        </a:lnTo>
                        <a:lnTo>
                          <a:pt x="49" y="126"/>
                        </a:lnTo>
                        <a:lnTo>
                          <a:pt x="49" y="123"/>
                        </a:lnTo>
                        <a:lnTo>
                          <a:pt x="47" y="121"/>
                        </a:lnTo>
                        <a:lnTo>
                          <a:pt x="44" y="118"/>
                        </a:lnTo>
                        <a:lnTo>
                          <a:pt x="42" y="116"/>
                        </a:lnTo>
                        <a:lnTo>
                          <a:pt x="46" y="113"/>
                        </a:lnTo>
                        <a:lnTo>
                          <a:pt x="49" y="110"/>
                        </a:lnTo>
                        <a:lnTo>
                          <a:pt x="53" y="104"/>
                        </a:lnTo>
                        <a:lnTo>
                          <a:pt x="54" y="103"/>
                        </a:lnTo>
                        <a:lnTo>
                          <a:pt x="56" y="93"/>
                        </a:lnTo>
                        <a:lnTo>
                          <a:pt x="56" y="86"/>
                        </a:lnTo>
                        <a:lnTo>
                          <a:pt x="56" y="83"/>
                        </a:lnTo>
                        <a:lnTo>
                          <a:pt x="56" y="79"/>
                        </a:lnTo>
                        <a:lnTo>
                          <a:pt x="58" y="79"/>
                        </a:lnTo>
                        <a:lnTo>
                          <a:pt x="61" y="79"/>
                        </a:lnTo>
                        <a:lnTo>
                          <a:pt x="64" y="77"/>
                        </a:lnTo>
                        <a:lnTo>
                          <a:pt x="66" y="76"/>
                        </a:lnTo>
                        <a:lnTo>
                          <a:pt x="68" y="74"/>
                        </a:lnTo>
                        <a:lnTo>
                          <a:pt x="68" y="71"/>
                        </a:lnTo>
                        <a:lnTo>
                          <a:pt x="69" y="67"/>
                        </a:lnTo>
                        <a:lnTo>
                          <a:pt x="73" y="64"/>
                        </a:lnTo>
                        <a:lnTo>
                          <a:pt x="76" y="61"/>
                        </a:lnTo>
                        <a:lnTo>
                          <a:pt x="78" y="59"/>
                        </a:lnTo>
                        <a:lnTo>
                          <a:pt x="83" y="56"/>
                        </a:lnTo>
                        <a:lnTo>
                          <a:pt x="85" y="54"/>
                        </a:lnTo>
                        <a:lnTo>
                          <a:pt x="85" y="52"/>
                        </a:lnTo>
                        <a:lnTo>
                          <a:pt x="85" y="51"/>
                        </a:lnTo>
                        <a:lnTo>
                          <a:pt x="83" y="47"/>
                        </a:lnTo>
                        <a:lnTo>
                          <a:pt x="81" y="45"/>
                        </a:lnTo>
                        <a:lnTo>
                          <a:pt x="81" y="44"/>
                        </a:lnTo>
                        <a:lnTo>
                          <a:pt x="86" y="40"/>
                        </a:lnTo>
                        <a:lnTo>
                          <a:pt x="88" y="39"/>
                        </a:lnTo>
                        <a:lnTo>
                          <a:pt x="88" y="35"/>
                        </a:lnTo>
                        <a:lnTo>
                          <a:pt x="90" y="32"/>
                        </a:lnTo>
                        <a:lnTo>
                          <a:pt x="91" y="30"/>
                        </a:lnTo>
                        <a:lnTo>
                          <a:pt x="95" y="29"/>
                        </a:lnTo>
                        <a:lnTo>
                          <a:pt x="96" y="27"/>
                        </a:lnTo>
                        <a:lnTo>
                          <a:pt x="100" y="27"/>
                        </a:lnTo>
                        <a:lnTo>
                          <a:pt x="103" y="27"/>
                        </a:lnTo>
                        <a:lnTo>
                          <a:pt x="107" y="30"/>
                        </a:lnTo>
                        <a:lnTo>
                          <a:pt x="108" y="30"/>
                        </a:lnTo>
                        <a:lnTo>
                          <a:pt x="110" y="27"/>
                        </a:lnTo>
                        <a:lnTo>
                          <a:pt x="112" y="24"/>
                        </a:lnTo>
                        <a:lnTo>
                          <a:pt x="112" y="22"/>
                        </a:lnTo>
                        <a:lnTo>
                          <a:pt x="112" y="20"/>
                        </a:lnTo>
                        <a:lnTo>
                          <a:pt x="112" y="17"/>
                        </a:lnTo>
                        <a:lnTo>
                          <a:pt x="113" y="15"/>
                        </a:lnTo>
                        <a:lnTo>
                          <a:pt x="115" y="15"/>
                        </a:lnTo>
                        <a:lnTo>
                          <a:pt x="117" y="15"/>
                        </a:lnTo>
                        <a:lnTo>
                          <a:pt x="120" y="15"/>
                        </a:lnTo>
                        <a:lnTo>
                          <a:pt x="123" y="15"/>
                        </a:lnTo>
                        <a:lnTo>
                          <a:pt x="127" y="15"/>
                        </a:lnTo>
                        <a:lnTo>
                          <a:pt x="128" y="15"/>
                        </a:lnTo>
                        <a:lnTo>
                          <a:pt x="132" y="17"/>
                        </a:lnTo>
                        <a:lnTo>
                          <a:pt x="133" y="17"/>
                        </a:lnTo>
                        <a:lnTo>
                          <a:pt x="137" y="17"/>
                        </a:lnTo>
                        <a:lnTo>
                          <a:pt x="139" y="18"/>
                        </a:lnTo>
                        <a:lnTo>
                          <a:pt x="140" y="17"/>
                        </a:lnTo>
                        <a:lnTo>
                          <a:pt x="142" y="17"/>
                        </a:lnTo>
                        <a:lnTo>
                          <a:pt x="142" y="15"/>
                        </a:lnTo>
                        <a:lnTo>
                          <a:pt x="140" y="15"/>
                        </a:lnTo>
                        <a:lnTo>
                          <a:pt x="140" y="12"/>
                        </a:lnTo>
                        <a:lnTo>
                          <a:pt x="142" y="10"/>
                        </a:lnTo>
                        <a:lnTo>
                          <a:pt x="142" y="8"/>
                        </a:lnTo>
                        <a:lnTo>
                          <a:pt x="144" y="7"/>
                        </a:lnTo>
                        <a:lnTo>
                          <a:pt x="144" y="5"/>
                        </a:lnTo>
                        <a:lnTo>
                          <a:pt x="144" y="3"/>
                        </a:lnTo>
                        <a:lnTo>
                          <a:pt x="142" y="2"/>
                        </a:lnTo>
                        <a:lnTo>
                          <a:pt x="142" y="0"/>
                        </a:lnTo>
                        <a:lnTo>
                          <a:pt x="144" y="0"/>
                        </a:lnTo>
                        <a:lnTo>
                          <a:pt x="145" y="0"/>
                        </a:lnTo>
                        <a:lnTo>
                          <a:pt x="147" y="0"/>
                        </a:lnTo>
                        <a:lnTo>
                          <a:pt x="149" y="0"/>
                        </a:lnTo>
                        <a:lnTo>
                          <a:pt x="150" y="0"/>
                        </a:lnTo>
                        <a:lnTo>
                          <a:pt x="152" y="2"/>
                        </a:lnTo>
                        <a:lnTo>
                          <a:pt x="154" y="3"/>
                        </a:lnTo>
                        <a:lnTo>
                          <a:pt x="155" y="3"/>
                        </a:lnTo>
                        <a:lnTo>
                          <a:pt x="159" y="7"/>
                        </a:lnTo>
                        <a:lnTo>
                          <a:pt x="164" y="10"/>
                        </a:lnTo>
                        <a:lnTo>
                          <a:pt x="167" y="12"/>
                        </a:lnTo>
                        <a:lnTo>
                          <a:pt x="172" y="15"/>
                        </a:lnTo>
                        <a:lnTo>
                          <a:pt x="177" y="15"/>
                        </a:lnTo>
                        <a:lnTo>
                          <a:pt x="182" y="17"/>
                        </a:lnTo>
                        <a:lnTo>
                          <a:pt x="187" y="20"/>
                        </a:lnTo>
                        <a:lnTo>
                          <a:pt x="191" y="24"/>
                        </a:lnTo>
                        <a:lnTo>
                          <a:pt x="194" y="27"/>
                        </a:lnTo>
                        <a:lnTo>
                          <a:pt x="196" y="30"/>
                        </a:lnTo>
                        <a:lnTo>
                          <a:pt x="198" y="32"/>
                        </a:lnTo>
                        <a:lnTo>
                          <a:pt x="196" y="34"/>
                        </a:lnTo>
                        <a:lnTo>
                          <a:pt x="196" y="37"/>
                        </a:lnTo>
                        <a:lnTo>
                          <a:pt x="196" y="40"/>
                        </a:lnTo>
                        <a:lnTo>
                          <a:pt x="196" y="44"/>
                        </a:lnTo>
                        <a:lnTo>
                          <a:pt x="198" y="44"/>
                        </a:lnTo>
                        <a:lnTo>
                          <a:pt x="198" y="47"/>
                        </a:lnTo>
                        <a:lnTo>
                          <a:pt x="198" y="49"/>
                        </a:lnTo>
                        <a:lnTo>
                          <a:pt x="196" y="51"/>
                        </a:lnTo>
                        <a:lnTo>
                          <a:pt x="196" y="54"/>
                        </a:lnTo>
                        <a:lnTo>
                          <a:pt x="199" y="57"/>
                        </a:lnTo>
                        <a:lnTo>
                          <a:pt x="201" y="61"/>
                        </a:lnTo>
                        <a:lnTo>
                          <a:pt x="203" y="62"/>
                        </a:lnTo>
                        <a:lnTo>
                          <a:pt x="203" y="66"/>
                        </a:lnTo>
                        <a:lnTo>
                          <a:pt x="203" y="67"/>
                        </a:lnTo>
                        <a:lnTo>
                          <a:pt x="199" y="69"/>
                        </a:lnTo>
                        <a:lnTo>
                          <a:pt x="199" y="72"/>
                        </a:lnTo>
                        <a:lnTo>
                          <a:pt x="199" y="77"/>
                        </a:lnTo>
                        <a:lnTo>
                          <a:pt x="203" y="81"/>
                        </a:lnTo>
                        <a:lnTo>
                          <a:pt x="204" y="83"/>
                        </a:lnTo>
                        <a:lnTo>
                          <a:pt x="204" y="86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57" name="Freeform 131">
                    <a:extLst>
                      <a:ext uri="{FF2B5EF4-FFF2-40B4-BE49-F238E27FC236}">
                        <a16:creationId xmlns:a16="http://schemas.microsoft.com/office/drawing/2014/main" id="{6B83CB1B-8673-F744-8CF0-1FEDD991FB7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2" y="57"/>
                    <a:ext cx="204" cy="332"/>
                  </a:xfrm>
                  <a:custGeom>
                    <a:avLst/>
                    <a:gdLst>
                      <a:gd name="T0" fmla="*/ 191 w 204"/>
                      <a:gd name="T1" fmla="*/ 86 h 332"/>
                      <a:gd name="T2" fmla="*/ 181 w 204"/>
                      <a:gd name="T3" fmla="*/ 86 h 332"/>
                      <a:gd name="T4" fmla="*/ 174 w 204"/>
                      <a:gd name="T5" fmla="*/ 89 h 332"/>
                      <a:gd name="T6" fmla="*/ 171 w 204"/>
                      <a:gd name="T7" fmla="*/ 96 h 332"/>
                      <a:gd name="T8" fmla="*/ 164 w 204"/>
                      <a:gd name="T9" fmla="*/ 101 h 332"/>
                      <a:gd name="T10" fmla="*/ 160 w 204"/>
                      <a:gd name="T11" fmla="*/ 115 h 332"/>
                      <a:gd name="T12" fmla="*/ 162 w 204"/>
                      <a:gd name="T13" fmla="*/ 123 h 332"/>
                      <a:gd name="T14" fmla="*/ 154 w 204"/>
                      <a:gd name="T15" fmla="*/ 130 h 332"/>
                      <a:gd name="T16" fmla="*/ 144 w 204"/>
                      <a:gd name="T17" fmla="*/ 140 h 332"/>
                      <a:gd name="T18" fmla="*/ 128 w 204"/>
                      <a:gd name="T19" fmla="*/ 145 h 332"/>
                      <a:gd name="T20" fmla="*/ 118 w 204"/>
                      <a:gd name="T21" fmla="*/ 153 h 332"/>
                      <a:gd name="T22" fmla="*/ 113 w 204"/>
                      <a:gd name="T23" fmla="*/ 158 h 332"/>
                      <a:gd name="T24" fmla="*/ 105 w 204"/>
                      <a:gd name="T25" fmla="*/ 160 h 332"/>
                      <a:gd name="T26" fmla="*/ 98 w 204"/>
                      <a:gd name="T27" fmla="*/ 169 h 332"/>
                      <a:gd name="T28" fmla="*/ 98 w 204"/>
                      <a:gd name="T29" fmla="*/ 185 h 332"/>
                      <a:gd name="T30" fmla="*/ 95 w 204"/>
                      <a:gd name="T31" fmla="*/ 194 h 332"/>
                      <a:gd name="T32" fmla="*/ 96 w 204"/>
                      <a:gd name="T33" fmla="*/ 211 h 332"/>
                      <a:gd name="T34" fmla="*/ 86 w 204"/>
                      <a:gd name="T35" fmla="*/ 222 h 332"/>
                      <a:gd name="T36" fmla="*/ 96 w 204"/>
                      <a:gd name="T37" fmla="*/ 221 h 332"/>
                      <a:gd name="T38" fmla="*/ 108 w 204"/>
                      <a:gd name="T39" fmla="*/ 217 h 332"/>
                      <a:gd name="T40" fmla="*/ 120 w 204"/>
                      <a:gd name="T41" fmla="*/ 228 h 332"/>
                      <a:gd name="T42" fmla="*/ 113 w 204"/>
                      <a:gd name="T43" fmla="*/ 241 h 332"/>
                      <a:gd name="T44" fmla="*/ 95 w 204"/>
                      <a:gd name="T45" fmla="*/ 241 h 332"/>
                      <a:gd name="T46" fmla="*/ 83 w 204"/>
                      <a:gd name="T47" fmla="*/ 241 h 332"/>
                      <a:gd name="T48" fmla="*/ 107 w 204"/>
                      <a:gd name="T49" fmla="*/ 244 h 332"/>
                      <a:gd name="T50" fmla="*/ 112 w 204"/>
                      <a:gd name="T51" fmla="*/ 244 h 332"/>
                      <a:gd name="T52" fmla="*/ 101 w 204"/>
                      <a:gd name="T53" fmla="*/ 249 h 332"/>
                      <a:gd name="T54" fmla="*/ 90 w 204"/>
                      <a:gd name="T55" fmla="*/ 260 h 332"/>
                      <a:gd name="T56" fmla="*/ 90 w 204"/>
                      <a:gd name="T57" fmla="*/ 265 h 332"/>
                      <a:gd name="T58" fmla="*/ 88 w 204"/>
                      <a:gd name="T59" fmla="*/ 271 h 332"/>
                      <a:gd name="T60" fmla="*/ 86 w 204"/>
                      <a:gd name="T61" fmla="*/ 278 h 332"/>
                      <a:gd name="T62" fmla="*/ 83 w 204"/>
                      <a:gd name="T63" fmla="*/ 298 h 332"/>
                      <a:gd name="T64" fmla="*/ 63 w 204"/>
                      <a:gd name="T65" fmla="*/ 315 h 332"/>
                      <a:gd name="T66" fmla="*/ 49 w 204"/>
                      <a:gd name="T67" fmla="*/ 332 h 332"/>
                      <a:gd name="T68" fmla="*/ 29 w 204"/>
                      <a:gd name="T69" fmla="*/ 330 h 332"/>
                      <a:gd name="T70" fmla="*/ 22 w 204"/>
                      <a:gd name="T71" fmla="*/ 314 h 332"/>
                      <a:gd name="T72" fmla="*/ 29 w 204"/>
                      <a:gd name="T73" fmla="*/ 308 h 332"/>
                      <a:gd name="T74" fmla="*/ 15 w 204"/>
                      <a:gd name="T75" fmla="*/ 288 h 332"/>
                      <a:gd name="T76" fmla="*/ 10 w 204"/>
                      <a:gd name="T77" fmla="*/ 278 h 332"/>
                      <a:gd name="T78" fmla="*/ 7 w 204"/>
                      <a:gd name="T79" fmla="*/ 268 h 332"/>
                      <a:gd name="T80" fmla="*/ 2 w 204"/>
                      <a:gd name="T81" fmla="*/ 263 h 332"/>
                      <a:gd name="T82" fmla="*/ 4 w 204"/>
                      <a:gd name="T83" fmla="*/ 251 h 332"/>
                      <a:gd name="T84" fmla="*/ 10 w 204"/>
                      <a:gd name="T85" fmla="*/ 238 h 332"/>
                      <a:gd name="T86" fmla="*/ 22 w 204"/>
                      <a:gd name="T87" fmla="*/ 217 h 332"/>
                      <a:gd name="T88" fmla="*/ 27 w 204"/>
                      <a:gd name="T89" fmla="*/ 197 h 332"/>
                      <a:gd name="T90" fmla="*/ 15 w 204"/>
                      <a:gd name="T91" fmla="*/ 170 h 332"/>
                      <a:gd name="T92" fmla="*/ 19 w 204"/>
                      <a:gd name="T93" fmla="*/ 153 h 332"/>
                      <a:gd name="T94" fmla="*/ 37 w 204"/>
                      <a:gd name="T95" fmla="*/ 131 h 332"/>
                      <a:gd name="T96" fmla="*/ 42 w 204"/>
                      <a:gd name="T97" fmla="*/ 116 h 332"/>
                      <a:gd name="T98" fmla="*/ 56 w 204"/>
                      <a:gd name="T99" fmla="*/ 79 h 332"/>
                      <a:gd name="T100" fmla="*/ 73 w 204"/>
                      <a:gd name="T101" fmla="*/ 64 h 332"/>
                      <a:gd name="T102" fmla="*/ 81 w 204"/>
                      <a:gd name="T103" fmla="*/ 45 h 332"/>
                      <a:gd name="T104" fmla="*/ 96 w 204"/>
                      <a:gd name="T105" fmla="*/ 27 h 332"/>
                      <a:gd name="T106" fmla="*/ 112 w 204"/>
                      <a:gd name="T107" fmla="*/ 20 h 332"/>
                      <a:gd name="T108" fmla="*/ 128 w 204"/>
                      <a:gd name="T109" fmla="*/ 15 h 332"/>
                      <a:gd name="T110" fmla="*/ 140 w 204"/>
                      <a:gd name="T111" fmla="*/ 15 h 332"/>
                      <a:gd name="T112" fmla="*/ 142 w 204"/>
                      <a:gd name="T113" fmla="*/ 0 h 332"/>
                      <a:gd name="T114" fmla="*/ 155 w 204"/>
                      <a:gd name="T115" fmla="*/ 3 h 332"/>
                      <a:gd name="T116" fmla="*/ 191 w 204"/>
                      <a:gd name="T117" fmla="*/ 24 h 332"/>
                      <a:gd name="T118" fmla="*/ 198 w 204"/>
                      <a:gd name="T119" fmla="*/ 44 h 332"/>
                      <a:gd name="T120" fmla="*/ 203 w 204"/>
                      <a:gd name="T121" fmla="*/ 66 h 3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204" h="332">
                        <a:moveTo>
                          <a:pt x="204" y="86"/>
                        </a:moveTo>
                        <a:lnTo>
                          <a:pt x="203" y="86"/>
                        </a:lnTo>
                        <a:lnTo>
                          <a:pt x="203" y="88"/>
                        </a:lnTo>
                        <a:lnTo>
                          <a:pt x="201" y="86"/>
                        </a:lnTo>
                        <a:lnTo>
                          <a:pt x="198" y="86"/>
                        </a:lnTo>
                        <a:lnTo>
                          <a:pt x="196" y="86"/>
                        </a:lnTo>
                        <a:lnTo>
                          <a:pt x="192" y="86"/>
                        </a:lnTo>
                        <a:lnTo>
                          <a:pt x="191" y="86"/>
                        </a:lnTo>
                        <a:lnTo>
                          <a:pt x="189" y="88"/>
                        </a:lnTo>
                        <a:lnTo>
                          <a:pt x="187" y="88"/>
                        </a:lnTo>
                        <a:lnTo>
                          <a:pt x="186" y="88"/>
                        </a:lnTo>
                        <a:lnTo>
                          <a:pt x="186" y="86"/>
                        </a:lnTo>
                        <a:lnTo>
                          <a:pt x="184" y="84"/>
                        </a:lnTo>
                        <a:lnTo>
                          <a:pt x="182" y="84"/>
                        </a:lnTo>
                        <a:lnTo>
                          <a:pt x="182" y="86"/>
                        </a:lnTo>
                        <a:lnTo>
                          <a:pt x="181" y="86"/>
                        </a:lnTo>
                        <a:lnTo>
                          <a:pt x="179" y="86"/>
                        </a:lnTo>
                        <a:lnTo>
                          <a:pt x="179" y="84"/>
                        </a:lnTo>
                        <a:lnTo>
                          <a:pt x="177" y="84"/>
                        </a:lnTo>
                        <a:lnTo>
                          <a:pt x="177" y="86"/>
                        </a:lnTo>
                        <a:lnTo>
                          <a:pt x="177" y="89"/>
                        </a:lnTo>
                        <a:lnTo>
                          <a:pt x="176" y="89"/>
                        </a:lnTo>
                        <a:lnTo>
                          <a:pt x="176" y="91"/>
                        </a:lnTo>
                        <a:lnTo>
                          <a:pt x="174" y="89"/>
                        </a:lnTo>
                        <a:lnTo>
                          <a:pt x="172" y="89"/>
                        </a:lnTo>
                        <a:lnTo>
                          <a:pt x="171" y="89"/>
                        </a:lnTo>
                        <a:lnTo>
                          <a:pt x="172" y="91"/>
                        </a:lnTo>
                        <a:lnTo>
                          <a:pt x="174" y="93"/>
                        </a:lnTo>
                        <a:lnTo>
                          <a:pt x="172" y="93"/>
                        </a:lnTo>
                        <a:lnTo>
                          <a:pt x="171" y="93"/>
                        </a:lnTo>
                        <a:lnTo>
                          <a:pt x="171" y="94"/>
                        </a:lnTo>
                        <a:lnTo>
                          <a:pt x="171" y="96"/>
                        </a:lnTo>
                        <a:lnTo>
                          <a:pt x="169" y="96"/>
                        </a:lnTo>
                        <a:lnTo>
                          <a:pt x="167" y="96"/>
                        </a:lnTo>
                        <a:lnTo>
                          <a:pt x="166" y="96"/>
                        </a:lnTo>
                        <a:lnTo>
                          <a:pt x="166" y="98"/>
                        </a:lnTo>
                        <a:lnTo>
                          <a:pt x="162" y="98"/>
                        </a:lnTo>
                        <a:lnTo>
                          <a:pt x="162" y="99"/>
                        </a:lnTo>
                        <a:lnTo>
                          <a:pt x="164" y="99"/>
                        </a:lnTo>
                        <a:lnTo>
                          <a:pt x="164" y="101"/>
                        </a:lnTo>
                        <a:lnTo>
                          <a:pt x="166" y="103"/>
                        </a:lnTo>
                        <a:lnTo>
                          <a:pt x="164" y="104"/>
                        </a:lnTo>
                        <a:lnTo>
                          <a:pt x="164" y="106"/>
                        </a:lnTo>
                        <a:lnTo>
                          <a:pt x="162" y="108"/>
                        </a:lnTo>
                        <a:lnTo>
                          <a:pt x="160" y="110"/>
                        </a:lnTo>
                        <a:lnTo>
                          <a:pt x="159" y="111"/>
                        </a:lnTo>
                        <a:lnTo>
                          <a:pt x="159" y="113"/>
                        </a:lnTo>
                        <a:lnTo>
                          <a:pt x="160" y="115"/>
                        </a:lnTo>
                        <a:lnTo>
                          <a:pt x="159" y="115"/>
                        </a:lnTo>
                        <a:lnTo>
                          <a:pt x="160" y="116"/>
                        </a:lnTo>
                        <a:lnTo>
                          <a:pt x="162" y="118"/>
                        </a:lnTo>
                        <a:lnTo>
                          <a:pt x="164" y="120"/>
                        </a:lnTo>
                        <a:lnTo>
                          <a:pt x="166" y="121"/>
                        </a:lnTo>
                        <a:lnTo>
                          <a:pt x="164" y="123"/>
                        </a:lnTo>
                        <a:lnTo>
                          <a:pt x="162" y="125"/>
                        </a:lnTo>
                        <a:lnTo>
                          <a:pt x="162" y="123"/>
                        </a:lnTo>
                        <a:lnTo>
                          <a:pt x="162" y="121"/>
                        </a:lnTo>
                        <a:lnTo>
                          <a:pt x="160" y="123"/>
                        </a:lnTo>
                        <a:lnTo>
                          <a:pt x="160" y="125"/>
                        </a:lnTo>
                        <a:lnTo>
                          <a:pt x="159" y="125"/>
                        </a:lnTo>
                        <a:lnTo>
                          <a:pt x="159" y="126"/>
                        </a:lnTo>
                        <a:lnTo>
                          <a:pt x="157" y="128"/>
                        </a:lnTo>
                        <a:lnTo>
                          <a:pt x="155" y="130"/>
                        </a:lnTo>
                        <a:lnTo>
                          <a:pt x="154" y="130"/>
                        </a:lnTo>
                        <a:lnTo>
                          <a:pt x="154" y="131"/>
                        </a:lnTo>
                        <a:lnTo>
                          <a:pt x="152" y="135"/>
                        </a:lnTo>
                        <a:lnTo>
                          <a:pt x="150" y="136"/>
                        </a:lnTo>
                        <a:lnTo>
                          <a:pt x="149" y="136"/>
                        </a:lnTo>
                        <a:lnTo>
                          <a:pt x="149" y="138"/>
                        </a:lnTo>
                        <a:lnTo>
                          <a:pt x="147" y="138"/>
                        </a:lnTo>
                        <a:lnTo>
                          <a:pt x="145" y="140"/>
                        </a:lnTo>
                        <a:lnTo>
                          <a:pt x="144" y="140"/>
                        </a:lnTo>
                        <a:lnTo>
                          <a:pt x="142" y="140"/>
                        </a:lnTo>
                        <a:lnTo>
                          <a:pt x="139" y="142"/>
                        </a:lnTo>
                        <a:lnTo>
                          <a:pt x="139" y="143"/>
                        </a:lnTo>
                        <a:lnTo>
                          <a:pt x="137" y="143"/>
                        </a:lnTo>
                        <a:lnTo>
                          <a:pt x="135" y="145"/>
                        </a:lnTo>
                        <a:lnTo>
                          <a:pt x="133" y="143"/>
                        </a:lnTo>
                        <a:lnTo>
                          <a:pt x="132" y="145"/>
                        </a:lnTo>
                        <a:lnTo>
                          <a:pt x="128" y="145"/>
                        </a:lnTo>
                        <a:lnTo>
                          <a:pt x="128" y="148"/>
                        </a:lnTo>
                        <a:lnTo>
                          <a:pt x="127" y="148"/>
                        </a:lnTo>
                        <a:lnTo>
                          <a:pt x="125" y="150"/>
                        </a:lnTo>
                        <a:lnTo>
                          <a:pt x="122" y="148"/>
                        </a:lnTo>
                        <a:lnTo>
                          <a:pt x="120" y="150"/>
                        </a:lnTo>
                        <a:lnTo>
                          <a:pt x="120" y="152"/>
                        </a:lnTo>
                        <a:lnTo>
                          <a:pt x="118" y="152"/>
                        </a:lnTo>
                        <a:lnTo>
                          <a:pt x="118" y="153"/>
                        </a:lnTo>
                        <a:lnTo>
                          <a:pt x="115" y="155"/>
                        </a:lnTo>
                        <a:lnTo>
                          <a:pt x="117" y="155"/>
                        </a:lnTo>
                        <a:lnTo>
                          <a:pt x="115" y="157"/>
                        </a:lnTo>
                        <a:lnTo>
                          <a:pt x="113" y="157"/>
                        </a:lnTo>
                        <a:lnTo>
                          <a:pt x="112" y="157"/>
                        </a:lnTo>
                        <a:lnTo>
                          <a:pt x="113" y="157"/>
                        </a:lnTo>
                        <a:lnTo>
                          <a:pt x="115" y="158"/>
                        </a:lnTo>
                        <a:lnTo>
                          <a:pt x="113" y="158"/>
                        </a:lnTo>
                        <a:lnTo>
                          <a:pt x="113" y="160"/>
                        </a:lnTo>
                        <a:lnTo>
                          <a:pt x="112" y="160"/>
                        </a:lnTo>
                        <a:lnTo>
                          <a:pt x="110" y="162"/>
                        </a:lnTo>
                        <a:lnTo>
                          <a:pt x="108" y="162"/>
                        </a:lnTo>
                        <a:lnTo>
                          <a:pt x="107" y="160"/>
                        </a:lnTo>
                        <a:lnTo>
                          <a:pt x="105" y="160"/>
                        </a:lnTo>
                        <a:lnTo>
                          <a:pt x="105" y="158"/>
                        </a:lnTo>
                        <a:lnTo>
                          <a:pt x="105" y="160"/>
                        </a:lnTo>
                        <a:lnTo>
                          <a:pt x="107" y="163"/>
                        </a:lnTo>
                        <a:lnTo>
                          <a:pt x="107" y="165"/>
                        </a:lnTo>
                        <a:lnTo>
                          <a:pt x="105" y="165"/>
                        </a:lnTo>
                        <a:lnTo>
                          <a:pt x="107" y="167"/>
                        </a:lnTo>
                        <a:lnTo>
                          <a:pt x="105" y="169"/>
                        </a:lnTo>
                        <a:lnTo>
                          <a:pt x="103" y="170"/>
                        </a:lnTo>
                        <a:lnTo>
                          <a:pt x="100" y="169"/>
                        </a:lnTo>
                        <a:lnTo>
                          <a:pt x="98" y="169"/>
                        </a:lnTo>
                        <a:lnTo>
                          <a:pt x="98" y="172"/>
                        </a:lnTo>
                        <a:lnTo>
                          <a:pt x="98" y="174"/>
                        </a:lnTo>
                        <a:lnTo>
                          <a:pt x="101" y="175"/>
                        </a:lnTo>
                        <a:lnTo>
                          <a:pt x="100" y="177"/>
                        </a:lnTo>
                        <a:lnTo>
                          <a:pt x="100" y="179"/>
                        </a:lnTo>
                        <a:lnTo>
                          <a:pt x="98" y="182"/>
                        </a:lnTo>
                        <a:lnTo>
                          <a:pt x="98" y="184"/>
                        </a:lnTo>
                        <a:lnTo>
                          <a:pt x="98" y="185"/>
                        </a:lnTo>
                        <a:lnTo>
                          <a:pt x="100" y="187"/>
                        </a:lnTo>
                        <a:lnTo>
                          <a:pt x="100" y="189"/>
                        </a:lnTo>
                        <a:lnTo>
                          <a:pt x="98" y="189"/>
                        </a:lnTo>
                        <a:lnTo>
                          <a:pt x="95" y="187"/>
                        </a:lnTo>
                        <a:lnTo>
                          <a:pt x="95" y="189"/>
                        </a:lnTo>
                        <a:lnTo>
                          <a:pt x="95" y="190"/>
                        </a:lnTo>
                        <a:lnTo>
                          <a:pt x="93" y="192"/>
                        </a:lnTo>
                        <a:lnTo>
                          <a:pt x="95" y="194"/>
                        </a:lnTo>
                        <a:lnTo>
                          <a:pt x="95" y="195"/>
                        </a:lnTo>
                        <a:lnTo>
                          <a:pt x="95" y="197"/>
                        </a:lnTo>
                        <a:lnTo>
                          <a:pt x="95" y="199"/>
                        </a:lnTo>
                        <a:lnTo>
                          <a:pt x="95" y="201"/>
                        </a:lnTo>
                        <a:lnTo>
                          <a:pt x="95" y="204"/>
                        </a:lnTo>
                        <a:lnTo>
                          <a:pt x="95" y="206"/>
                        </a:lnTo>
                        <a:lnTo>
                          <a:pt x="96" y="207"/>
                        </a:lnTo>
                        <a:lnTo>
                          <a:pt x="96" y="211"/>
                        </a:lnTo>
                        <a:lnTo>
                          <a:pt x="95" y="212"/>
                        </a:lnTo>
                        <a:lnTo>
                          <a:pt x="98" y="212"/>
                        </a:lnTo>
                        <a:lnTo>
                          <a:pt x="98" y="216"/>
                        </a:lnTo>
                        <a:lnTo>
                          <a:pt x="96" y="217"/>
                        </a:lnTo>
                        <a:lnTo>
                          <a:pt x="95" y="219"/>
                        </a:lnTo>
                        <a:lnTo>
                          <a:pt x="91" y="221"/>
                        </a:lnTo>
                        <a:lnTo>
                          <a:pt x="90" y="221"/>
                        </a:lnTo>
                        <a:lnTo>
                          <a:pt x="86" y="222"/>
                        </a:lnTo>
                        <a:lnTo>
                          <a:pt x="83" y="224"/>
                        </a:lnTo>
                        <a:lnTo>
                          <a:pt x="81" y="224"/>
                        </a:lnTo>
                        <a:lnTo>
                          <a:pt x="83" y="226"/>
                        </a:lnTo>
                        <a:lnTo>
                          <a:pt x="86" y="224"/>
                        </a:lnTo>
                        <a:lnTo>
                          <a:pt x="90" y="224"/>
                        </a:lnTo>
                        <a:lnTo>
                          <a:pt x="91" y="224"/>
                        </a:lnTo>
                        <a:lnTo>
                          <a:pt x="93" y="222"/>
                        </a:lnTo>
                        <a:lnTo>
                          <a:pt x="96" y="221"/>
                        </a:lnTo>
                        <a:lnTo>
                          <a:pt x="98" y="217"/>
                        </a:lnTo>
                        <a:lnTo>
                          <a:pt x="100" y="216"/>
                        </a:lnTo>
                        <a:lnTo>
                          <a:pt x="100" y="214"/>
                        </a:lnTo>
                        <a:lnTo>
                          <a:pt x="101" y="214"/>
                        </a:lnTo>
                        <a:lnTo>
                          <a:pt x="103" y="216"/>
                        </a:lnTo>
                        <a:lnTo>
                          <a:pt x="105" y="216"/>
                        </a:lnTo>
                        <a:lnTo>
                          <a:pt x="108" y="216"/>
                        </a:lnTo>
                        <a:lnTo>
                          <a:pt x="108" y="217"/>
                        </a:lnTo>
                        <a:lnTo>
                          <a:pt x="110" y="219"/>
                        </a:lnTo>
                        <a:lnTo>
                          <a:pt x="112" y="221"/>
                        </a:lnTo>
                        <a:lnTo>
                          <a:pt x="115" y="221"/>
                        </a:lnTo>
                        <a:lnTo>
                          <a:pt x="115" y="222"/>
                        </a:lnTo>
                        <a:lnTo>
                          <a:pt x="113" y="222"/>
                        </a:lnTo>
                        <a:lnTo>
                          <a:pt x="115" y="224"/>
                        </a:lnTo>
                        <a:lnTo>
                          <a:pt x="117" y="226"/>
                        </a:lnTo>
                        <a:lnTo>
                          <a:pt x="120" y="228"/>
                        </a:lnTo>
                        <a:lnTo>
                          <a:pt x="122" y="229"/>
                        </a:lnTo>
                        <a:lnTo>
                          <a:pt x="122" y="231"/>
                        </a:lnTo>
                        <a:lnTo>
                          <a:pt x="120" y="233"/>
                        </a:lnTo>
                        <a:lnTo>
                          <a:pt x="120" y="234"/>
                        </a:lnTo>
                        <a:lnTo>
                          <a:pt x="118" y="236"/>
                        </a:lnTo>
                        <a:lnTo>
                          <a:pt x="117" y="238"/>
                        </a:lnTo>
                        <a:lnTo>
                          <a:pt x="117" y="239"/>
                        </a:lnTo>
                        <a:lnTo>
                          <a:pt x="113" y="241"/>
                        </a:lnTo>
                        <a:lnTo>
                          <a:pt x="108" y="243"/>
                        </a:lnTo>
                        <a:lnTo>
                          <a:pt x="107" y="243"/>
                        </a:lnTo>
                        <a:lnTo>
                          <a:pt x="105" y="243"/>
                        </a:lnTo>
                        <a:lnTo>
                          <a:pt x="103" y="239"/>
                        </a:lnTo>
                        <a:lnTo>
                          <a:pt x="101" y="241"/>
                        </a:lnTo>
                        <a:lnTo>
                          <a:pt x="100" y="239"/>
                        </a:lnTo>
                        <a:lnTo>
                          <a:pt x="98" y="239"/>
                        </a:lnTo>
                        <a:lnTo>
                          <a:pt x="95" y="241"/>
                        </a:lnTo>
                        <a:lnTo>
                          <a:pt x="93" y="238"/>
                        </a:lnTo>
                        <a:lnTo>
                          <a:pt x="93" y="239"/>
                        </a:lnTo>
                        <a:lnTo>
                          <a:pt x="90" y="238"/>
                        </a:lnTo>
                        <a:lnTo>
                          <a:pt x="86" y="239"/>
                        </a:lnTo>
                        <a:lnTo>
                          <a:pt x="85" y="238"/>
                        </a:lnTo>
                        <a:lnTo>
                          <a:pt x="83" y="239"/>
                        </a:lnTo>
                        <a:lnTo>
                          <a:pt x="81" y="241"/>
                        </a:lnTo>
                        <a:lnTo>
                          <a:pt x="83" y="241"/>
                        </a:lnTo>
                        <a:lnTo>
                          <a:pt x="88" y="241"/>
                        </a:lnTo>
                        <a:lnTo>
                          <a:pt x="91" y="241"/>
                        </a:lnTo>
                        <a:lnTo>
                          <a:pt x="95" y="243"/>
                        </a:lnTo>
                        <a:lnTo>
                          <a:pt x="96" y="244"/>
                        </a:lnTo>
                        <a:lnTo>
                          <a:pt x="96" y="246"/>
                        </a:lnTo>
                        <a:lnTo>
                          <a:pt x="98" y="244"/>
                        </a:lnTo>
                        <a:lnTo>
                          <a:pt x="101" y="244"/>
                        </a:lnTo>
                        <a:lnTo>
                          <a:pt x="107" y="244"/>
                        </a:lnTo>
                        <a:lnTo>
                          <a:pt x="112" y="244"/>
                        </a:lnTo>
                        <a:lnTo>
                          <a:pt x="115" y="243"/>
                        </a:lnTo>
                        <a:lnTo>
                          <a:pt x="117" y="243"/>
                        </a:lnTo>
                        <a:lnTo>
                          <a:pt x="117" y="244"/>
                        </a:lnTo>
                        <a:lnTo>
                          <a:pt x="115" y="244"/>
                        </a:lnTo>
                        <a:lnTo>
                          <a:pt x="115" y="246"/>
                        </a:lnTo>
                        <a:lnTo>
                          <a:pt x="113" y="246"/>
                        </a:lnTo>
                        <a:lnTo>
                          <a:pt x="112" y="244"/>
                        </a:lnTo>
                        <a:lnTo>
                          <a:pt x="112" y="246"/>
                        </a:lnTo>
                        <a:lnTo>
                          <a:pt x="113" y="248"/>
                        </a:lnTo>
                        <a:lnTo>
                          <a:pt x="108" y="251"/>
                        </a:lnTo>
                        <a:lnTo>
                          <a:pt x="107" y="253"/>
                        </a:lnTo>
                        <a:lnTo>
                          <a:pt x="105" y="253"/>
                        </a:lnTo>
                        <a:lnTo>
                          <a:pt x="103" y="253"/>
                        </a:lnTo>
                        <a:lnTo>
                          <a:pt x="103" y="251"/>
                        </a:lnTo>
                        <a:lnTo>
                          <a:pt x="101" y="249"/>
                        </a:lnTo>
                        <a:lnTo>
                          <a:pt x="101" y="253"/>
                        </a:lnTo>
                        <a:lnTo>
                          <a:pt x="100" y="254"/>
                        </a:lnTo>
                        <a:lnTo>
                          <a:pt x="98" y="256"/>
                        </a:lnTo>
                        <a:lnTo>
                          <a:pt x="96" y="256"/>
                        </a:lnTo>
                        <a:lnTo>
                          <a:pt x="95" y="256"/>
                        </a:lnTo>
                        <a:lnTo>
                          <a:pt x="93" y="256"/>
                        </a:lnTo>
                        <a:lnTo>
                          <a:pt x="91" y="260"/>
                        </a:lnTo>
                        <a:lnTo>
                          <a:pt x="90" y="260"/>
                        </a:lnTo>
                        <a:lnTo>
                          <a:pt x="86" y="260"/>
                        </a:lnTo>
                        <a:lnTo>
                          <a:pt x="80" y="260"/>
                        </a:lnTo>
                        <a:lnTo>
                          <a:pt x="81" y="260"/>
                        </a:lnTo>
                        <a:lnTo>
                          <a:pt x="83" y="260"/>
                        </a:lnTo>
                        <a:lnTo>
                          <a:pt x="85" y="261"/>
                        </a:lnTo>
                        <a:lnTo>
                          <a:pt x="88" y="261"/>
                        </a:lnTo>
                        <a:lnTo>
                          <a:pt x="90" y="263"/>
                        </a:lnTo>
                        <a:lnTo>
                          <a:pt x="90" y="265"/>
                        </a:lnTo>
                        <a:lnTo>
                          <a:pt x="86" y="265"/>
                        </a:lnTo>
                        <a:lnTo>
                          <a:pt x="85" y="263"/>
                        </a:lnTo>
                        <a:lnTo>
                          <a:pt x="83" y="263"/>
                        </a:lnTo>
                        <a:lnTo>
                          <a:pt x="86" y="265"/>
                        </a:lnTo>
                        <a:lnTo>
                          <a:pt x="88" y="266"/>
                        </a:lnTo>
                        <a:lnTo>
                          <a:pt x="88" y="268"/>
                        </a:lnTo>
                        <a:lnTo>
                          <a:pt x="88" y="270"/>
                        </a:lnTo>
                        <a:lnTo>
                          <a:pt x="88" y="271"/>
                        </a:lnTo>
                        <a:lnTo>
                          <a:pt x="88" y="273"/>
                        </a:lnTo>
                        <a:lnTo>
                          <a:pt x="86" y="275"/>
                        </a:lnTo>
                        <a:lnTo>
                          <a:pt x="88" y="276"/>
                        </a:lnTo>
                        <a:lnTo>
                          <a:pt x="86" y="276"/>
                        </a:lnTo>
                        <a:lnTo>
                          <a:pt x="85" y="275"/>
                        </a:lnTo>
                        <a:lnTo>
                          <a:pt x="85" y="276"/>
                        </a:lnTo>
                        <a:lnTo>
                          <a:pt x="85" y="278"/>
                        </a:lnTo>
                        <a:lnTo>
                          <a:pt x="86" y="278"/>
                        </a:lnTo>
                        <a:lnTo>
                          <a:pt x="86" y="281"/>
                        </a:lnTo>
                        <a:lnTo>
                          <a:pt x="85" y="283"/>
                        </a:lnTo>
                        <a:lnTo>
                          <a:pt x="86" y="285"/>
                        </a:lnTo>
                        <a:lnTo>
                          <a:pt x="86" y="287"/>
                        </a:lnTo>
                        <a:lnTo>
                          <a:pt x="85" y="290"/>
                        </a:lnTo>
                        <a:lnTo>
                          <a:pt x="83" y="292"/>
                        </a:lnTo>
                        <a:lnTo>
                          <a:pt x="85" y="295"/>
                        </a:lnTo>
                        <a:lnTo>
                          <a:pt x="83" y="298"/>
                        </a:lnTo>
                        <a:lnTo>
                          <a:pt x="83" y="302"/>
                        </a:lnTo>
                        <a:lnTo>
                          <a:pt x="80" y="307"/>
                        </a:lnTo>
                        <a:lnTo>
                          <a:pt x="78" y="312"/>
                        </a:lnTo>
                        <a:lnTo>
                          <a:pt x="76" y="315"/>
                        </a:lnTo>
                        <a:lnTo>
                          <a:pt x="73" y="315"/>
                        </a:lnTo>
                        <a:lnTo>
                          <a:pt x="69" y="315"/>
                        </a:lnTo>
                        <a:lnTo>
                          <a:pt x="66" y="315"/>
                        </a:lnTo>
                        <a:lnTo>
                          <a:pt x="63" y="315"/>
                        </a:lnTo>
                        <a:lnTo>
                          <a:pt x="59" y="315"/>
                        </a:lnTo>
                        <a:lnTo>
                          <a:pt x="56" y="315"/>
                        </a:lnTo>
                        <a:lnTo>
                          <a:pt x="56" y="319"/>
                        </a:lnTo>
                        <a:lnTo>
                          <a:pt x="53" y="317"/>
                        </a:lnTo>
                        <a:lnTo>
                          <a:pt x="51" y="320"/>
                        </a:lnTo>
                        <a:lnTo>
                          <a:pt x="49" y="324"/>
                        </a:lnTo>
                        <a:lnTo>
                          <a:pt x="51" y="329"/>
                        </a:lnTo>
                        <a:lnTo>
                          <a:pt x="49" y="332"/>
                        </a:lnTo>
                        <a:lnTo>
                          <a:pt x="47" y="332"/>
                        </a:lnTo>
                        <a:lnTo>
                          <a:pt x="44" y="330"/>
                        </a:lnTo>
                        <a:lnTo>
                          <a:pt x="39" y="332"/>
                        </a:lnTo>
                        <a:lnTo>
                          <a:pt x="34" y="332"/>
                        </a:lnTo>
                        <a:lnTo>
                          <a:pt x="31" y="332"/>
                        </a:lnTo>
                        <a:lnTo>
                          <a:pt x="27" y="332"/>
                        </a:lnTo>
                        <a:lnTo>
                          <a:pt x="27" y="330"/>
                        </a:lnTo>
                        <a:lnTo>
                          <a:pt x="29" y="330"/>
                        </a:lnTo>
                        <a:lnTo>
                          <a:pt x="29" y="329"/>
                        </a:lnTo>
                        <a:lnTo>
                          <a:pt x="31" y="327"/>
                        </a:lnTo>
                        <a:lnTo>
                          <a:pt x="29" y="325"/>
                        </a:lnTo>
                        <a:lnTo>
                          <a:pt x="27" y="322"/>
                        </a:lnTo>
                        <a:lnTo>
                          <a:pt x="26" y="319"/>
                        </a:lnTo>
                        <a:lnTo>
                          <a:pt x="24" y="317"/>
                        </a:lnTo>
                        <a:lnTo>
                          <a:pt x="22" y="315"/>
                        </a:lnTo>
                        <a:lnTo>
                          <a:pt x="22" y="314"/>
                        </a:lnTo>
                        <a:lnTo>
                          <a:pt x="24" y="314"/>
                        </a:lnTo>
                        <a:lnTo>
                          <a:pt x="27" y="314"/>
                        </a:lnTo>
                        <a:lnTo>
                          <a:pt x="26" y="314"/>
                        </a:lnTo>
                        <a:lnTo>
                          <a:pt x="26" y="312"/>
                        </a:lnTo>
                        <a:lnTo>
                          <a:pt x="24" y="310"/>
                        </a:lnTo>
                        <a:lnTo>
                          <a:pt x="26" y="310"/>
                        </a:lnTo>
                        <a:lnTo>
                          <a:pt x="27" y="310"/>
                        </a:lnTo>
                        <a:lnTo>
                          <a:pt x="29" y="308"/>
                        </a:lnTo>
                        <a:lnTo>
                          <a:pt x="29" y="307"/>
                        </a:lnTo>
                        <a:lnTo>
                          <a:pt x="27" y="305"/>
                        </a:lnTo>
                        <a:lnTo>
                          <a:pt x="24" y="303"/>
                        </a:lnTo>
                        <a:lnTo>
                          <a:pt x="22" y="300"/>
                        </a:lnTo>
                        <a:lnTo>
                          <a:pt x="19" y="298"/>
                        </a:lnTo>
                        <a:lnTo>
                          <a:pt x="17" y="295"/>
                        </a:lnTo>
                        <a:lnTo>
                          <a:pt x="17" y="292"/>
                        </a:lnTo>
                        <a:lnTo>
                          <a:pt x="15" y="288"/>
                        </a:lnTo>
                        <a:lnTo>
                          <a:pt x="14" y="288"/>
                        </a:lnTo>
                        <a:lnTo>
                          <a:pt x="12" y="288"/>
                        </a:lnTo>
                        <a:lnTo>
                          <a:pt x="14" y="287"/>
                        </a:lnTo>
                        <a:lnTo>
                          <a:pt x="12" y="285"/>
                        </a:lnTo>
                        <a:lnTo>
                          <a:pt x="12" y="283"/>
                        </a:lnTo>
                        <a:lnTo>
                          <a:pt x="14" y="281"/>
                        </a:lnTo>
                        <a:lnTo>
                          <a:pt x="14" y="278"/>
                        </a:lnTo>
                        <a:lnTo>
                          <a:pt x="10" y="278"/>
                        </a:lnTo>
                        <a:lnTo>
                          <a:pt x="10" y="276"/>
                        </a:lnTo>
                        <a:lnTo>
                          <a:pt x="10" y="275"/>
                        </a:lnTo>
                        <a:lnTo>
                          <a:pt x="10" y="273"/>
                        </a:lnTo>
                        <a:lnTo>
                          <a:pt x="9" y="273"/>
                        </a:lnTo>
                        <a:lnTo>
                          <a:pt x="5" y="271"/>
                        </a:lnTo>
                        <a:lnTo>
                          <a:pt x="9" y="270"/>
                        </a:lnTo>
                        <a:lnTo>
                          <a:pt x="9" y="268"/>
                        </a:lnTo>
                        <a:lnTo>
                          <a:pt x="7" y="268"/>
                        </a:lnTo>
                        <a:lnTo>
                          <a:pt x="9" y="266"/>
                        </a:lnTo>
                        <a:lnTo>
                          <a:pt x="7" y="265"/>
                        </a:lnTo>
                        <a:lnTo>
                          <a:pt x="7" y="266"/>
                        </a:lnTo>
                        <a:lnTo>
                          <a:pt x="5" y="268"/>
                        </a:lnTo>
                        <a:lnTo>
                          <a:pt x="5" y="266"/>
                        </a:lnTo>
                        <a:lnTo>
                          <a:pt x="5" y="265"/>
                        </a:lnTo>
                        <a:lnTo>
                          <a:pt x="4" y="265"/>
                        </a:lnTo>
                        <a:lnTo>
                          <a:pt x="2" y="263"/>
                        </a:lnTo>
                        <a:lnTo>
                          <a:pt x="2" y="261"/>
                        </a:lnTo>
                        <a:lnTo>
                          <a:pt x="2" y="258"/>
                        </a:lnTo>
                        <a:lnTo>
                          <a:pt x="2" y="256"/>
                        </a:lnTo>
                        <a:lnTo>
                          <a:pt x="0" y="254"/>
                        </a:lnTo>
                        <a:lnTo>
                          <a:pt x="0" y="253"/>
                        </a:lnTo>
                        <a:lnTo>
                          <a:pt x="2" y="249"/>
                        </a:lnTo>
                        <a:lnTo>
                          <a:pt x="4" y="249"/>
                        </a:lnTo>
                        <a:lnTo>
                          <a:pt x="4" y="251"/>
                        </a:lnTo>
                        <a:lnTo>
                          <a:pt x="4" y="254"/>
                        </a:lnTo>
                        <a:lnTo>
                          <a:pt x="5" y="253"/>
                        </a:lnTo>
                        <a:lnTo>
                          <a:pt x="5" y="254"/>
                        </a:lnTo>
                        <a:lnTo>
                          <a:pt x="9" y="253"/>
                        </a:lnTo>
                        <a:lnTo>
                          <a:pt x="10" y="244"/>
                        </a:lnTo>
                        <a:lnTo>
                          <a:pt x="9" y="243"/>
                        </a:lnTo>
                        <a:lnTo>
                          <a:pt x="9" y="239"/>
                        </a:lnTo>
                        <a:lnTo>
                          <a:pt x="10" y="238"/>
                        </a:lnTo>
                        <a:lnTo>
                          <a:pt x="12" y="234"/>
                        </a:lnTo>
                        <a:lnTo>
                          <a:pt x="12" y="231"/>
                        </a:lnTo>
                        <a:lnTo>
                          <a:pt x="15" y="231"/>
                        </a:lnTo>
                        <a:lnTo>
                          <a:pt x="21" y="229"/>
                        </a:lnTo>
                        <a:lnTo>
                          <a:pt x="22" y="226"/>
                        </a:lnTo>
                        <a:lnTo>
                          <a:pt x="22" y="224"/>
                        </a:lnTo>
                        <a:lnTo>
                          <a:pt x="21" y="222"/>
                        </a:lnTo>
                        <a:lnTo>
                          <a:pt x="22" y="217"/>
                        </a:lnTo>
                        <a:lnTo>
                          <a:pt x="24" y="216"/>
                        </a:lnTo>
                        <a:lnTo>
                          <a:pt x="22" y="214"/>
                        </a:lnTo>
                        <a:lnTo>
                          <a:pt x="21" y="209"/>
                        </a:lnTo>
                        <a:lnTo>
                          <a:pt x="17" y="206"/>
                        </a:lnTo>
                        <a:lnTo>
                          <a:pt x="19" y="204"/>
                        </a:lnTo>
                        <a:lnTo>
                          <a:pt x="22" y="202"/>
                        </a:lnTo>
                        <a:lnTo>
                          <a:pt x="26" y="201"/>
                        </a:lnTo>
                        <a:lnTo>
                          <a:pt x="27" y="197"/>
                        </a:lnTo>
                        <a:lnTo>
                          <a:pt x="27" y="192"/>
                        </a:lnTo>
                        <a:lnTo>
                          <a:pt x="21" y="189"/>
                        </a:lnTo>
                        <a:lnTo>
                          <a:pt x="19" y="185"/>
                        </a:lnTo>
                        <a:lnTo>
                          <a:pt x="17" y="182"/>
                        </a:lnTo>
                        <a:lnTo>
                          <a:pt x="17" y="177"/>
                        </a:lnTo>
                        <a:lnTo>
                          <a:pt x="19" y="174"/>
                        </a:lnTo>
                        <a:lnTo>
                          <a:pt x="17" y="170"/>
                        </a:lnTo>
                        <a:lnTo>
                          <a:pt x="15" y="170"/>
                        </a:lnTo>
                        <a:lnTo>
                          <a:pt x="15" y="167"/>
                        </a:lnTo>
                        <a:lnTo>
                          <a:pt x="17" y="165"/>
                        </a:lnTo>
                        <a:lnTo>
                          <a:pt x="17" y="163"/>
                        </a:lnTo>
                        <a:lnTo>
                          <a:pt x="17" y="162"/>
                        </a:lnTo>
                        <a:lnTo>
                          <a:pt x="17" y="158"/>
                        </a:lnTo>
                        <a:lnTo>
                          <a:pt x="19" y="157"/>
                        </a:lnTo>
                        <a:lnTo>
                          <a:pt x="21" y="155"/>
                        </a:lnTo>
                        <a:lnTo>
                          <a:pt x="19" y="153"/>
                        </a:lnTo>
                        <a:lnTo>
                          <a:pt x="17" y="152"/>
                        </a:lnTo>
                        <a:lnTo>
                          <a:pt x="15" y="147"/>
                        </a:lnTo>
                        <a:lnTo>
                          <a:pt x="17" y="143"/>
                        </a:lnTo>
                        <a:lnTo>
                          <a:pt x="19" y="140"/>
                        </a:lnTo>
                        <a:lnTo>
                          <a:pt x="22" y="136"/>
                        </a:lnTo>
                        <a:lnTo>
                          <a:pt x="26" y="135"/>
                        </a:lnTo>
                        <a:lnTo>
                          <a:pt x="31" y="131"/>
                        </a:lnTo>
                        <a:lnTo>
                          <a:pt x="37" y="131"/>
                        </a:lnTo>
                        <a:lnTo>
                          <a:pt x="42" y="131"/>
                        </a:lnTo>
                        <a:lnTo>
                          <a:pt x="46" y="131"/>
                        </a:lnTo>
                        <a:lnTo>
                          <a:pt x="49" y="130"/>
                        </a:lnTo>
                        <a:lnTo>
                          <a:pt x="49" y="126"/>
                        </a:lnTo>
                        <a:lnTo>
                          <a:pt x="49" y="123"/>
                        </a:lnTo>
                        <a:lnTo>
                          <a:pt x="47" y="121"/>
                        </a:lnTo>
                        <a:lnTo>
                          <a:pt x="44" y="118"/>
                        </a:lnTo>
                        <a:lnTo>
                          <a:pt x="42" y="116"/>
                        </a:lnTo>
                        <a:lnTo>
                          <a:pt x="46" y="113"/>
                        </a:lnTo>
                        <a:lnTo>
                          <a:pt x="49" y="110"/>
                        </a:lnTo>
                        <a:lnTo>
                          <a:pt x="53" y="104"/>
                        </a:lnTo>
                        <a:lnTo>
                          <a:pt x="54" y="103"/>
                        </a:lnTo>
                        <a:lnTo>
                          <a:pt x="56" y="93"/>
                        </a:lnTo>
                        <a:lnTo>
                          <a:pt x="56" y="86"/>
                        </a:lnTo>
                        <a:lnTo>
                          <a:pt x="56" y="83"/>
                        </a:lnTo>
                        <a:lnTo>
                          <a:pt x="56" y="79"/>
                        </a:lnTo>
                        <a:lnTo>
                          <a:pt x="58" y="79"/>
                        </a:lnTo>
                        <a:lnTo>
                          <a:pt x="61" y="79"/>
                        </a:lnTo>
                        <a:lnTo>
                          <a:pt x="64" y="77"/>
                        </a:lnTo>
                        <a:lnTo>
                          <a:pt x="66" y="76"/>
                        </a:lnTo>
                        <a:lnTo>
                          <a:pt x="68" y="74"/>
                        </a:lnTo>
                        <a:lnTo>
                          <a:pt x="68" y="71"/>
                        </a:lnTo>
                        <a:lnTo>
                          <a:pt x="69" y="67"/>
                        </a:lnTo>
                        <a:lnTo>
                          <a:pt x="73" y="64"/>
                        </a:lnTo>
                        <a:lnTo>
                          <a:pt x="76" y="61"/>
                        </a:lnTo>
                        <a:lnTo>
                          <a:pt x="78" y="59"/>
                        </a:lnTo>
                        <a:lnTo>
                          <a:pt x="83" y="56"/>
                        </a:lnTo>
                        <a:lnTo>
                          <a:pt x="85" y="54"/>
                        </a:lnTo>
                        <a:lnTo>
                          <a:pt x="85" y="52"/>
                        </a:lnTo>
                        <a:lnTo>
                          <a:pt x="85" y="51"/>
                        </a:lnTo>
                        <a:lnTo>
                          <a:pt x="83" y="47"/>
                        </a:lnTo>
                        <a:lnTo>
                          <a:pt x="81" y="45"/>
                        </a:lnTo>
                        <a:lnTo>
                          <a:pt x="81" y="44"/>
                        </a:lnTo>
                        <a:lnTo>
                          <a:pt x="86" y="40"/>
                        </a:lnTo>
                        <a:lnTo>
                          <a:pt x="88" y="39"/>
                        </a:lnTo>
                        <a:lnTo>
                          <a:pt x="88" y="35"/>
                        </a:lnTo>
                        <a:lnTo>
                          <a:pt x="90" y="32"/>
                        </a:lnTo>
                        <a:lnTo>
                          <a:pt x="91" y="30"/>
                        </a:lnTo>
                        <a:lnTo>
                          <a:pt x="95" y="29"/>
                        </a:lnTo>
                        <a:lnTo>
                          <a:pt x="96" y="27"/>
                        </a:lnTo>
                        <a:lnTo>
                          <a:pt x="100" y="27"/>
                        </a:lnTo>
                        <a:lnTo>
                          <a:pt x="103" y="27"/>
                        </a:lnTo>
                        <a:lnTo>
                          <a:pt x="107" y="30"/>
                        </a:lnTo>
                        <a:lnTo>
                          <a:pt x="108" y="30"/>
                        </a:lnTo>
                        <a:lnTo>
                          <a:pt x="110" y="27"/>
                        </a:lnTo>
                        <a:lnTo>
                          <a:pt x="112" y="24"/>
                        </a:lnTo>
                        <a:lnTo>
                          <a:pt x="112" y="22"/>
                        </a:lnTo>
                        <a:lnTo>
                          <a:pt x="112" y="20"/>
                        </a:lnTo>
                        <a:lnTo>
                          <a:pt x="112" y="17"/>
                        </a:lnTo>
                        <a:lnTo>
                          <a:pt x="113" y="15"/>
                        </a:lnTo>
                        <a:lnTo>
                          <a:pt x="115" y="15"/>
                        </a:lnTo>
                        <a:lnTo>
                          <a:pt x="117" y="15"/>
                        </a:lnTo>
                        <a:lnTo>
                          <a:pt x="120" y="15"/>
                        </a:lnTo>
                        <a:lnTo>
                          <a:pt x="123" y="15"/>
                        </a:lnTo>
                        <a:lnTo>
                          <a:pt x="127" y="15"/>
                        </a:lnTo>
                        <a:lnTo>
                          <a:pt x="128" y="15"/>
                        </a:lnTo>
                        <a:lnTo>
                          <a:pt x="132" y="17"/>
                        </a:lnTo>
                        <a:lnTo>
                          <a:pt x="133" y="17"/>
                        </a:lnTo>
                        <a:lnTo>
                          <a:pt x="137" y="17"/>
                        </a:lnTo>
                        <a:lnTo>
                          <a:pt x="139" y="18"/>
                        </a:lnTo>
                        <a:lnTo>
                          <a:pt x="140" y="17"/>
                        </a:lnTo>
                        <a:lnTo>
                          <a:pt x="142" y="17"/>
                        </a:lnTo>
                        <a:lnTo>
                          <a:pt x="142" y="15"/>
                        </a:lnTo>
                        <a:lnTo>
                          <a:pt x="140" y="15"/>
                        </a:lnTo>
                        <a:lnTo>
                          <a:pt x="140" y="12"/>
                        </a:lnTo>
                        <a:lnTo>
                          <a:pt x="142" y="10"/>
                        </a:lnTo>
                        <a:lnTo>
                          <a:pt x="142" y="8"/>
                        </a:lnTo>
                        <a:lnTo>
                          <a:pt x="144" y="7"/>
                        </a:lnTo>
                        <a:lnTo>
                          <a:pt x="144" y="5"/>
                        </a:lnTo>
                        <a:lnTo>
                          <a:pt x="144" y="3"/>
                        </a:lnTo>
                        <a:lnTo>
                          <a:pt x="142" y="2"/>
                        </a:lnTo>
                        <a:lnTo>
                          <a:pt x="142" y="0"/>
                        </a:lnTo>
                        <a:lnTo>
                          <a:pt x="144" y="0"/>
                        </a:lnTo>
                        <a:lnTo>
                          <a:pt x="145" y="0"/>
                        </a:lnTo>
                        <a:lnTo>
                          <a:pt x="147" y="0"/>
                        </a:lnTo>
                        <a:lnTo>
                          <a:pt x="149" y="0"/>
                        </a:lnTo>
                        <a:lnTo>
                          <a:pt x="150" y="0"/>
                        </a:lnTo>
                        <a:lnTo>
                          <a:pt x="152" y="2"/>
                        </a:lnTo>
                        <a:lnTo>
                          <a:pt x="154" y="3"/>
                        </a:lnTo>
                        <a:lnTo>
                          <a:pt x="155" y="3"/>
                        </a:lnTo>
                        <a:lnTo>
                          <a:pt x="159" y="7"/>
                        </a:lnTo>
                        <a:lnTo>
                          <a:pt x="164" y="10"/>
                        </a:lnTo>
                        <a:lnTo>
                          <a:pt x="167" y="12"/>
                        </a:lnTo>
                        <a:lnTo>
                          <a:pt x="172" y="15"/>
                        </a:lnTo>
                        <a:lnTo>
                          <a:pt x="177" y="15"/>
                        </a:lnTo>
                        <a:lnTo>
                          <a:pt x="182" y="17"/>
                        </a:lnTo>
                        <a:lnTo>
                          <a:pt x="187" y="20"/>
                        </a:lnTo>
                        <a:lnTo>
                          <a:pt x="191" y="24"/>
                        </a:lnTo>
                        <a:lnTo>
                          <a:pt x="194" y="27"/>
                        </a:lnTo>
                        <a:lnTo>
                          <a:pt x="196" y="30"/>
                        </a:lnTo>
                        <a:lnTo>
                          <a:pt x="198" y="32"/>
                        </a:lnTo>
                        <a:lnTo>
                          <a:pt x="196" y="34"/>
                        </a:lnTo>
                        <a:lnTo>
                          <a:pt x="196" y="37"/>
                        </a:lnTo>
                        <a:lnTo>
                          <a:pt x="196" y="40"/>
                        </a:lnTo>
                        <a:lnTo>
                          <a:pt x="196" y="44"/>
                        </a:lnTo>
                        <a:lnTo>
                          <a:pt x="198" y="44"/>
                        </a:lnTo>
                        <a:lnTo>
                          <a:pt x="198" y="47"/>
                        </a:lnTo>
                        <a:lnTo>
                          <a:pt x="198" y="49"/>
                        </a:lnTo>
                        <a:lnTo>
                          <a:pt x="196" y="51"/>
                        </a:lnTo>
                        <a:lnTo>
                          <a:pt x="196" y="54"/>
                        </a:lnTo>
                        <a:lnTo>
                          <a:pt x="199" y="57"/>
                        </a:lnTo>
                        <a:lnTo>
                          <a:pt x="201" y="61"/>
                        </a:lnTo>
                        <a:lnTo>
                          <a:pt x="203" y="62"/>
                        </a:lnTo>
                        <a:lnTo>
                          <a:pt x="203" y="66"/>
                        </a:lnTo>
                        <a:lnTo>
                          <a:pt x="203" y="67"/>
                        </a:lnTo>
                        <a:lnTo>
                          <a:pt x="199" y="69"/>
                        </a:lnTo>
                        <a:lnTo>
                          <a:pt x="199" y="72"/>
                        </a:lnTo>
                        <a:lnTo>
                          <a:pt x="199" y="77"/>
                        </a:lnTo>
                        <a:lnTo>
                          <a:pt x="203" y="81"/>
                        </a:lnTo>
                        <a:lnTo>
                          <a:pt x="204" y="83"/>
                        </a:lnTo>
                        <a:lnTo>
                          <a:pt x="204" y="86"/>
                        </a:lnTo>
                        <a:close/>
                      </a:path>
                    </a:pathLst>
                  </a:custGeom>
                  <a:solidFill>
                    <a:srgbClr val="EB1562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50" name="Group 1749">
                  <a:extLst>
                    <a:ext uri="{FF2B5EF4-FFF2-40B4-BE49-F238E27FC236}">
                      <a16:creationId xmlns:a16="http://schemas.microsoft.com/office/drawing/2014/main" id="{3AA5D163-9B7B-9643-A27D-9CADBAD4BF0A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15" y="345"/>
                  <a:ext cx="10" cy="26"/>
                  <a:chOff x="415" y="345"/>
                  <a:chExt cx="10" cy="26"/>
                </a:xfrm>
              </p:grpSpPr>
              <p:sp>
                <p:nvSpPr>
                  <p:cNvPr id="1754" name="Freeform 128">
                    <a:extLst>
                      <a:ext uri="{FF2B5EF4-FFF2-40B4-BE49-F238E27FC236}">
                        <a16:creationId xmlns:a16="http://schemas.microsoft.com/office/drawing/2014/main" id="{7A896121-D32A-5B42-A600-59ABB7781F2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15" y="345"/>
                    <a:ext cx="10" cy="26"/>
                  </a:xfrm>
                  <a:custGeom>
                    <a:avLst/>
                    <a:gdLst>
                      <a:gd name="T0" fmla="*/ 0 w 10"/>
                      <a:gd name="T1" fmla="*/ 24 h 26"/>
                      <a:gd name="T2" fmla="*/ 0 w 10"/>
                      <a:gd name="T3" fmla="*/ 22 h 26"/>
                      <a:gd name="T4" fmla="*/ 0 w 10"/>
                      <a:gd name="T5" fmla="*/ 20 h 26"/>
                      <a:gd name="T6" fmla="*/ 2 w 10"/>
                      <a:gd name="T7" fmla="*/ 17 h 26"/>
                      <a:gd name="T8" fmla="*/ 3 w 10"/>
                      <a:gd name="T9" fmla="*/ 12 h 26"/>
                      <a:gd name="T10" fmla="*/ 5 w 10"/>
                      <a:gd name="T11" fmla="*/ 10 h 26"/>
                      <a:gd name="T12" fmla="*/ 7 w 10"/>
                      <a:gd name="T13" fmla="*/ 5 h 26"/>
                      <a:gd name="T14" fmla="*/ 8 w 10"/>
                      <a:gd name="T15" fmla="*/ 4 h 26"/>
                      <a:gd name="T16" fmla="*/ 8 w 10"/>
                      <a:gd name="T17" fmla="*/ 2 h 26"/>
                      <a:gd name="T18" fmla="*/ 10 w 10"/>
                      <a:gd name="T19" fmla="*/ 0 h 26"/>
                      <a:gd name="T20" fmla="*/ 10 w 10"/>
                      <a:gd name="T21" fmla="*/ 2 h 26"/>
                      <a:gd name="T22" fmla="*/ 8 w 10"/>
                      <a:gd name="T23" fmla="*/ 2 h 26"/>
                      <a:gd name="T24" fmla="*/ 8 w 10"/>
                      <a:gd name="T25" fmla="*/ 5 h 26"/>
                      <a:gd name="T26" fmla="*/ 7 w 10"/>
                      <a:gd name="T27" fmla="*/ 10 h 26"/>
                      <a:gd name="T28" fmla="*/ 5 w 10"/>
                      <a:gd name="T29" fmla="*/ 12 h 26"/>
                      <a:gd name="T30" fmla="*/ 3 w 10"/>
                      <a:gd name="T31" fmla="*/ 17 h 26"/>
                      <a:gd name="T32" fmla="*/ 3 w 10"/>
                      <a:gd name="T33" fmla="*/ 20 h 26"/>
                      <a:gd name="T34" fmla="*/ 2 w 10"/>
                      <a:gd name="T35" fmla="*/ 24 h 26"/>
                      <a:gd name="T36" fmla="*/ 0 w 10"/>
                      <a:gd name="T37" fmla="*/ 24 h 26"/>
                      <a:gd name="T38" fmla="*/ 0 w 10"/>
                      <a:gd name="T39" fmla="*/ 26 h 26"/>
                      <a:gd name="T40" fmla="*/ 0 w 10"/>
                      <a:gd name="T41" fmla="*/ 24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10" h="26">
                        <a:moveTo>
                          <a:pt x="0" y="24"/>
                        </a:moveTo>
                        <a:lnTo>
                          <a:pt x="0" y="22"/>
                        </a:lnTo>
                        <a:lnTo>
                          <a:pt x="0" y="20"/>
                        </a:lnTo>
                        <a:lnTo>
                          <a:pt x="2" y="17"/>
                        </a:lnTo>
                        <a:lnTo>
                          <a:pt x="3" y="12"/>
                        </a:lnTo>
                        <a:lnTo>
                          <a:pt x="5" y="10"/>
                        </a:lnTo>
                        <a:lnTo>
                          <a:pt x="7" y="5"/>
                        </a:lnTo>
                        <a:lnTo>
                          <a:pt x="8" y="4"/>
                        </a:lnTo>
                        <a:lnTo>
                          <a:pt x="8" y="2"/>
                        </a:lnTo>
                        <a:lnTo>
                          <a:pt x="10" y="0"/>
                        </a:lnTo>
                        <a:lnTo>
                          <a:pt x="10" y="2"/>
                        </a:lnTo>
                        <a:lnTo>
                          <a:pt x="8" y="2"/>
                        </a:lnTo>
                        <a:lnTo>
                          <a:pt x="8" y="5"/>
                        </a:lnTo>
                        <a:lnTo>
                          <a:pt x="7" y="10"/>
                        </a:lnTo>
                        <a:lnTo>
                          <a:pt x="5" y="12"/>
                        </a:lnTo>
                        <a:lnTo>
                          <a:pt x="3" y="17"/>
                        </a:lnTo>
                        <a:lnTo>
                          <a:pt x="3" y="20"/>
                        </a:lnTo>
                        <a:lnTo>
                          <a:pt x="2" y="24"/>
                        </a:lnTo>
                        <a:lnTo>
                          <a:pt x="0" y="24"/>
                        </a:lnTo>
                        <a:lnTo>
                          <a:pt x="0" y="26"/>
                        </a:lnTo>
                        <a:lnTo>
                          <a:pt x="0" y="24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55" name="Freeform 129">
                    <a:extLst>
                      <a:ext uri="{FF2B5EF4-FFF2-40B4-BE49-F238E27FC236}">
                        <a16:creationId xmlns:a16="http://schemas.microsoft.com/office/drawing/2014/main" id="{27579B4D-8A53-234F-8D0D-D1B21A3A278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15" y="345"/>
                    <a:ext cx="10" cy="26"/>
                  </a:xfrm>
                  <a:custGeom>
                    <a:avLst/>
                    <a:gdLst>
                      <a:gd name="T0" fmla="*/ 0 w 10"/>
                      <a:gd name="T1" fmla="*/ 24 h 26"/>
                      <a:gd name="T2" fmla="*/ 0 w 10"/>
                      <a:gd name="T3" fmla="*/ 22 h 26"/>
                      <a:gd name="T4" fmla="*/ 0 w 10"/>
                      <a:gd name="T5" fmla="*/ 20 h 26"/>
                      <a:gd name="T6" fmla="*/ 2 w 10"/>
                      <a:gd name="T7" fmla="*/ 17 h 26"/>
                      <a:gd name="T8" fmla="*/ 3 w 10"/>
                      <a:gd name="T9" fmla="*/ 12 h 26"/>
                      <a:gd name="T10" fmla="*/ 5 w 10"/>
                      <a:gd name="T11" fmla="*/ 10 h 26"/>
                      <a:gd name="T12" fmla="*/ 7 w 10"/>
                      <a:gd name="T13" fmla="*/ 5 h 26"/>
                      <a:gd name="T14" fmla="*/ 8 w 10"/>
                      <a:gd name="T15" fmla="*/ 4 h 26"/>
                      <a:gd name="T16" fmla="*/ 8 w 10"/>
                      <a:gd name="T17" fmla="*/ 2 h 26"/>
                      <a:gd name="T18" fmla="*/ 10 w 10"/>
                      <a:gd name="T19" fmla="*/ 0 h 26"/>
                      <a:gd name="T20" fmla="*/ 10 w 10"/>
                      <a:gd name="T21" fmla="*/ 2 h 26"/>
                      <a:gd name="T22" fmla="*/ 8 w 10"/>
                      <a:gd name="T23" fmla="*/ 2 h 26"/>
                      <a:gd name="T24" fmla="*/ 8 w 10"/>
                      <a:gd name="T25" fmla="*/ 5 h 26"/>
                      <a:gd name="T26" fmla="*/ 7 w 10"/>
                      <a:gd name="T27" fmla="*/ 10 h 26"/>
                      <a:gd name="T28" fmla="*/ 5 w 10"/>
                      <a:gd name="T29" fmla="*/ 12 h 26"/>
                      <a:gd name="T30" fmla="*/ 3 w 10"/>
                      <a:gd name="T31" fmla="*/ 17 h 26"/>
                      <a:gd name="T32" fmla="*/ 3 w 10"/>
                      <a:gd name="T33" fmla="*/ 20 h 26"/>
                      <a:gd name="T34" fmla="*/ 2 w 10"/>
                      <a:gd name="T35" fmla="*/ 24 h 26"/>
                      <a:gd name="T36" fmla="*/ 0 w 10"/>
                      <a:gd name="T37" fmla="*/ 24 h 26"/>
                      <a:gd name="T38" fmla="*/ 0 w 10"/>
                      <a:gd name="T39" fmla="*/ 26 h 26"/>
                      <a:gd name="T40" fmla="*/ 0 w 10"/>
                      <a:gd name="T41" fmla="*/ 24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10" h="26">
                        <a:moveTo>
                          <a:pt x="0" y="24"/>
                        </a:moveTo>
                        <a:lnTo>
                          <a:pt x="0" y="22"/>
                        </a:lnTo>
                        <a:lnTo>
                          <a:pt x="0" y="20"/>
                        </a:lnTo>
                        <a:lnTo>
                          <a:pt x="2" y="17"/>
                        </a:lnTo>
                        <a:lnTo>
                          <a:pt x="3" y="12"/>
                        </a:lnTo>
                        <a:lnTo>
                          <a:pt x="5" y="10"/>
                        </a:lnTo>
                        <a:lnTo>
                          <a:pt x="7" y="5"/>
                        </a:lnTo>
                        <a:lnTo>
                          <a:pt x="8" y="4"/>
                        </a:lnTo>
                        <a:lnTo>
                          <a:pt x="8" y="2"/>
                        </a:lnTo>
                        <a:lnTo>
                          <a:pt x="10" y="0"/>
                        </a:lnTo>
                        <a:lnTo>
                          <a:pt x="10" y="2"/>
                        </a:lnTo>
                        <a:lnTo>
                          <a:pt x="8" y="2"/>
                        </a:lnTo>
                        <a:lnTo>
                          <a:pt x="8" y="5"/>
                        </a:lnTo>
                        <a:lnTo>
                          <a:pt x="7" y="10"/>
                        </a:lnTo>
                        <a:lnTo>
                          <a:pt x="5" y="12"/>
                        </a:lnTo>
                        <a:lnTo>
                          <a:pt x="3" y="17"/>
                        </a:lnTo>
                        <a:lnTo>
                          <a:pt x="3" y="20"/>
                        </a:lnTo>
                        <a:lnTo>
                          <a:pt x="2" y="24"/>
                        </a:lnTo>
                        <a:lnTo>
                          <a:pt x="0" y="24"/>
                        </a:lnTo>
                        <a:lnTo>
                          <a:pt x="0" y="26"/>
                        </a:lnTo>
                        <a:lnTo>
                          <a:pt x="0" y="24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51" name="Group 1750">
                  <a:extLst>
                    <a:ext uri="{FF2B5EF4-FFF2-40B4-BE49-F238E27FC236}">
                      <a16:creationId xmlns:a16="http://schemas.microsoft.com/office/drawing/2014/main" id="{F8736617-2B3F-5A4E-AEDF-6EC4C4E78B3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42" y="333"/>
                  <a:ext cx="13" cy="22"/>
                  <a:chOff x="442" y="333"/>
                  <a:chExt cx="13" cy="22"/>
                </a:xfrm>
              </p:grpSpPr>
              <p:sp>
                <p:nvSpPr>
                  <p:cNvPr id="1752" name="Freeform 126">
                    <a:extLst>
                      <a:ext uri="{FF2B5EF4-FFF2-40B4-BE49-F238E27FC236}">
                        <a16:creationId xmlns:a16="http://schemas.microsoft.com/office/drawing/2014/main" id="{B221C0B2-55B6-3D46-920B-58FF038BCDE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2" y="333"/>
                    <a:ext cx="13" cy="22"/>
                  </a:xfrm>
                  <a:custGeom>
                    <a:avLst/>
                    <a:gdLst>
                      <a:gd name="T0" fmla="*/ 2 w 13"/>
                      <a:gd name="T1" fmla="*/ 21 h 22"/>
                      <a:gd name="T2" fmla="*/ 2 w 13"/>
                      <a:gd name="T3" fmla="*/ 19 h 22"/>
                      <a:gd name="T4" fmla="*/ 0 w 13"/>
                      <a:gd name="T5" fmla="*/ 19 h 22"/>
                      <a:gd name="T6" fmla="*/ 2 w 13"/>
                      <a:gd name="T7" fmla="*/ 17 h 22"/>
                      <a:gd name="T8" fmla="*/ 0 w 13"/>
                      <a:gd name="T9" fmla="*/ 16 h 22"/>
                      <a:gd name="T10" fmla="*/ 0 w 13"/>
                      <a:gd name="T11" fmla="*/ 14 h 22"/>
                      <a:gd name="T12" fmla="*/ 0 w 13"/>
                      <a:gd name="T13" fmla="*/ 12 h 22"/>
                      <a:gd name="T14" fmla="*/ 0 w 13"/>
                      <a:gd name="T15" fmla="*/ 11 h 22"/>
                      <a:gd name="T16" fmla="*/ 2 w 13"/>
                      <a:gd name="T17" fmla="*/ 9 h 22"/>
                      <a:gd name="T18" fmla="*/ 3 w 13"/>
                      <a:gd name="T19" fmla="*/ 5 h 22"/>
                      <a:gd name="T20" fmla="*/ 7 w 13"/>
                      <a:gd name="T21" fmla="*/ 2 h 22"/>
                      <a:gd name="T22" fmla="*/ 8 w 13"/>
                      <a:gd name="T23" fmla="*/ 0 h 22"/>
                      <a:gd name="T24" fmla="*/ 10 w 13"/>
                      <a:gd name="T25" fmla="*/ 2 h 22"/>
                      <a:gd name="T26" fmla="*/ 12 w 13"/>
                      <a:gd name="T27" fmla="*/ 0 h 22"/>
                      <a:gd name="T28" fmla="*/ 13 w 13"/>
                      <a:gd name="T29" fmla="*/ 0 h 22"/>
                      <a:gd name="T30" fmla="*/ 13 w 13"/>
                      <a:gd name="T31" fmla="*/ 2 h 22"/>
                      <a:gd name="T32" fmla="*/ 13 w 13"/>
                      <a:gd name="T33" fmla="*/ 4 h 22"/>
                      <a:gd name="T34" fmla="*/ 12 w 13"/>
                      <a:gd name="T35" fmla="*/ 4 h 22"/>
                      <a:gd name="T36" fmla="*/ 12 w 13"/>
                      <a:gd name="T37" fmla="*/ 5 h 22"/>
                      <a:gd name="T38" fmla="*/ 12 w 13"/>
                      <a:gd name="T39" fmla="*/ 9 h 22"/>
                      <a:gd name="T40" fmla="*/ 12 w 13"/>
                      <a:gd name="T41" fmla="*/ 12 h 22"/>
                      <a:gd name="T42" fmla="*/ 10 w 13"/>
                      <a:gd name="T43" fmla="*/ 12 h 22"/>
                      <a:gd name="T44" fmla="*/ 8 w 13"/>
                      <a:gd name="T45" fmla="*/ 14 h 22"/>
                      <a:gd name="T46" fmla="*/ 7 w 13"/>
                      <a:gd name="T47" fmla="*/ 16 h 22"/>
                      <a:gd name="T48" fmla="*/ 5 w 13"/>
                      <a:gd name="T49" fmla="*/ 17 h 22"/>
                      <a:gd name="T50" fmla="*/ 3 w 13"/>
                      <a:gd name="T51" fmla="*/ 19 h 22"/>
                      <a:gd name="T52" fmla="*/ 2 w 13"/>
                      <a:gd name="T53" fmla="*/ 21 h 22"/>
                      <a:gd name="T54" fmla="*/ 0 w 13"/>
                      <a:gd name="T55" fmla="*/ 22 h 22"/>
                      <a:gd name="T56" fmla="*/ 2 w 13"/>
                      <a:gd name="T57" fmla="*/ 21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13" h="22">
                        <a:moveTo>
                          <a:pt x="2" y="21"/>
                        </a:moveTo>
                        <a:lnTo>
                          <a:pt x="2" y="19"/>
                        </a:lnTo>
                        <a:lnTo>
                          <a:pt x="0" y="19"/>
                        </a:lnTo>
                        <a:lnTo>
                          <a:pt x="2" y="17"/>
                        </a:lnTo>
                        <a:lnTo>
                          <a:pt x="0" y="16"/>
                        </a:lnTo>
                        <a:lnTo>
                          <a:pt x="0" y="14"/>
                        </a:lnTo>
                        <a:lnTo>
                          <a:pt x="0" y="12"/>
                        </a:lnTo>
                        <a:lnTo>
                          <a:pt x="0" y="11"/>
                        </a:lnTo>
                        <a:lnTo>
                          <a:pt x="2" y="9"/>
                        </a:lnTo>
                        <a:lnTo>
                          <a:pt x="3" y="5"/>
                        </a:lnTo>
                        <a:lnTo>
                          <a:pt x="7" y="2"/>
                        </a:lnTo>
                        <a:lnTo>
                          <a:pt x="8" y="0"/>
                        </a:lnTo>
                        <a:lnTo>
                          <a:pt x="10" y="2"/>
                        </a:lnTo>
                        <a:lnTo>
                          <a:pt x="12" y="0"/>
                        </a:lnTo>
                        <a:lnTo>
                          <a:pt x="13" y="0"/>
                        </a:lnTo>
                        <a:lnTo>
                          <a:pt x="13" y="2"/>
                        </a:lnTo>
                        <a:lnTo>
                          <a:pt x="13" y="4"/>
                        </a:lnTo>
                        <a:lnTo>
                          <a:pt x="12" y="4"/>
                        </a:lnTo>
                        <a:lnTo>
                          <a:pt x="12" y="5"/>
                        </a:lnTo>
                        <a:lnTo>
                          <a:pt x="12" y="9"/>
                        </a:lnTo>
                        <a:lnTo>
                          <a:pt x="12" y="12"/>
                        </a:lnTo>
                        <a:lnTo>
                          <a:pt x="10" y="12"/>
                        </a:lnTo>
                        <a:lnTo>
                          <a:pt x="8" y="14"/>
                        </a:lnTo>
                        <a:lnTo>
                          <a:pt x="7" y="16"/>
                        </a:lnTo>
                        <a:lnTo>
                          <a:pt x="5" y="17"/>
                        </a:lnTo>
                        <a:lnTo>
                          <a:pt x="3" y="19"/>
                        </a:lnTo>
                        <a:lnTo>
                          <a:pt x="2" y="21"/>
                        </a:lnTo>
                        <a:lnTo>
                          <a:pt x="0" y="22"/>
                        </a:lnTo>
                        <a:lnTo>
                          <a:pt x="2" y="2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53" name="Freeform 127">
                    <a:extLst>
                      <a:ext uri="{FF2B5EF4-FFF2-40B4-BE49-F238E27FC236}">
                        <a16:creationId xmlns:a16="http://schemas.microsoft.com/office/drawing/2014/main" id="{3DF1BE0A-9664-1B4B-928F-F73837D0986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2" y="333"/>
                    <a:ext cx="13" cy="22"/>
                  </a:xfrm>
                  <a:custGeom>
                    <a:avLst/>
                    <a:gdLst>
                      <a:gd name="T0" fmla="*/ 2 w 13"/>
                      <a:gd name="T1" fmla="*/ 21 h 22"/>
                      <a:gd name="T2" fmla="*/ 2 w 13"/>
                      <a:gd name="T3" fmla="*/ 19 h 22"/>
                      <a:gd name="T4" fmla="*/ 0 w 13"/>
                      <a:gd name="T5" fmla="*/ 19 h 22"/>
                      <a:gd name="T6" fmla="*/ 2 w 13"/>
                      <a:gd name="T7" fmla="*/ 17 h 22"/>
                      <a:gd name="T8" fmla="*/ 0 w 13"/>
                      <a:gd name="T9" fmla="*/ 16 h 22"/>
                      <a:gd name="T10" fmla="*/ 0 w 13"/>
                      <a:gd name="T11" fmla="*/ 14 h 22"/>
                      <a:gd name="T12" fmla="*/ 0 w 13"/>
                      <a:gd name="T13" fmla="*/ 12 h 22"/>
                      <a:gd name="T14" fmla="*/ 0 w 13"/>
                      <a:gd name="T15" fmla="*/ 11 h 22"/>
                      <a:gd name="T16" fmla="*/ 2 w 13"/>
                      <a:gd name="T17" fmla="*/ 9 h 22"/>
                      <a:gd name="T18" fmla="*/ 3 w 13"/>
                      <a:gd name="T19" fmla="*/ 5 h 22"/>
                      <a:gd name="T20" fmla="*/ 7 w 13"/>
                      <a:gd name="T21" fmla="*/ 2 h 22"/>
                      <a:gd name="T22" fmla="*/ 8 w 13"/>
                      <a:gd name="T23" fmla="*/ 0 h 22"/>
                      <a:gd name="T24" fmla="*/ 10 w 13"/>
                      <a:gd name="T25" fmla="*/ 2 h 22"/>
                      <a:gd name="T26" fmla="*/ 12 w 13"/>
                      <a:gd name="T27" fmla="*/ 0 h 22"/>
                      <a:gd name="T28" fmla="*/ 13 w 13"/>
                      <a:gd name="T29" fmla="*/ 0 h 22"/>
                      <a:gd name="T30" fmla="*/ 13 w 13"/>
                      <a:gd name="T31" fmla="*/ 2 h 22"/>
                      <a:gd name="T32" fmla="*/ 13 w 13"/>
                      <a:gd name="T33" fmla="*/ 4 h 22"/>
                      <a:gd name="T34" fmla="*/ 12 w 13"/>
                      <a:gd name="T35" fmla="*/ 4 h 22"/>
                      <a:gd name="T36" fmla="*/ 12 w 13"/>
                      <a:gd name="T37" fmla="*/ 5 h 22"/>
                      <a:gd name="T38" fmla="*/ 12 w 13"/>
                      <a:gd name="T39" fmla="*/ 9 h 22"/>
                      <a:gd name="T40" fmla="*/ 12 w 13"/>
                      <a:gd name="T41" fmla="*/ 12 h 22"/>
                      <a:gd name="T42" fmla="*/ 10 w 13"/>
                      <a:gd name="T43" fmla="*/ 12 h 22"/>
                      <a:gd name="T44" fmla="*/ 8 w 13"/>
                      <a:gd name="T45" fmla="*/ 14 h 22"/>
                      <a:gd name="T46" fmla="*/ 7 w 13"/>
                      <a:gd name="T47" fmla="*/ 16 h 22"/>
                      <a:gd name="T48" fmla="*/ 5 w 13"/>
                      <a:gd name="T49" fmla="*/ 17 h 22"/>
                      <a:gd name="T50" fmla="*/ 3 w 13"/>
                      <a:gd name="T51" fmla="*/ 19 h 22"/>
                      <a:gd name="T52" fmla="*/ 2 w 13"/>
                      <a:gd name="T53" fmla="*/ 21 h 22"/>
                      <a:gd name="T54" fmla="*/ 0 w 13"/>
                      <a:gd name="T55" fmla="*/ 22 h 22"/>
                      <a:gd name="T56" fmla="*/ 2 w 13"/>
                      <a:gd name="T57" fmla="*/ 21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13" h="22">
                        <a:moveTo>
                          <a:pt x="2" y="21"/>
                        </a:moveTo>
                        <a:lnTo>
                          <a:pt x="2" y="19"/>
                        </a:lnTo>
                        <a:lnTo>
                          <a:pt x="0" y="19"/>
                        </a:lnTo>
                        <a:lnTo>
                          <a:pt x="2" y="17"/>
                        </a:lnTo>
                        <a:lnTo>
                          <a:pt x="0" y="16"/>
                        </a:lnTo>
                        <a:lnTo>
                          <a:pt x="0" y="14"/>
                        </a:lnTo>
                        <a:lnTo>
                          <a:pt x="0" y="12"/>
                        </a:lnTo>
                        <a:lnTo>
                          <a:pt x="0" y="11"/>
                        </a:lnTo>
                        <a:lnTo>
                          <a:pt x="2" y="9"/>
                        </a:lnTo>
                        <a:lnTo>
                          <a:pt x="3" y="5"/>
                        </a:lnTo>
                        <a:lnTo>
                          <a:pt x="7" y="2"/>
                        </a:lnTo>
                        <a:lnTo>
                          <a:pt x="8" y="0"/>
                        </a:lnTo>
                        <a:lnTo>
                          <a:pt x="10" y="2"/>
                        </a:lnTo>
                        <a:lnTo>
                          <a:pt x="12" y="0"/>
                        </a:lnTo>
                        <a:lnTo>
                          <a:pt x="13" y="0"/>
                        </a:lnTo>
                        <a:lnTo>
                          <a:pt x="13" y="2"/>
                        </a:lnTo>
                        <a:lnTo>
                          <a:pt x="13" y="4"/>
                        </a:lnTo>
                        <a:lnTo>
                          <a:pt x="12" y="4"/>
                        </a:lnTo>
                        <a:lnTo>
                          <a:pt x="12" y="5"/>
                        </a:lnTo>
                        <a:lnTo>
                          <a:pt x="12" y="9"/>
                        </a:lnTo>
                        <a:lnTo>
                          <a:pt x="12" y="12"/>
                        </a:lnTo>
                        <a:lnTo>
                          <a:pt x="10" y="12"/>
                        </a:lnTo>
                        <a:lnTo>
                          <a:pt x="8" y="14"/>
                        </a:lnTo>
                        <a:lnTo>
                          <a:pt x="7" y="16"/>
                        </a:lnTo>
                        <a:lnTo>
                          <a:pt x="5" y="17"/>
                        </a:lnTo>
                        <a:lnTo>
                          <a:pt x="3" y="19"/>
                        </a:lnTo>
                        <a:lnTo>
                          <a:pt x="2" y="21"/>
                        </a:lnTo>
                        <a:lnTo>
                          <a:pt x="0" y="22"/>
                        </a:lnTo>
                        <a:lnTo>
                          <a:pt x="2" y="2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668" name="Group 1667">
                <a:extLst>
                  <a:ext uri="{FF2B5EF4-FFF2-40B4-BE49-F238E27FC236}">
                    <a16:creationId xmlns:a16="http://schemas.microsoft.com/office/drawing/2014/main" id="{70631247-54D1-444A-BB62-B09416A5096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55" y="551"/>
                <a:ext cx="69" cy="34"/>
                <a:chOff x="255" y="551"/>
                <a:chExt cx="69" cy="34"/>
              </a:xfrm>
            </p:grpSpPr>
            <p:sp>
              <p:nvSpPr>
                <p:cNvPr id="1747" name="Freeform 121">
                  <a:extLst>
                    <a:ext uri="{FF2B5EF4-FFF2-40B4-BE49-F238E27FC236}">
                      <a16:creationId xmlns:a16="http://schemas.microsoft.com/office/drawing/2014/main" id="{24D32078-A9B0-7144-B0BA-A782CE1074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5" y="551"/>
                  <a:ext cx="69" cy="34"/>
                </a:xfrm>
                <a:custGeom>
                  <a:avLst/>
                  <a:gdLst>
                    <a:gd name="T0" fmla="*/ 65 w 69"/>
                    <a:gd name="T1" fmla="*/ 13 h 34"/>
                    <a:gd name="T2" fmla="*/ 60 w 69"/>
                    <a:gd name="T3" fmla="*/ 13 h 34"/>
                    <a:gd name="T4" fmla="*/ 57 w 69"/>
                    <a:gd name="T5" fmla="*/ 12 h 34"/>
                    <a:gd name="T6" fmla="*/ 54 w 69"/>
                    <a:gd name="T7" fmla="*/ 8 h 34"/>
                    <a:gd name="T8" fmla="*/ 55 w 69"/>
                    <a:gd name="T9" fmla="*/ 5 h 34"/>
                    <a:gd name="T10" fmla="*/ 52 w 69"/>
                    <a:gd name="T11" fmla="*/ 2 h 34"/>
                    <a:gd name="T12" fmla="*/ 45 w 69"/>
                    <a:gd name="T13" fmla="*/ 0 h 34"/>
                    <a:gd name="T14" fmla="*/ 40 w 69"/>
                    <a:gd name="T15" fmla="*/ 0 h 34"/>
                    <a:gd name="T16" fmla="*/ 32 w 69"/>
                    <a:gd name="T17" fmla="*/ 0 h 34"/>
                    <a:gd name="T18" fmla="*/ 25 w 69"/>
                    <a:gd name="T19" fmla="*/ 2 h 34"/>
                    <a:gd name="T20" fmla="*/ 22 w 69"/>
                    <a:gd name="T21" fmla="*/ 2 h 34"/>
                    <a:gd name="T22" fmla="*/ 17 w 69"/>
                    <a:gd name="T23" fmla="*/ 2 h 34"/>
                    <a:gd name="T24" fmla="*/ 13 w 69"/>
                    <a:gd name="T25" fmla="*/ 3 h 34"/>
                    <a:gd name="T26" fmla="*/ 13 w 69"/>
                    <a:gd name="T27" fmla="*/ 5 h 34"/>
                    <a:gd name="T28" fmla="*/ 10 w 69"/>
                    <a:gd name="T29" fmla="*/ 10 h 34"/>
                    <a:gd name="T30" fmla="*/ 6 w 69"/>
                    <a:gd name="T31" fmla="*/ 13 h 34"/>
                    <a:gd name="T32" fmla="*/ 5 w 69"/>
                    <a:gd name="T33" fmla="*/ 17 h 34"/>
                    <a:gd name="T34" fmla="*/ 1 w 69"/>
                    <a:gd name="T35" fmla="*/ 18 h 34"/>
                    <a:gd name="T36" fmla="*/ 0 w 69"/>
                    <a:gd name="T37" fmla="*/ 22 h 34"/>
                    <a:gd name="T38" fmla="*/ 0 w 69"/>
                    <a:gd name="T39" fmla="*/ 25 h 34"/>
                    <a:gd name="T40" fmla="*/ 1 w 69"/>
                    <a:gd name="T41" fmla="*/ 29 h 34"/>
                    <a:gd name="T42" fmla="*/ 5 w 69"/>
                    <a:gd name="T43" fmla="*/ 23 h 34"/>
                    <a:gd name="T44" fmla="*/ 10 w 69"/>
                    <a:gd name="T45" fmla="*/ 23 h 34"/>
                    <a:gd name="T46" fmla="*/ 12 w 69"/>
                    <a:gd name="T47" fmla="*/ 25 h 34"/>
                    <a:gd name="T48" fmla="*/ 12 w 69"/>
                    <a:gd name="T49" fmla="*/ 30 h 34"/>
                    <a:gd name="T50" fmla="*/ 15 w 69"/>
                    <a:gd name="T51" fmla="*/ 32 h 34"/>
                    <a:gd name="T52" fmla="*/ 17 w 69"/>
                    <a:gd name="T53" fmla="*/ 34 h 34"/>
                    <a:gd name="T54" fmla="*/ 22 w 69"/>
                    <a:gd name="T55" fmla="*/ 34 h 34"/>
                    <a:gd name="T56" fmla="*/ 25 w 69"/>
                    <a:gd name="T57" fmla="*/ 32 h 34"/>
                    <a:gd name="T58" fmla="*/ 30 w 69"/>
                    <a:gd name="T59" fmla="*/ 30 h 34"/>
                    <a:gd name="T60" fmla="*/ 32 w 69"/>
                    <a:gd name="T61" fmla="*/ 27 h 34"/>
                    <a:gd name="T62" fmla="*/ 37 w 69"/>
                    <a:gd name="T63" fmla="*/ 23 h 34"/>
                    <a:gd name="T64" fmla="*/ 39 w 69"/>
                    <a:gd name="T65" fmla="*/ 29 h 34"/>
                    <a:gd name="T66" fmla="*/ 44 w 69"/>
                    <a:gd name="T67" fmla="*/ 32 h 34"/>
                    <a:gd name="T68" fmla="*/ 45 w 69"/>
                    <a:gd name="T69" fmla="*/ 32 h 34"/>
                    <a:gd name="T70" fmla="*/ 49 w 69"/>
                    <a:gd name="T71" fmla="*/ 27 h 34"/>
                    <a:gd name="T72" fmla="*/ 50 w 69"/>
                    <a:gd name="T73" fmla="*/ 22 h 34"/>
                    <a:gd name="T74" fmla="*/ 54 w 69"/>
                    <a:gd name="T75" fmla="*/ 25 h 34"/>
                    <a:gd name="T76" fmla="*/ 60 w 69"/>
                    <a:gd name="T77" fmla="*/ 25 h 34"/>
                    <a:gd name="T78" fmla="*/ 62 w 69"/>
                    <a:gd name="T79" fmla="*/ 23 h 34"/>
                    <a:gd name="T80" fmla="*/ 64 w 69"/>
                    <a:gd name="T81" fmla="*/ 20 h 34"/>
                    <a:gd name="T82" fmla="*/ 67 w 69"/>
                    <a:gd name="T83" fmla="*/ 18 h 34"/>
                    <a:gd name="T84" fmla="*/ 69 w 69"/>
                    <a:gd name="T85" fmla="*/ 15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69" h="34">
                      <a:moveTo>
                        <a:pt x="67" y="13"/>
                      </a:moveTo>
                      <a:lnTo>
                        <a:pt x="65" y="13"/>
                      </a:lnTo>
                      <a:lnTo>
                        <a:pt x="64" y="15"/>
                      </a:lnTo>
                      <a:lnTo>
                        <a:pt x="60" y="13"/>
                      </a:lnTo>
                      <a:lnTo>
                        <a:pt x="59" y="13"/>
                      </a:lnTo>
                      <a:lnTo>
                        <a:pt x="57" y="12"/>
                      </a:lnTo>
                      <a:lnTo>
                        <a:pt x="55" y="10"/>
                      </a:lnTo>
                      <a:lnTo>
                        <a:pt x="54" y="8"/>
                      </a:lnTo>
                      <a:lnTo>
                        <a:pt x="55" y="7"/>
                      </a:lnTo>
                      <a:lnTo>
                        <a:pt x="55" y="5"/>
                      </a:lnTo>
                      <a:lnTo>
                        <a:pt x="54" y="3"/>
                      </a:lnTo>
                      <a:lnTo>
                        <a:pt x="52" y="2"/>
                      </a:lnTo>
                      <a:lnTo>
                        <a:pt x="49" y="0"/>
                      </a:lnTo>
                      <a:lnTo>
                        <a:pt x="45" y="0"/>
                      </a:lnTo>
                      <a:lnTo>
                        <a:pt x="42" y="0"/>
                      </a:lnTo>
                      <a:lnTo>
                        <a:pt x="40" y="0"/>
                      </a:lnTo>
                      <a:lnTo>
                        <a:pt x="35" y="0"/>
                      </a:lnTo>
                      <a:lnTo>
                        <a:pt x="32" y="0"/>
                      </a:lnTo>
                      <a:lnTo>
                        <a:pt x="28" y="2"/>
                      </a:lnTo>
                      <a:lnTo>
                        <a:pt x="25" y="2"/>
                      </a:lnTo>
                      <a:lnTo>
                        <a:pt x="23" y="0"/>
                      </a:lnTo>
                      <a:lnTo>
                        <a:pt x="22" y="2"/>
                      </a:lnTo>
                      <a:lnTo>
                        <a:pt x="20" y="2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3" y="3"/>
                      </a:lnTo>
                      <a:lnTo>
                        <a:pt x="15" y="5"/>
                      </a:lnTo>
                      <a:lnTo>
                        <a:pt x="13" y="5"/>
                      </a:lnTo>
                      <a:lnTo>
                        <a:pt x="12" y="7"/>
                      </a:lnTo>
                      <a:lnTo>
                        <a:pt x="10" y="10"/>
                      </a:lnTo>
                      <a:lnTo>
                        <a:pt x="8" y="12"/>
                      </a:lnTo>
                      <a:lnTo>
                        <a:pt x="6" y="13"/>
                      </a:lnTo>
                      <a:lnTo>
                        <a:pt x="5" y="15"/>
                      </a:lnTo>
                      <a:lnTo>
                        <a:pt x="5" y="17"/>
                      </a:lnTo>
                      <a:lnTo>
                        <a:pt x="3" y="17"/>
                      </a:lnTo>
                      <a:lnTo>
                        <a:pt x="1" y="18"/>
                      </a:lnTo>
                      <a:lnTo>
                        <a:pt x="1" y="20"/>
                      </a:lnTo>
                      <a:lnTo>
                        <a:pt x="0" y="22"/>
                      </a:lnTo>
                      <a:lnTo>
                        <a:pt x="0" y="23"/>
                      </a:lnTo>
                      <a:lnTo>
                        <a:pt x="0" y="25"/>
                      </a:lnTo>
                      <a:lnTo>
                        <a:pt x="0" y="29"/>
                      </a:lnTo>
                      <a:lnTo>
                        <a:pt x="1" y="29"/>
                      </a:lnTo>
                      <a:lnTo>
                        <a:pt x="3" y="25"/>
                      </a:lnTo>
                      <a:lnTo>
                        <a:pt x="5" y="23"/>
                      </a:lnTo>
                      <a:lnTo>
                        <a:pt x="8" y="23"/>
                      </a:lnTo>
                      <a:lnTo>
                        <a:pt x="10" y="23"/>
                      </a:lnTo>
                      <a:lnTo>
                        <a:pt x="12" y="23"/>
                      </a:lnTo>
                      <a:lnTo>
                        <a:pt x="12" y="25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3" y="32"/>
                      </a:lnTo>
                      <a:lnTo>
                        <a:pt x="15" y="32"/>
                      </a:lnTo>
                      <a:lnTo>
                        <a:pt x="15" y="34"/>
                      </a:lnTo>
                      <a:lnTo>
                        <a:pt x="17" y="34"/>
                      </a:lnTo>
                      <a:lnTo>
                        <a:pt x="20" y="34"/>
                      </a:lnTo>
                      <a:lnTo>
                        <a:pt x="22" y="34"/>
                      </a:lnTo>
                      <a:lnTo>
                        <a:pt x="23" y="34"/>
                      </a:lnTo>
                      <a:lnTo>
                        <a:pt x="25" y="32"/>
                      </a:lnTo>
                      <a:lnTo>
                        <a:pt x="28" y="32"/>
                      </a:lnTo>
                      <a:lnTo>
                        <a:pt x="30" y="30"/>
                      </a:lnTo>
                      <a:lnTo>
                        <a:pt x="32" y="29"/>
                      </a:lnTo>
                      <a:lnTo>
                        <a:pt x="32" y="27"/>
                      </a:lnTo>
                      <a:lnTo>
                        <a:pt x="33" y="25"/>
                      </a:lnTo>
                      <a:lnTo>
                        <a:pt x="37" y="23"/>
                      </a:lnTo>
                      <a:lnTo>
                        <a:pt x="37" y="25"/>
                      </a:lnTo>
                      <a:lnTo>
                        <a:pt x="39" y="29"/>
                      </a:lnTo>
                      <a:lnTo>
                        <a:pt x="42" y="30"/>
                      </a:lnTo>
                      <a:lnTo>
                        <a:pt x="44" y="32"/>
                      </a:lnTo>
                      <a:lnTo>
                        <a:pt x="45" y="34"/>
                      </a:lnTo>
                      <a:lnTo>
                        <a:pt x="45" y="32"/>
                      </a:lnTo>
                      <a:lnTo>
                        <a:pt x="47" y="30"/>
                      </a:lnTo>
                      <a:lnTo>
                        <a:pt x="49" y="27"/>
                      </a:lnTo>
                      <a:lnTo>
                        <a:pt x="50" y="25"/>
                      </a:lnTo>
                      <a:lnTo>
                        <a:pt x="50" y="22"/>
                      </a:lnTo>
                      <a:lnTo>
                        <a:pt x="52" y="23"/>
                      </a:lnTo>
                      <a:lnTo>
                        <a:pt x="54" y="25"/>
                      </a:lnTo>
                      <a:lnTo>
                        <a:pt x="57" y="25"/>
                      </a:lnTo>
                      <a:lnTo>
                        <a:pt x="60" y="25"/>
                      </a:lnTo>
                      <a:lnTo>
                        <a:pt x="64" y="25"/>
                      </a:lnTo>
                      <a:lnTo>
                        <a:pt x="62" y="23"/>
                      </a:lnTo>
                      <a:lnTo>
                        <a:pt x="62" y="22"/>
                      </a:lnTo>
                      <a:lnTo>
                        <a:pt x="64" y="20"/>
                      </a:lnTo>
                      <a:lnTo>
                        <a:pt x="65" y="20"/>
                      </a:lnTo>
                      <a:lnTo>
                        <a:pt x="67" y="18"/>
                      </a:lnTo>
                      <a:lnTo>
                        <a:pt x="67" y="17"/>
                      </a:lnTo>
                      <a:lnTo>
                        <a:pt x="69" y="15"/>
                      </a:lnTo>
                      <a:lnTo>
                        <a:pt x="67" y="1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8" name="Freeform 122">
                  <a:extLst>
                    <a:ext uri="{FF2B5EF4-FFF2-40B4-BE49-F238E27FC236}">
                      <a16:creationId xmlns:a16="http://schemas.microsoft.com/office/drawing/2014/main" id="{281668E1-560C-464D-A2B1-1A933D0BC7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5" y="551"/>
                  <a:ext cx="69" cy="34"/>
                </a:xfrm>
                <a:custGeom>
                  <a:avLst/>
                  <a:gdLst>
                    <a:gd name="T0" fmla="*/ 65 w 69"/>
                    <a:gd name="T1" fmla="*/ 13 h 34"/>
                    <a:gd name="T2" fmla="*/ 60 w 69"/>
                    <a:gd name="T3" fmla="*/ 13 h 34"/>
                    <a:gd name="T4" fmla="*/ 57 w 69"/>
                    <a:gd name="T5" fmla="*/ 12 h 34"/>
                    <a:gd name="T6" fmla="*/ 54 w 69"/>
                    <a:gd name="T7" fmla="*/ 8 h 34"/>
                    <a:gd name="T8" fmla="*/ 55 w 69"/>
                    <a:gd name="T9" fmla="*/ 5 h 34"/>
                    <a:gd name="T10" fmla="*/ 52 w 69"/>
                    <a:gd name="T11" fmla="*/ 2 h 34"/>
                    <a:gd name="T12" fmla="*/ 45 w 69"/>
                    <a:gd name="T13" fmla="*/ 0 h 34"/>
                    <a:gd name="T14" fmla="*/ 40 w 69"/>
                    <a:gd name="T15" fmla="*/ 0 h 34"/>
                    <a:gd name="T16" fmla="*/ 32 w 69"/>
                    <a:gd name="T17" fmla="*/ 0 h 34"/>
                    <a:gd name="T18" fmla="*/ 25 w 69"/>
                    <a:gd name="T19" fmla="*/ 2 h 34"/>
                    <a:gd name="T20" fmla="*/ 22 w 69"/>
                    <a:gd name="T21" fmla="*/ 2 h 34"/>
                    <a:gd name="T22" fmla="*/ 17 w 69"/>
                    <a:gd name="T23" fmla="*/ 2 h 34"/>
                    <a:gd name="T24" fmla="*/ 13 w 69"/>
                    <a:gd name="T25" fmla="*/ 3 h 34"/>
                    <a:gd name="T26" fmla="*/ 13 w 69"/>
                    <a:gd name="T27" fmla="*/ 5 h 34"/>
                    <a:gd name="T28" fmla="*/ 10 w 69"/>
                    <a:gd name="T29" fmla="*/ 10 h 34"/>
                    <a:gd name="T30" fmla="*/ 6 w 69"/>
                    <a:gd name="T31" fmla="*/ 13 h 34"/>
                    <a:gd name="T32" fmla="*/ 5 w 69"/>
                    <a:gd name="T33" fmla="*/ 17 h 34"/>
                    <a:gd name="T34" fmla="*/ 1 w 69"/>
                    <a:gd name="T35" fmla="*/ 18 h 34"/>
                    <a:gd name="T36" fmla="*/ 0 w 69"/>
                    <a:gd name="T37" fmla="*/ 22 h 34"/>
                    <a:gd name="T38" fmla="*/ 0 w 69"/>
                    <a:gd name="T39" fmla="*/ 25 h 34"/>
                    <a:gd name="T40" fmla="*/ 1 w 69"/>
                    <a:gd name="T41" fmla="*/ 29 h 34"/>
                    <a:gd name="T42" fmla="*/ 5 w 69"/>
                    <a:gd name="T43" fmla="*/ 23 h 34"/>
                    <a:gd name="T44" fmla="*/ 10 w 69"/>
                    <a:gd name="T45" fmla="*/ 23 h 34"/>
                    <a:gd name="T46" fmla="*/ 12 w 69"/>
                    <a:gd name="T47" fmla="*/ 25 h 34"/>
                    <a:gd name="T48" fmla="*/ 12 w 69"/>
                    <a:gd name="T49" fmla="*/ 30 h 34"/>
                    <a:gd name="T50" fmla="*/ 15 w 69"/>
                    <a:gd name="T51" fmla="*/ 32 h 34"/>
                    <a:gd name="T52" fmla="*/ 17 w 69"/>
                    <a:gd name="T53" fmla="*/ 34 h 34"/>
                    <a:gd name="T54" fmla="*/ 22 w 69"/>
                    <a:gd name="T55" fmla="*/ 34 h 34"/>
                    <a:gd name="T56" fmla="*/ 25 w 69"/>
                    <a:gd name="T57" fmla="*/ 32 h 34"/>
                    <a:gd name="T58" fmla="*/ 30 w 69"/>
                    <a:gd name="T59" fmla="*/ 30 h 34"/>
                    <a:gd name="T60" fmla="*/ 32 w 69"/>
                    <a:gd name="T61" fmla="*/ 27 h 34"/>
                    <a:gd name="T62" fmla="*/ 37 w 69"/>
                    <a:gd name="T63" fmla="*/ 23 h 34"/>
                    <a:gd name="T64" fmla="*/ 39 w 69"/>
                    <a:gd name="T65" fmla="*/ 29 h 34"/>
                    <a:gd name="T66" fmla="*/ 44 w 69"/>
                    <a:gd name="T67" fmla="*/ 32 h 34"/>
                    <a:gd name="T68" fmla="*/ 45 w 69"/>
                    <a:gd name="T69" fmla="*/ 32 h 34"/>
                    <a:gd name="T70" fmla="*/ 49 w 69"/>
                    <a:gd name="T71" fmla="*/ 27 h 34"/>
                    <a:gd name="T72" fmla="*/ 50 w 69"/>
                    <a:gd name="T73" fmla="*/ 22 h 34"/>
                    <a:gd name="T74" fmla="*/ 54 w 69"/>
                    <a:gd name="T75" fmla="*/ 25 h 34"/>
                    <a:gd name="T76" fmla="*/ 60 w 69"/>
                    <a:gd name="T77" fmla="*/ 25 h 34"/>
                    <a:gd name="T78" fmla="*/ 62 w 69"/>
                    <a:gd name="T79" fmla="*/ 23 h 34"/>
                    <a:gd name="T80" fmla="*/ 64 w 69"/>
                    <a:gd name="T81" fmla="*/ 20 h 34"/>
                    <a:gd name="T82" fmla="*/ 67 w 69"/>
                    <a:gd name="T83" fmla="*/ 18 h 34"/>
                    <a:gd name="T84" fmla="*/ 69 w 69"/>
                    <a:gd name="T85" fmla="*/ 15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69" h="34">
                      <a:moveTo>
                        <a:pt x="67" y="13"/>
                      </a:moveTo>
                      <a:lnTo>
                        <a:pt x="65" y="13"/>
                      </a:lnTo>
                      <a:lnTo>
                        <a:pt x="64" y="15"/>
                      </a:lnTo>
                      <a:lnTo>
                        <a:pt x="60" y="13"/>
                      </a:lnTo>
                      <a:lnTo>
                        <a:pt x="59" y="13"/>
                      </a:lnTo>
                      <a:lnTo>
                        <a:pt x="57" y="12"/>
                      </a:lnTo>
                      <a:lnTo>
                        <a:pt x="55" y="10"/>
                      </a:lnTo>
                      <a:lnTo>
                        <a:pt x="54" y="8"/>
                      </a:lnTo>
                      <a:lnTo>
                        <a:pt x="55" y="7"/>
                      </a:lnTo>
                      <a:lnTo>
                        <a:pt x="55" y="5"/>
                      </a:lnTo>
                      <a:lnTo>
                        <a:pt x="54" y="3"/>
                      </a:lnTo>
                      <a:lnTo>
                        <a:pt x="52" y="2"/>
                      </a:lnTo>
                      <a:lnTo>
                        <a:pt x="49" y="0"/>
                      </a:lnTo>
                      <a:lnTo>
                        <a:pt x="45" y="0"/>
                      </a:lnTo>
                      <a:lnTo>
                        <a:pt x="42" y="0"/>
                      </a:lnTo>
                      <a:lnTo>
                        <a:pt x="40" y="0"/>
                      </a:lnTo>
                      <a:lnTo>
                        <a:pt x="35" y="0"/>
                      </a:lnTo>
                      <a:lnTo>
                        <a:pt x="32" y="0"/>
                      </a:lnTo>
                      <a:lnTo>
                        <a:pt x="28" y="2"/>
                      </a:lnTo>
                      <a:lnTo>
                        <a:pt x="25" y="2"/>
                      </a:lnTo>
                      <a:lnTo>
                        <a:pt x="23" y="0"/>
                      </a:lnTo>
                      <a:lnTo>
                        <a:pt x="22" y="2"/>
                      </a:lnTo>
                      <a:lnTo>
                        <a:pt x="20" y="2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3" y="3"/>
                      </a:lnTo>
                      <a:lnTo>
                        <a:pt x="15" y="5"/>
                      </a:lnTo>
                      <a:lnTo>
                        <a:pt x="13" y="5"/>
                      </a:lnTo>
                      <a:lnTo>
                        <a:pt x="12" y="7"/>
                      </a:lnTo>
                      <a:lnTo>
                        <a:pt x="10" y="10"/>
                      </a:lnTo>
                      <a:lnTo>
                        <a:pt x="8" y="12"/>
                      </a:lnTo>
                      <a:lnTo>
                        <a:pt x="6" y="13"/>
                      </a:lnTo>
                      <a:lnTo>
                        <a:pt x="5" y="15"/>
                      </a:lnTo>
                      <a:lnTo>
                        <a:pt x="5" y="17"/>
                      </a:lnTo>
                      <a:lnTo>
                        <a:pt x="3" y="17"/>
                      </a:lnTo>
                      <a:lnTo>
                        <a:pt x="1" y="18"/>
                      </a:lnTo>
                      <a:lnTo>
                        <a:pt x="1" y="20"/>
                      </a:lnTo>
                      <a:lnTo>
                        <a:pt x="0" y="22"/>
                      </a:lnTo>
                      <a:lnTo>
                        <a:pt x="0" y="23"/>
                      </a:lnTo>
                      <a:lnTo>
                        <a:pt x="0" y="25"/>
                      </a:lnTo>
                      <a:lnTo>
                        <a:pt x="0" y="29"/>
                      </a:lnTo>
                      <a:lnTo>
                        <a:pt x="1" y="29"/>
                      </a:lnTo>
                      <a:lnTo>
                        <a:pt x="3" y="25"/>
                      </a:lnTo>
                      <a:lnTo>
                        <a:pt x="5" y="23"/>
                      </a:lnTo>
                      <a:lnTo>
                        <a:pt x="8" y="23"/>
                      </a:lnTo>
                      <a:lnTo>
                        <a:pt x="10" y="23"/>
                      </a:lnTo>
                      <a:lnTo>
                        <a:pt x="12" y="23"/>
                      </a:lnTo>
                      <a:lnTo>
                        <a:pt x="12" y="25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3" y="32"/>
                      </a:lnTo>
                      <a:lnTo>
                        <a:pt x="15" y="32"/>
                      </a:lnTo>
                      <a:lnTo>
                        <a:pt x="15" y="34"/>
                      </a:lnTo>
                      <a:lnTo>
                        <a:pt x="17" y="34"/>
                      </a:lnTo>
                      <a:lnTo>
                        <a:pt x="20" y="34"/>
                      </a:lnTo>
                      <a:lnTo>
                        <a:pt x="22" y="34"/>
                      </a:lnTo>
                      <a:lnTo>
                        <a:pt x="23" y="34"/>
                      </a:lnTo>
                      <a:lnTo>
                        <a:pt x="25" y="32"/>
                      </a:lnTo>
                      <a:lnTo>
                        <a:pt x="28" y="32"/>
                      </a:lnTo>
                      <a:lnTo>
                        <a:pt x="30" y="30"/>
                      </a:lnTo>
                      <a:lnTo>
                        <a:pt x="32" y="29"/>
                      </a:lnTo>
                      <a:lnTo>
                        <a:pt x="32" y="27"/>
                      </a:lnTo>
                      <a:lnTo>
                        <a:pt x="33" y="25"/>
                      </a:lnTo>
                      <a:lnTo>
                        <a:pt x="37" y="23"/>
                      </a:lnTo>
                      <a:lnTo>
                        <a:pt x="37" y="25"/>
                      </a:lnTo>
                      <a:lnTo>
                        <a:pt x="39" y="29"/>
                      </a:lnTo>
                      <a:lnTo>
                        <a:pt x="42" y="30"/>
                      </a:lnTo>
                      <a:lnTo>
                        <a:pt x="44" y="32"/>
                      </a:lnTo>
                      <a:lnTo>
                        <a:pt x="45" y="34"/>
                      </a:lnTo>
                      <a:lnTo>
                        <a:pt x="45" y="32"/>
                      </a:lnTo>
                      <a:lnTo>
                        <a:pt x="47" y="30"/>
                      </a:lnTo>
                      <a:lnTo>
                        <a:pt x="49" y="27"/>
                      </a:lnTo>
                      <a:lnTo>
                        <a:pt x="50" y="25"/>
                      </a:lnTo>
                      <a:lnTo>
                        <a:pt x="50" y="22"/>
                      </a:lnTo>
                      <a:lnTo>
                        <a:pt x="52" y="23"/>
                      </a:lnTo>
                      <a:lnTo>
                        <a:pt x="54" y="25"/>
                      </a:lnTo>
                      <a:lnTo>
                        <a:pt x="57" y="25"/>
                      </a:lnTo>
                      <a:lnTo>
                        <a:pt x="60" y="25"/>
                      </a:lnTo>
                      <a:lnTo>
                        <a:pt x="64" y="25"/>
                      </a:lnTo>
                      <a:lnTo>
                        <a:pt x="62" y="23"/>
                      </a:lnTo>
                      <a:lnTo>
                        <a:pt x="62" y="22"/>
                      </a:lnTo>
                      <a:lnTo>
                        <a:pt x="64" y="20"/>
                      </a:lnTo>
                      <a:lnTo>
                        <a:pt x="65" y="20"/>
                      </a:lnTo>
                      <a:lnTo>
                        <a:pt x="67" y="18"/>
                      </a:lnTo>
                      <a:lnTo>
                        <a:pt x="67" y="17"/>
                      </a:lnTo>
                      <a:lnTo>
                        <a:pt x="69" y="15"/>
                      </a:lnTo>
                      <a:lnTo>
                        <a:pt x="67" y="13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69" name="Group 1668">
                <a:extLst>
                  <a:ext uri="{FF2B5EF4-FFF2-40B4-BE49-F238E27FC236}">
                    <a16:creationId xmlns:a16="http://schemas.microsoft.com/office/drawing/2014/main" id="{37EAA4CC-507A-0E49-9B38-6CCA1CBB99A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3" y="451"/>
                <a:ext cx="283" cy="161"/>
                <a:chOff x="503" y="451"/>
                <a:chExt cx="283" cy="161"/>
              </a:xfrm>
            </p:grpSpPr>
            <p:sp>
              <p:nvSpPr>
                <p:cNvPr id="1745" name="Freeform 119">
                  <a:extLst>
                    <a:ext uri="{FF2B5EF4-FFF2-40B4-BE49-F238E27FC236}">
                      <a16:creationId xmlns:a16="http://schemas.microsoft.com/office/drawing/2014/main" id="{9FD056AF-0744-C84B-88AE-D016120FAB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" y="451"/>
                  <a:ext cx="283" cy="161"/>
                </a:xfrm>
                <a:custGeom>
                  <a:avLst/>
                  <a:gdLst>
                    <a:gd name="T0" fmla="*/ 131 w 283"/>
                    <a:gd name="T1" fmla="*/ 11 h 161"/>
                    <a:gd name="T2" fmla="*/ 129 w 283"/>
                    <a:gd name="T3" fmla="*/ 17 h 161"/>
                    <a:gd name="T4" fmla="*/ 114 w 283"/>
                    <a:gd name="T5" fmla="*/ 19 h 161"/>
                    <a:gd name="T6" fmla="*/ 101 w 283"/>
                    <a:gd name="T7" fmla="*/ 16 h 161"/>
                    <a:gd name="T8" fmla="*/ 86 w 283"/>
                    <a:gd name="T9" fmla="*/ 16 h 161"/>
                    <a:gd name="T10" fmla="*/ 57 w 283"/>
                    <a:gd name="T11" fmla="*/ 9 h 161"/>
                    <a:gd name="T12" fmla="*/ 37 w 283"/>
                    <a:gd name="T13" fmla="*/ 12 h 161"/>
                    <a:gd name="T14" fmla="*/ 21 w 283"/>
                    <a:gd name="T15" fmla="*/ 17 h 161"/>
                    <a:gd name="T16" fmla="*/ 32 w 283"/>
                    <a:gd name="T17" fmla="*/ 39 h 161"/>
                    <a:gd name="T18" fmla="*/ 18 w 283"/>
                    <a:gd name="T19" fmla="*/ 53 h 161"/>
                    <a:gd name="T20" fmla="*/ 10 w 283"/>
                    <a:gd name="T21" fmla="*/ 63 h 161"/>
                    <a:gd name="T22" fmla="*/ 6 w 283"/>
                    <a:gd name="T23" fmla="*/ 64 h 161"/>
                    <a:gd name="T24" fmla="*/ 1 w 283"/>
                    <a:gd name="T25" fmla="*/ 80 h 161"/>
                    <a:gd name="T26" fmla="*/ 15 w 283"/>
                    <a:gd name="T27" fmla="*/ 90 h 161"/>
                    <a:gd name="T28" fmla="*/ 30 w 283"/>
                    <a:gd name="T29" fmla="*/ 90 h 161"/>
                    <a:gd name="T30" fmla="*/ 52 w 283"/>
                    <a:gd name="T31" fmla="*/ 90 h 161"/>
                    <a:gd name="T32" fmla="*/ 70 w 283"/>
                    <a:gd name="T33" fmla="*/ 83 h 161"/>
                    <a:gd name="T34" fmla="*/ 102 w 283"/>
                    <a:gd name="T35" fmla="*/ 83 h 161"/>
                    <a:gd name="T36" fmla="*/ 119 w 283"/>
                    <a:gd name="T37" fmla="*/ 118 h 161"/>
                    <a:gd name="T38" fmla="*/ 109 w 283"/>
                    <a:gd name="T39" fmla="*/ 123 h 161"/>
                    <a:gd name="T40" fmla="*/ 99 w 283"/>
                    <a:gd name="T41" fmla="*/ 130 h 161"/>
                    <a:gd name="T42" fmla="*/ 96 w 283"/>
                    <a:gd name="T43" fmla="*/ 142 h 161"/>
                    <a:gd name="T44" fmla="*/ 113 w 283"/>
                    <a:gd name="T45" fmla="*/ 145 h 161"/>
                    <a:gd name="T46" fmla="*/ 119 w 283"/>
                    <a:gd name="T47" fmla="*/ 135 h 161"/>
                    <a:gd name="T48" fmla="*/ 128 w 283"/>
                    <a:gd name="T49" fmla="*/ 125 h 161"/>
                    <a:gd name="T50" fmla="*/ 134 w 283"/>
                    <a:gd name="T51" fmla="*/ 118 h 161"/>
                    <a:gd name="T52" fmla="*/ 146 w 283"/>
                    <a:gd name="T53" fmla="*/ 113 h 161"/>
                    <a:gd name="T54" fmla="*/ 155 w 283"/>
                    <a:gd name="T55" fmla="*/ 110 h 161"/>
                    <a:gd name="T56" fmla="*/ 158 w 283"/>
                    <a:gd name="T57" fmla="*/ 118 h 161"/>
                    <a:gd name="T58" fmla="*/ 153 w 283"/>
                    <a:gd name="T59" fmla="*/ 120 h 161"/>
                    <a:gd name="T60" fmla="*/ 163 w 283"/>
                    <a:gd name="T61" fmla="*/ 127 h 161"/>
                    <a:gd name="T62" fmla="*/ 170 w 283"/>
                    <a:gd name="T63" fmla="*/ 135 h 161"/>
                    <a:gd name="T64" fmla="*/ 177 w 283"/>
                    <a:gd name="T65" fmla="*/ 149 h 161"/>
                    <a:gd name="T66" fmla="*/ 180 w 283"/>
                    <a:gd name="T67" fmla="*/ 161 h 161"/>
                    <a:gd name="T68" fmla="*/ 192 w 283"/>
                    <a:gd name="T69" fmla="*/ 154 h 161"/>
                    <a:gd name="T70" fmla="*/ 200 w 283"/>
                    <a:gd name="T71" fmla="*/ 152 h 161"/>
                    <a:gd name="T72" fmla="*/ 214 w 283"/>
                    <a:gd name="T73" fmla="*/ 149 h 161"/>
                    <a:gd name="T74" fmla="*/ 220 w 283"/>
                    <a:gd name="T75" fmla="*/ 140 h 161"/>
                    <a:gd name="T76" fmla="*/ 195 w 283"/>
                    <a:gd name="T77" fmla="*/ 137 h 161"/>
                    <a:gd name="T78" fmla="*/ 182 w 283"/>
                    <a:gd name="T79" fmla="*/ 127 h 161"/>
                    <a:gd name="T80" fmla="*/ 192 w 283"/>
                    <a:gd name="T81" fmla="*/ 129 h 161"/>
                    <a:gd name="T82" fmla="*/ 209 w 283"/>
                    <a:gd name="T83" fmla="*/ 120 h 161"/>
                    <a:gd name="T84" fmla="*/ 247 w 283"/>
                    <a:gd name="T85" fmla="*/ 108 h 161"/>
                    <a:gd name="T86" fmla="*/ 252 w 283"/>
                    <a:gd name="T87" fmla="*/ 102 h 161"/>
                    <a:gd name="T88" fmla="*/ 263 w 283"/>
                    <a:gd name="T89" fmla="*/ 93 h 161"/>
                    <a:gd name="T90" fmla="*/ 278 w 283"/>
                    <a:gd name="T91" fmla="*/ 90 h 161"/>
                    <a:gd name="T92" fmla="*/ 274 w 283"/>
                    <a:gd name="T93" fmla="*/ 78 h 161"/>
                    <a:gd name="T94" fmla="*/ 278 w 283"/>
                    <a:gd name="T95" fmla="*/ 73 h 161"/>
                    <a:gd name="T96" fmla="*/ 283 w 283"/>
                    <a:gd name="T97" fmla="*/ 61 h 161"/>
                    <a:gd name="T98" fmla="*/ 274 w 283"/>
                    <a:gd name="T99" fmla="*/ 56 h 161"/>
                    <a:gd name="T100" fmla="*/ 261 w 283"/>
                    <a:gd name="T101" fmla="*/ 49 h 161"/>
                    <a:gd name="T102" fmla="*/ 251 w 283"/>
                    <a:gd name="T103" fmla="*/ 51 h 161"/>
                    <a:gd name="T104" fmla="*/ 241 w 283"/>
                    <a:gd name="T105" fmla="*/ 43 h 161"/>
                    <a:gd name="T106" fmla="*/ 224 w 283"/>
                    <a:gd name="T107" fmla="*/ 43 h 161"/>
                    <a:gd name="T108" fmla="*/ 210 w 283"/>
                    <a:gd name="T109" fmla="*/ 41 h 161"/>
                    <a:gd name="T110" fmla="*/ 199 w 283"/>
                    <a:gd name="T111" fmla="*/ 26 h 161"/>
                    <a:gd name="T112" fmla="*/ 193 w 283"/>
                    <a:gd name="T113" fmla="*/ 14 h 161"/>
                    <a:gd name="T114" fmla="*/ 180 w 283"/>
                    <a:gd name="T115" fmla="*/ 2 h 161"/>
                    <a:gd name="T116" fmla="*/ 158 w 283"/>
                    <a:gd name="T117" fmla="*/ 7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83" h="161">
                      <a:moveTo>
                        <a:pt x="150" y="5"/>
                      </a:moveTo>
                      <a:lnTo>
                        <a:pt x="148" y="5"/>
                      </a:lnTo>
                      <a:lnTo>
                        <a:pt x="145" y="5"/>
                      </a:lnTo>
                      <a:lnTo>
                        <a:pt x="143" y="5"/>
                      </a:lnTo>
                      <a:lnTo>
                        <a:pt x="141" y="5"/>
                      </a:lnTo>
                      <a:lnTo>
                        <a:pt x="138" y="9"/>
                      </a:lnTo>
                      <a:lnTo>
                        <a:pt x="136" y="9"/>
                      </a:lnTo>
                      <a:lnTo>
                        <a:pt x="133" y="11"/>
                      </a:lnTo>
                      <a:lnTo>
                        <a:pt x="131" y="11"/>
                      </a:lnTo>
                      <a:lnTo>
                        <a:pt x="129" y="11"/>
                      </a:lnTo>
                      <a:lnTo>
                        <a:pt x="128" y="11"/>
                      </a:lnTo>
                      <a:lnTo>
                        <a:pt x="128" y="12"/>
                      </a:lnTo>
                      <a:lnTo>
                        <a:pt x="128" y="14"/>
                      </a:lnTo>
                      <a:lnTo>
                        <a:pt x="129" y="14"/>
                      </a:lnTo>
                      <a:lnTo>
                        <a:pt x="129" y="16"/>
                      </a:lnTo>
                      <a:lnTo>
                        <a:pt x="131" y="16"/>
                      </a:lnTo>
                      <a:lnTo>
                        <a:pt x="131" y="17"/>
                      </a:lnTo>
                      <a:lnTo>
                        <a:pt x="129" y="17"/>
                      </a:lnTo>
                      <a:lnTo>
                        <a:pt x="128" y="17"/>
                      </a:lnTo>
                      <a:lnTo>
                        <a:pt x="126" y="17"/>
                      </a:lnTo>
                      <a:lnTo>
                        <a:pt x="126" y="19"/>
                      </a:lnTo>
                      <a:lnTo>
                        <a:pt x="124" y="19"/>
                      </a:lnTo>
                      <a:lnTo>
                        <a:pt x="123" y="19"/>
                      </a:lnTo>
                      <a:lnTo>
                        <a:pt x="121" y="19"/>
                      </a:lnTo>
                      <a:lnTo>
                        <a:pt x="119" y="19"/>
                      </a:lnTo>
                      <a:lnTo>
                        <a:pt x="116" y="21"/>
                      </a:lnTo>
                      <a:lnTo>
                        <a:pt x="114" y="19"/>
                      </a:lnTo>
                      <a:lnTo>
                        <a:pt x="114" y="17"/>
                      </a:lnTo>
                      <a:lnTo>
                        <a:pt x="113" y="17"/>
                      </a:lnTo>
                      <a:lnTo>
                        <a:pt x="113" y="16"/>
                      </a:lnTo>
                      <a:lnTo>
                        <a:pt x="111" y="16"/>
                      </a:lnTo>
                      <a:lnTo>
                        <a:pt x="109" y="16"/>
                      </a:lnTo>
                      <a:lnTo>
                        <a:pt x="109" y="17"/>
                      </a:lnTo>
                      <a:lnTo>
                        <a:pt x="107" y="17"/>
                      </a:lnTo>
                      <a:lnTo>
                        <a:pt x="104" y="17"/>
                      </a:lnTo>
                      <a:lnTo>
                        <a:pt x="101" y="16"/>
                      </a:lnTo>
                      <a:lnTo>
                        <a:pt x="99" y="16"/>
                      </a:lnTo>
                      <a:lnTo>
                        <a:pt x="97" y="16"/>
                      </a:lnTo>
                      <a:lnTo>
                        <a:pt x="96" y="16"/>
                      </a:lnTo>
                      <a:lnTo>
                        <a:pt x="94" y="16"/>
                      </a:lnTo>
                      <a:lnTo>
                        <a:pt x="92" y="17"/>
                      </a:lnTo>
                      <a:lnTo>
                        <a:pt x="91" y="17"/>
                      </a:lnTo>
                      <a:lnTo>
                        <a:pt x="89" y="16"/>
                      </a:lnTo>
                      <a:lnTo>
                        <a:pt x="87" y="16"/>
                      </a:lnTo>
                      <a:lnTo>
                        <a:pt x="86" y="16"/>
                      </a:lnTo>
                      <a:lnTo>
                        <a:pt x="84" y="14"/>
                      </a:lnTo>
                      <a:lnTo>
                        <a:pt x="81" y="14"/>
                      </a:lnTo>
                      <a:lnTo>
                        <a:pt x="75" y="14"/>
                      </a:lnTo>
                      <a:lnTo>
                        <a:pt x="70" y="14"/>
                      </a:lnTo>
                      <a:lnTo>
                        <a:pt x="67" y="14"/>
                      </a:lnTo>
                      <a:lnTo>
                        <a:pt x="64" y="12"/>
                      </a:lnTo>
                      <a:lnTo>
                        <a:pt x="60" y="11"/>
                      </a:lnTo>
                      <a:lnTo>
                        <a:pt x="59" y="9"/>
                      </a:lnTo>
                      <a:lnTo>
                        <a:pt x="57" y="9"/>
                      </a:lnTo>
                      <a:lnTo>
                        <a:pt x="55" y="9"/>
                      </a:lnTo>
                      <a:lnTo>
                        <a:pt x="54" y="11"/>
                      </a:lnTo>
                      <a:lnTo>
                        <a:pt x="52" y="9"/>
                      </a:lnTo>
                      <a:lnTo>
                        <a:pt x="48" y="9"/>
                      </a:lnTo>
                      <a:lnTo>
                        <a:pt x="47" y="9"/>
                      </a:lnTo>
                      <a:lnTo>
                        <a:pt x="43" y="9"/>
                      </a:lnTo>
                      <a:lnTo>
                        <a:pt x="40" y="9"/>
                      </a:lnTo>
                      <a:lnTo>
                        <a:pt x="38" y="11"/>
                      </a:lnTo>
                      <a:lnTo>
                        <a:pt x="37" y="12"/>
                      </a:lnTo>
                      <a:lnTo>
                        <a:pt x="35" y="12"/>
                      </a:lnTo>
                      <a:lnTo>
                        <a:pt x="35" y="14"/>
                      </a:lnTo>
                      <a:lnTo>
                        <a:pt x="33" y="14"/>
                      </a:lnTo>
                      <a:lnTo>
                        <a:pt x="33" y="16"/>
                      </a:lnTo>
                      <a:lnTo>
                        <a:pt x="30" y="16"/>
                      </a:lnTo>
                      <a:lnTo>
                        <a:pt x="28" y="17"/>
                      </a:lnTo>
                      <a:lnTo>
                        <a:pt x="27" y="17"/>
                      </a:lnTo>
                      <a:lnTo>
                        <a:pt x="25" y="17"/>
                      </a:lnTo>
                      <a:lnTo>
                        <a:pt x="21" y="17"/>
                      </a:lnTo>
                      <a:lnTo>
                        <a:pt x="25" y="22"/>
                      </a:lnTo>
                      <a:lnTo>
                        <a:pt x="25" y="24"/>
                      </a:lnTo>
                      <a:lnTo>
                        <a:pt x="25" y="26"/>
                      </a:lnTo>
                      <a:lnTo>
                        <a:pt x="25" y="27"/>
                      </a:lnTo>
                      <a:lnTo>
                        <a:pt x="27" y="27"/>
                      </a:lnTo>
                      <a:lnTo>
                        <a:pt x="28" y="31"/>
                      </a:lnTo>
                      <a:lnTo>
                        <a:pt x="32" y="34"/>
                      </a:lnTo>
                      <a:lnTo>
                        <a:pt x="32" y="38"/>
                      </a:lnTo>
                      <a:lnTo>
                        <a:pt x="32" y="39"/>
                      </a:lnTo>
                      <a:lnTo>
                        <a:pt x="32" y="41"/>
                      </a:lnTo>
                      <a:lnTo>
                        <a:pt x="32" y="43"/>
                      </a:lnTo>
                      <a:lnTo>
                        <a:pt x="28" y="44"/>
                      </a:lnTo>
                      <a:lnTo>
                        <a:pt x="25" y="46"/>
                      </a:lnTo>
                      <a:lnTo>
                        <a:pt x="23" y="48"/>
                      </a:lnTo>
                      <a:lnTo>
                        <a:pt x="21" y="48"/>
                      </a:lnTo>
                      <a:lnTo>
                        <a:pt x="21" y="51"/>
                      </a:lnTo>
                      <a:lnTo>
                        <a:pt x="20" y="51"/>
                      </a:lnTo>
                      <a:lnTo>
                        <a:pt x="18" y="53"/>
                      </a:lnTo>
                      <a:lnTo>
                        <a:pt x="16" y="53"/>
                      </a:lnTo>
                      <a:lnTo>
                        <a:pt x="15" y="54"/>
                      </a:lnTo>
                      <a:lnTo>
                        <a:pt x="13" y="54"/>
                      </a:lnTo>
                      <a:lnTo>
                        <a:pt x="11" y="56"/>
                      </a:lnTo>
                      <a:lnTo>
                        <a:pt x="11" y="58"/>
                      </a:lnTo>
                      <a:lnTo>
                        <a:pt x="11" y="59"/>
                      </a:lnTo>
                      <a:lnTo>
                        <a:pt x="10" y="59"/>
                      </a:lnTo>
                      <a:lnTo>
                        <a:pt x="10" y="61"/>
                      </a:lnTo>
                      <a:lnTo>
                        <a:pt x="10" y="63"/>
                      </a:lnTo>
                      <a:lnTo>
                        <a:pt x="11" y="64"/>
                      </a:lnTo>
                      <a:lnTo>
                        <a:pt x="13" y="64"/>
                      </a:lnTo>
                      <a:lnTo>
                        <a:pt x="13" y="66"/>
                      </a:lnTo>
                      <a:lnTo>
                        <a:pt x="13" y="68"/>
                      </a:lnTo>
                      <a:lnTo>
                        <a:pt x="11" y="68"/>
                      </a:lnTo>
                      <a:lnTo>
                        <a:pt x="10" y="68"/>
                      </a:lnTo>
                      <a:lnTo>
                        <a:pt x="10" y="66"/>
                      </a:lnTo>
                      <a:lnTo>
                        <a:pt x="8" y="64"/>
                      </a:lnTo>
                      <a:lnTo>
                        <a:pt x="6" y="64"/>
                      </a:lnTo>
                      <a:lnTo>
                        <a:pt x="3" y="64"/>
                      </a:lnTo>
                      <a:lnTo>
                        <a:pt x="1" y="64"/>
                      </a:lnTo>
                      <a:lnTo>
                        <a:pt x="0" y="64"/>
                      </a:lnTo>
                      <a:lnTo>
                        <a:pt x="0" y="66"/>
                      </a:lnTo>
                      <a:lnTo>
                        <a:pt x="0" y="68"/>
                      </a:lnTo>
                      <a:lnTo>
                        <a:pt x="0" y="70"/>
                      </a:lnTo>
                      <a:lnTo>
                        <a:pt x="0" y="71"/>
                      </a:lnTo>
                      <a:lnTo>
                        <a:pt x="1" y="76"/>
                      </a:lnTo>
                      <a:lnTo>
                        <a:pt x="1" y="80"/>
                      </a:lnTo>
                      <a:lnTo>
                        <a:pt x="5" y="85"/>
                      </a:lnTo>
                      <a:lnTo>
                        <a:pt x="6" y="88"/>
                      </a:lnTo>
                      <a:lnTo>
                        <a:pt x="8" y="90"/>
                      </a:lnTo>
                      <a:lnTo>
                        <a:pt x="10" y="91"/>
                      </a:lnTo>
                      <a:lnTo>
                        <a:pt x="11" y="91"/>
                      </a:lnTo>
                      <a:lnTo>
                        <a:pt x="11" y="93"/>
                      </a:lnTo>
                      <a:lnTo>
                        <a:pt x="13" y="91"/>
                      </a:lnTo>
                      <a:lnTo>
                        <a:pt x="15" y="91"/>
                      </a:lnTo>
                      <a:lnTo>
                        <a:pt x="15" y="90"/>
                      </a:lnTo>
                      <a:lnTo>
                        <a:pt x="15" y="88"/>
                      </a:lnTo>
                      <a:lnTo>
                        <a:pt x="16" y="88"/>
                      </a:lnTo>
                      <a:lnTo>
                        <a:pt x="18" y="86"/>
                      </a:lnTo>
                      <a:lnTo>
                        <a:pt x="20" y="86"/>
                      </a:lnTo>
                      <a:lnTo>
                        <a:pt x="23" y="86"/>
                      </a:lnTo>
                      <a:lnTo>
                        <a:pt x="25" y="88"/>
                      </a:lnTo>
                      <a:lnTo>
                        <a:pt x="27" y="90"/>
                      </a:lnTo>
                      <a:lnTo>
                        <a:pt x="28" y="90"/>
                      </a:lnTo>
                      <a:lnTo>
                        <a:pt x="30" y="90"/>
                      </a:lnTo>
                      <a:lnTo>
                        <a:pt x="35" y="90"/>
                      </a:lnTo>
                      <a:lnTo>
                        <a:pt x="37" y="90"/>
                      </a:lnTo>
                      <a:lnTo>
                        <a:pt x="38" y="90"/>
                      </a:lnTo>
                      <a:lnTo>
                        <a:pt x="40" y="91"/>
                      </a:lnTo>
                      <a:lnTo>
                        <a:pt x="42" y="91"/>
                      </a:lnTo>
                      <a:lnTo>
                        <a:pt x="43" y="91"/>
                      </a:lnTo>
                      <a:lnTo>
                        <a:pt x="45" y="90"/>
                      </a:lnTo>
                      <a:lnTo>
                        <a:pt x="47" y="90"/>
                      </a:lnTo>
                      <a:lnTo>
                        <a:pt x="52" y="90"/>
                      </a:lnTo>
                      <a:lnTo>
                        <a:pt x="55" y="90"/>
                      </a:lnTo>
                      <a:lnTo>
                        <a:pt x="57" y="90"/>
                      </a:lnTo>
                      <a:lnTo>
                        <a:pt x="60" y="88"/>
                      </a:lnTo>
                      <a:lnTo>
                        <a:pt x="62" y="88"/>
                      </a:lnTo>
                      <a:lnTo>
                        <a:pt x="64" y="86"/>
                      </a:lnTo>
                      <a:lnTo>
                        <a:pt x="64" y="85"/>
                      </a:lnTo>
                      <a:lnTo>
                        <a:pt x="65" y="85"/>
                      </a:lnTo>
                      <a:lnTo>
                        <a:pt x="69" y="83"/>
                      </a:lnTo>
                      <a:lnTo>
                        <a:pt x="70" y="83"/>
                      </a:lnTo>
                      <a:lnTo>
                        <a:pt x="74" y="81"/>
                      </a:lnTo>
                      <a:lnTo>
                        <a:pt x="75" y="80"/>
                      </a:lnTo>
                      <a:lnTo>
                        <a:pt x="77" y="80"/>
                      </a:lnTo>
                      <a:lnTo>
                        <a:pt x="81" y="80"/>
                      </a:lnTo>
                      <a:lnTo>
                        <a:pt x="82" y="80"/>
                      </a:lnTo>
                      <a:lnTo>
                        <a:pt x="86" y="80"/>
                      </a:lnTo>
                      <a:lnTo>
                        <a:pt x="91" y="80"/>
                      </a:lnTo>
                      <a:lnTo>
                        <a:pt x="94" y="81"/>
                      </a:lnTo>
                      <a:lnTo>
                        <a:pt x="102" y="83"/>
                      </a:lnTo>
                      <a:lnTo>
                        <a:pt x="107" y="85"/>
                      </a:lnTo>
                      <a:lnTo>
                        <a:pt x="111" y="88"/>
                      </a:lnTo>
                      <a:lnTo>
                        <a:pt x="113" y="91"/>
                      </a:lnTo>
                      <a:lnTo>
                        <a:pt x="114" y="97"/>
                      </a:lnTo>
                      <a:lnTo>
                        <a:pt x="118" y="102"/>
                      </a:lnTo>
                      <a:lnTo>
                        <a:pt x="118" y="105"/>
                      </a:lnTo>
                      <a:lnTo>
                        <a:pt x="119" y="108"/>
                      </a:lnTo>
                      <a:lnTo>
                        <a:pt x="119" y="113"/>
                      </a:lnTo>
                      <a:lnTo>
                        <a:pt x="119" y="118"/>
                      </a:lnTo>
                      <a:lnTo>
                        <a:pt x="118" y="118"/>
                      </a:lnTo>
                      <a:lnTo>
                        <a:pt x="116" y="118"/>
                      </a:lnTo>
                      <a:lnTo>
                        <a:pt x="116" y="120"/>
                      </a:lnTo>
                      <a:lnTo>
                        <a:pt x="114" y="120"/>
                      </a:lnTo>
                      <a:lnTo>
                        <a:pt x="113" y="120"/>
                      </a:lnTo>
                      <a:lnTo>
                        <a:pt x="111" y="120"/>
                      </a:lnTo>
                      <a:lnTo>
                        <a:pt x="111" y="122"/>
                      </a:lnTo>
                      <a:lnTo>
                        <a:pt x="109" y="122"/>
                      </a:lnTo>
                      <a:lnTo>
                        <a:pt x="109" y="123"/>
                      </a:lnTo>
                      <a:lnTo>
                        <a:pt x="109" y="125"/>
                      </a:lnTo>
                      <a:lnTo>
                        <a:pt x="109" y="127"/>
                      </a:lnTo>
                      <a:lnTo>
                        <a:pt x="107" y="127"/>
                      </a:lnTo>
                      <a:lnTo>
                        <a:pt x="106" y="127"/>
                      </a:lnTo>
                      <a:lnTo>
                        <a:pt x="106" y="129"/>
                      </a:lnTo>
                      <a:lnTo>
                        <a:pt x="104" y="129"/>
                      </a:lnTo>
                      <a:lnTo>
                        <a:pt x="102" y="129"/>
                      </a:lnTo>
                      <a:lnTo>
                        <a:pt x="101" y="130"/>
                      </a:lnTo>
                      <a:lnTo>
                        <a:pt x="99" y="130"/>
                      </a:lnTo>
                      <a:lnTo>
                        <a:pt x="97" y="132"/>
                      </a:lnTo>
                      <a:lnTo>
                        <a:pt x="94" y="132"/>
                      </a:lnTo>
                      <a:lnTo>
                        <a:pt x="92" y="132"/>
                      </a:lnTo>
                      <a:lnTo>
                        <a:pt x="91" y="134"/>
                      </a:lnTo>
                      <a:lnTo>
                        <a:pt x="91" y="135"/>
                      </a:lnTo>
                      <a:lnTo>
                        <a:pt x="91" y="139"/>
                      </a:lnTo>
                      <a:lnTo>
                        <a:pt x="92" y="140"/>
                      </a:lnTo>
                      <a:lnTo>
                        <a:pt x="94" y="140"/>
                      </a:lnTo>
                      <a:lnTo>
                        <a:pt x="96" y="142"/>
                      </a:lnTo>
                      <a:lnTo>
                        <a:pt x="97" y="142"/>
                      </a:lnTo>
                      <a:lnTo>
                        <a:pt x="99" y="144"/>
                      </a:lnTo>
                      <a:lnTo>
                        <a:pt x="101" y="145"/>
                      </a:lnTo>
                      <a:lnTo>
                        <a:pt x="104" y="145"/>
                      </a:lnTo>
                      <a:lnTo>
                        <a:pt x="106" y="145"/>
                      </a:lnTo>
                      <a:lnTo>
                        <a:pt x="107" y="145"/>
                      </a:lnTo>
                      <a:lnTo>
                        <a:pt x="109" y="145"/>
                      </a:lnTo>
                      <a:lnTo>
                        <a:pt x="111" y="145"/>
                      </a:lnTo>
                      <a:lnTo>
                        <a:pt x="113" y="145"/>
                      </a:lnTo>
                      <a:lnTo>
                        <a:pt x="114" y="145"/>
                      </a:lnTo>
                      <a:lnTo>
                        <a:pt x="116" y="145"/>
                      </a:lnTo>
                      <a:lnTo>
                        <a:pt x="118" y="145"/>
                      </a:lnTo>
                      <a:lnTo>
                        <a:pt x="118" y="144"/>
                      </a:lnTo>
                      <a:lnTo>
                        <a:pt x="118" y="142"/>
                      </a:lnTo>
                      <a:lnTo>
                        <a:pt x="118" y="140"/>
                      </a:lnTo>
                      <a:lnTo>
                        <a:pt x="119" y="139"/>
                      </a:lnTo>
                      <a:lnTo>
                        <a:pt x="119" y="137"/>
                      </a:lnTo>
                      <a:lnTo>
                        <a:pt x="119" y="135"/>
                      </a:lnTo>
                      <a:lnTo>
                        <a:pt x="121" y="134"/>
                      </a:lnTo>
                      <a:lnTo>
                        <a:pt x="123" y="132"/>
                      </a:lnTo>
                      <a:lnTo>
                        <a:pt x="124" y="132"/>
                      </a:lnTo>
                      <a:lnTo>
                        <a:pt x="126" y="132"/>
                      </a:lnTo>
                      <a:lnTo>
                        <a:pt x="126" y="129"/>
                      </a:lnTo>
                      <a:lnTo>
                        <a:pt x="128" y="129"/>
                      </a:lnTo>
                      <a:lnTo>
                        <a:pt x="128" y="127"/>
                      </a:lnTo>
                      <a:lnTo>
                        <a:pt x="126" y="127"/>
                      </a:lnTo>
                      <a:lnTo>
                        <a:pt x="128" y="125"/>
                      </a:lnTo>
                      <a:lnTo>
                        <a:pt x="126" y="125"/>
                      </a:lnTo>
                      <a:lnTo>
                        <a:pt x="128" y="123"/>
                      </a:lnTo>
                      <a:lnTo>
                        <a:pt x="126" y="123"/>
                      </a:lnTo>
                      <a:lnTo>
                        <a:pt x="128" y="123"/>
                      </a:lnTo>
                      <a:lnTo>
                        <a:pt x="129" y="123"/>
                      </a:lnTo>
                      <a:lnTo>
                        <a:pt x="131" y="123"/>
                      </a:lnTo>
                      <a:lnTo>
                        <a:pt x="133" y="123"/>
                      </a:lnTo>
                      <a:lnTo>
                        <a:pt x="133" y="120"/>
                      </a:lnTo>
                      <a:lnTo>
                        <a:pt x="134" y="118"/>
                      </a:lnTo>
                      <a:lnTo>
                        <a:pt x="136" y="118"/>
                      </a:lnTo>
                      <a:lnTo>
                        <a:pt x="138" y="118"/>
                      </a:lnTo>
                      <a:lnTo>
                        <a:pt x="140" y="118"/>
                      </a:lnTo>
                      <a:lnTo>
                        <a:pt x="141" y="118"/>
                      </a:lnTo>
                      <a:lnTo>
                        <a:pt x="143" y="118"/>
                      </a:lnTo>
                      <a:lnTo>
                        <a:pt x="145" y="118"/>
                      </a:lnTo>
                      <a:lnTo>
                        <a:pt x="145" y="117"/>
                      </a:lnTo>
                      <a:lnTo>
                        <a:pt x="146" y="115"/>
                      </a:lnTo>
                      <a:lnTo>
                        <a:pt x="146" y="113"/>
                      </a:lnTo>
                      <a:lnTo>
                        <a:pt x="148" y="113"/>
                      </a:lnTo>
                      <a:lnTo>
                        <a:pt x="148" y="115"/>
                      </a:lnTo>
                      <a:lnTo>
                        <a:pt x="148" y="117"/>
                      </a:lnTo>
                      <a:lnTo>
                        <a:pt x="150" y="117"/>
                      </a:lnTo>
                      <a:lnTo>
                        <a:pt x="151" y="115"/>
                      </a:lnTo>
                      <a:lnTo>
                        <a:pt x="151" y="113"/>
                      </a:lnTo>
                      <a:lnTo>
                        <a:pt x="153" y="112"/>
                      </a:lnTo>
                      <a:lnTo>
                        <a:pt x="153" y="110"/>
                      </a:lnTo>
                      <a:lnTo>
                        <a:pt x="155" y="110"/>
                      </a:lnTo>
                      <a:lnTo>
                        <a:pt x="156" y="110"/>
                      </a:lnTo>
                      <a:lnTo>
                        <a:pt x="156" y="112"/>
                      </a:lnTo>
                      <a:lnTo>
                        <a:pt x="155" y="112"/>
                      </a:lnTo>
                      <a:lnTo>
                        <a:pt x="155" y="113"/>
                      </a:lnTo>
                      <a:lnTo>
                        <a:pt x="155" y="115"/>
                      </a:lnTo>
                      <a:lnTo>
                        <a:pt x="156" y="115"/>
                      </a:lnTo>
                      <a:lnTo>
                        <a:pt x="156" y="117"/>
                      </a:lnTo>
                      <a:lnTo>
                        <a:pt x="156" y="118"/>
                      </a:lnTo>
                      <a:lnTo>
                        <a:pt x="158" y="118"/>
                      </a:lnTo>
                      <a:lnTo>
                        <a:pt x="160" y="118"/>
                      </a:lnTo>
                      <a:lnTo>
                        <a:pt x="160" y="117"/>
                      </a:lnTo>
                      <a:lnTo>
                        <a:pt x="161" y="117"/>
                      </a:lnTo>
                      <a:lnTo>
                        <a:pt x="163" y="118"/>
                      </a:lnTo>
                      <a:lnTo>
                        <a:pt x="161" y="118"/>
                      </a:lnTo>
                      <a:lnTo>
                        <a:pt x="160" y="120"/>
                      </a:lnTo>
                      <a:lnTo>
                        <a:pt x="156" y="120"/>
                      </a:lnTo>
                      <a:lnTo>
                        <a:pt x="155" y="120"/>
                      </a:lnTo>
                      <a:lnTo>
                        <a:pt x="153" y="120"/>
                      </a:lnTo>
                      <a:lnTo>
                        <a:pt x="150" y="120"/>
                      </a:lnTo>
                      <a:lnTo>
                        <a:pt x="151" y="122"/>
                      </a:lnTo>
                      <a:lnTo>
                        <a:pt x="153" y="122"/>
                      </a:lnTo>
                      <a:lnTo>
                        <a:pt x="155" y="123"/>
                      </a:lnTo>
                      <a:lnTo>
                        <a:pt x="155" y="125"/>
                      </a:lnTo>
                      <a:lnTo>
                        <a:pt x="156" y="125"/>
                      </a:lnTo>
                      <a:lnTo>
                        <a:pt x="158" y="127"/>
                      </a:lnTo>
                      <a:lnTo>
                        <a:pt x="161" y="127"/>
                      </a:lnTo>
                      <a:lnTo>
                        <a:pt x="163" y="127"/>
                      </a:lnTo>
                      <a:lnTo>
                        <a:pt x="165" y="129"/>
                      </a:lnTo>
                      <a:lnTo>
                        <a:pt x="170" y="129"/>
                      </a:lnTo>
                      <a:lnTo>
                        <a:pt x="175" y="129"/>
                      </a:lnTo>
                      <a:lnTo>
                        <a:pt x="175" y="130"/>
                      </a:lnTo>
                      <a:lnTo>
                        <a:pt x="177" y="130"/>
                      </a:lnTo>
                      <a:lnTo>
                        <a:pt x="177" y="132"/>
                      </a:lnTo>
                      <a:lnTo>
                        <a:pt x="175" y="134"/>
                      </a:lnTo>
                      <a:lnTo>
                        <a:pt x="172" y="135"/>
                      </a:lnTo>
                      <a:lnTo>
                        <a:pt x="170" y="135"/>
                      </a:lnTo>
                      <a:lnTo>
                        <a:pt x="167" y="139"/>
                      </a:lnTo>
                      <a:lnTo>
                        <a:pt x="163" y="140"/>
                      </a:lnTo>
                      <a:lnTo>
                        <a:pt x="163" y="144"/>
                      </a:lnTo>
                      <a:lnTo>
                        <a:pt x="165" y="144"/>
                      </a:lnTo>
                      <a:lnTo>
                        <a:pt x="167" y="145"/>
                      </a:lnTo>
                      <a:lnTo>
                        <a:pt x="168" y="147"/>
                      </a:lnTo>
                      <a:lnTo>
                        <a:pt x="172" y="147"/>
                      </a:lnTo>
                      <a:lnTo>
                        <a:pt x="175" y="147"/>
                      </a:lnTo>
                      <a:lnTo>
                        <a:pt x="177" y="149"/>
                      </a:lnTo>
                      <a:lnTo>
                        <a:pt x="178" y="149"/>
                      </a:lnTo>
                      <a:lnTo>
                        <a:pt x="178" y="150"/>
                      </a:lnTo>
                      <a:lnTo>
                        <a:pt x="177" y="152"/>
                      </a:lnTo>
                      <a:lnTo>
                        <a:pt x="177" y="154"/>
                      </a:lnTo>
                      <a:lnTo>
                        <a:pt x="177" y="156"/>
                      </a:lnTo>
                      <a:lnTo>
                        <a:pt x="177" y="157"/>
                      </a:lnTo>
                      <a:lnTo>
                        <a:pt x="177" y="161"/>
                      </a:lnTo>
                      <a:lnTo>
                        <a:pt x="178" y="161"/>
                      </a:lnTo>
                      <a:lnTo>
                        <a:pt x="180" y="161"/>
                      </a:lnTo>
                      <a:lnTo>
                        <a:pt x="182" y="161"/>
                      </a:lnTo>
                      <a:lnTo>
                        <a:pt x="183" y="161"/>
                      </a:lnTo>
                      <a:lnTo>
                        <a:pt x="185" y="161"/>
                      </a:lnTo>
                      <a:lnTo>
                        <a:pt x="187" y="161"/>
                      </a:lnTo>
                      <a:lnTo>
                        <a:pt x="187" y="159"/>
                      </a:lnTo>
                      <a:lnTo>
                        <a:pt x="188" y="159"/>
                      </a:lnTo>
                      <a:lnTo>
                        <a:pt x="190" y="157"/>
                      </a:lnTo>
                      <a:lnTo>
                        <a:pt x="192" y="156"/>
                      </a:lnTo>
                      <a:lnTo>
                        <a:pt x="192" y="154"/>
                      </a:lnTo>
                      <a:lnTo>
                        <a:pt x="190" y="154"/>
                      </a:lnTo>
                      <a:lnTo>
                        <a:pt x="192" y="154"/>
                      </a:lnTo>
                      <a:lnTo>
                        <a:pt x="192" y="152"/>
                      </a:lnTo>
                      <a:lnTo>
                        <a:pt x="193" y="154"/>
                      </a:lnTo>
                      <a:lnTo>
                        <a:pt x="195" y="154"/>
                      </a:lnTo>
                      <a:lnTo>
                        <a:pt x="195" y="152"/>
                      </a:lnTo>
                      <a:lnTo>
                        <a:pt x="197" y="152"/>
                      </a:lnTo>
                      <a:lnTo>
                        <a:pt x="199" y="152"/>
                      </a:lnTo>
                      <a:lnTo>
                        <a:pt x="200" y="152"/>
                      </a:lnTo>
                      <a:lnTo>
                        <a:pt x="202" y="152"/>
                      </a:lnTo>
                      <a:lnTo>
                        <a:pt x="204" y="152"/>
                      </a:lnTo>
                      <a:lnTo>
                        <a:pt x="204" y="150"/>
                      </a:lnTo>
                      <a:lnTo>
                        <a:pt x="205" y="150"/>
                      </a:lnTo>
                      <a:lnTo>
                        <a:pt x="207" y="149"/>
                      </a:lnTo>
                      <a:lnTo>
                        <a:pt x="209" y="149"/>
                      </a:lnTo>
                      <a:lnTo>
                        <a:pt x="210" y="147"/>
                      </a:lnTo>
                      <a:lnTo>
                        <a:pt x="212" y="149"/>
                      </a:lnTo>
                      <a:lnTo>
                        <a:pt x="214" y="149"/>
                      </a:lnTo>
                      <a:lnTo>
                        <a:pt x="217" y="149"/>
                      </a:lnTo>
                      <a:lnTo>
                        <a:pt x="219" y="149"/>
                      </a:lnTo>
                      <a:lnTo>
                        <a:pt x="220" y="147"/>
                      </a:lnTo>
                      <a:lnTo>
                        <a:pt x="222" y="144"/>
                      </a:lnTo>
                      <a:lnTo>
                        <a:pt x="224" y="142"/>
                      </a:lnTo>
                      <a:lnTo>
                        <a:pt x="222" y="142"/>
                      </a:lnTo>
                      <a:lnTo>
                        <a:pt x="224" y="140"/>
                      </a:lnTo>
                      <a:lnTo>
                        <a:pt x="222" y="140"/>
                      </a:lnTo>
                      <a:lnTo>
                        <a:pt x="220" y="140"/>
                      </a:lnTo>
                      <a:lnTo>
                        <a:pt x="219" y="140"/>
                      </a:lnTo>
                      <a:lnTo>
                        <a:pt x="217" y="140"/>
                      </a:lnTo>
                      <a:lnTo>
                        <a:pt x="214" y="142"/>
                      </a:lnTo>
                      <a:lnTo>
                        <a:pt x="210" y="144"/>
                      </a:lnTo>
                      <a:lnTo>
                        <a:pt x="205" y="144"/>
                      </a:lnTo>
                      <a:lnTo>
                        <a:pt x="202" y="144"/>
                      </a:lnTo>
                      <a:lnTo>
                        <a:pt x="199" y="140"/>
                      </a:lnTo>
                      <a:lnTo>
                        <a:pt x="197" y="137"/>
                      </a:lnTo>
                      <a:lnTo>
                        <a:pt x="195" y="137"/>
                      </a:lnTo>
                      <a:lnTo>
                        <a:pt x="195" y="135"/>
                      </a:lnTo>
                      <a:lnTo>
                        <a:pt x="193" y="134"/>
                      </a:lnTo>
                      <a:lnTo>
                        <a:pt x="192" y="132"/>
                      </a:lnTo>
                      <a:lnTo>
                        <a:pt x="190" y="132"/>
                      </a:lnTo>
                      <a:lnTo>
                        <a:pt x="187" y="130"/>
                      </a:lnTo>
                      <a:lnTo>
                        <a:pt x="185" y="130"/>
                      </a:lnTo>
                      <a:lnTo>
                        <a:pt x="183" y="130"/>
                      </a:lnTo>
                      <a:lnTo>
                        <a:pt x="183" y="129"/>
                      </a:lnTo>
                      <a:lnTo>
                        <a:pt x="182" y="127"/>
                      </a:lnTo>
                      <a:lnTo>
                        <a:pt x="182" y="125"/>
                      </a:lnTo>
                      <a:lnTo>
                        <a:pt x="183" y="125"/>
                      </a:lnTo>
                      <a:lnTo>
                        <a:pt x="185" y="125"/>
                      </a:lnTo>
                      <a:lnTo>
                        <a:pt x="187" y="127"/>
                      </a:lnTo>
                      <a:lnTo>
                        <a:pt x="188" y="127"/>
                      </a:lnTo>
                      <a:lnTo>
                        <a:pt x="188" y="125"/>
                      </a:lnTo>
                      <a:lnTo>
                        <a:pt x="190" y="125"/>
                      </a:lnTo>
                      <a:lnTo>
                        <a:pt x="192" y="127"/>
                      </a:lnTo>
                      <a:lnTo>
                        <a:pt x="192" y="129"/>
                      </a:lnTo>
                      <a:lnTo>
                        <a:pt x="193" y="129"/>
                      </a:lnTo>
                      <a:lnTo>
                        <a:pt x="195" y="129"/>
                      </a:lnTo>
                      <a:lnTo>
                        <a:pt x="197" y="129"/>
                      </a:lnTo>
                      <a:lnTo>
                        <a:pt x="199" y="127"/>
                      </a:lnTo>
                      <a:lnTo>
                        <a:pt x="200" y="125"/>
                      </a:lnTo>
                      <a:lnTo>
                        <a:pt x="200" y="122"/>
                      </a:lnTo>
                      <a:lnTo>
                        <a:pt x="202" y="122"/>
                      </a:lnTo>
                      <a:lnTo>
                        <a:pt x="205" y="122"/>
                      </a:lnTo>
                      <a:lnTo>
                        <a:pt x="209" y="120"/>
                      </a:lnTo>
                      <a:lnTo>
                        <a:pt x="210" y="118"/>
                      </a:lnTo>
                      <a:lnTo>
                        <a:pt x="219" y="118"/>
                      </a:lnTo>
                      <a:lnTo>
                        <a:pt x="224" y="117"/>
                      </a:lnTo>
                      <a:lnTo>
                        <a:pt x="229" y="115"/>
                      </a:lnTo>
                      <a:lnTo>
                        <a:pt x="231" y="113"/>
                      </a:lnTo>
                      <a:lnTo>
                        <a:pt x="236" y="112"/>
                      </a:lnTo>
                      <a:lnTo>
                        <a:pt x="239" y="110"/>
                      </a:lnTo>
                      <a:lnTo>
                        <a:pt x="242" y="108"/>
                      </a:lnTo>
                      <a:lnTo>
                        <a:pt x="247" y="108"/>
                      </a:lnTo>
                      <a:lnTo>
                        <a:pt x="256" y="108"/>
                      </a:lnTo>
                      <a:lnTo>
                        <a:pt x="256" y="107"/>
                      </a:lnTo>
                      <a:lnTo>
                        <a:pt x="258" y="107"/>
                      </a:lnTo>
                      <a:lnTo>
                        <a:pt x="258" y="105"/>
                      </a:lnTo>
                      <a:lnTo>
                        <a:pt x="256" y="105"/>
                      </a:lnTo>
                      <a:lnTo>
                        <a:pt x="254" y="105"/>
                      </a:lnTo>
                      <a:lnTo>
                        <a:pt x="254" y="103"/>
                      </a:lnTo>
                      <a:lnTo>
                        <a:pt x="252" y="103"/>
                      </a:lnTo>
                      <a:lnTo>
                        <a:pt x="252" y="102"/>
                      </a:lnTo>
                      <a:lnTo>
                        <a:pt x="252" y="100"/>
                      </a:lnTo>
                      <a:lnTo>
                        <a:pt x="252" y="98"/>
                      </a:lnTo>
                      <a:lnTo>
                        <a:pt x="254" y="98"/>
                      </a:lnTo>
                      <a:lnTo>
                        <a:pt x="256" y="98"/>
                      </a:lnTo>
                      <a:lnTo>
                        <a:pt x="258" y="98"/>
                      </a:lnTo>
                      <a:lnTo>
                        <a:pt x="259" y="97"/>
                      </a:lnTo>
                      <a:lnTo>
                        <a:pt x="259" y="95"/>
                      </a:lnTo>
                      <a:lnTo>
                        <a:pt x="261" y="93"/>
                      </a:lnTo>
                      <a:lnTo>
                        <a:pt x="263" y="93"/>
                      </a:lnTo>
                      <a:lnTo>
                        <a:pt x="264" y="93"/>
                      </a:lnTo>
                      <a:lnTo>
                        <a:pt x="266" y="93"/>
                      </a:lnTo>
                      <a:lnTo>
                        <a:pt x="268" y="93"/>
                      </a:lnTo>
                      <a:lnTo>
                        <a:pt x="269" y="91"/>
                      </a:lnTo>
                      <a:lnTo>
                        <a:pt x="273" y="91"/>
                      </a:lnTo>
                      <a:lnTo>
                        <a:pt x="273" y="93"/>
                      </a:lnTo>
                      <a:lnTo>
                        <a:pt x="276" y="93"/>
                      </a:lnTo>
                      <a:lnTo>
                        <a:pt x="276" y="91"/>
                      </a:lnTo>
                      <a:lnTo>
                        <a:pt x="278" y="90"/>
                      </a:lnTo>
                      <a:lnTo>
                        <a:pt x="278" y="88"/>
                      </a:lnTo>
                      <a:lnTo>
                        <a:pt x="278" y="86"/>
                      </a:lnTo>
                      <a:lnTo>
                        <a:pt x="279" y="86"/>
                      </a:lnTo>
                      <a:lnTo>
                        <a:pt x="279" y="85"/>
                      </a:lnTo>
                      <a:lnTo>
                        <a:pt x="279" y="83"/>
                      </a:lnTo>
                      <a:lnTo>
                        <a:pt x="278" y="81"/>
                      </a:lnTo>
                      <a:lnTo>
                        <a:pt x="276" y="80"/>
                      </a:lnTo>
                      <a:lnTo>
                        <a:pt x="274" y="80"/>
                      </a:lnTo>
                      <a:lnTo>
                        <a:pt x="274" y="78"/>
                      </a:lnTo>
                      <a:lnTo>
                        <a:pt x="274" y="76"/>
                      </a:lnTo>
                      <a:lnTo>
                        <a:pt x="274" y="75"/>
                      </a:lnTo>
                      <a:lnTo>
                        <a:pt x="276" y="75"/>
                      </a:lnTo>
                      <a:lnTo>
                        <a:pt x="278" y="75"/>
                      </a:lnTo>
                      <a:lnTo>
                        <a:pt x="279" y="75"/>
                      </a:lnTo>
                      <a:lnTo>
                        <a:pt x="281" y="75"/>
                      </a:lnTo>
                      <a:lnTo>
                        <a:pt x="281" y="73"/>
                      </a:lnTo>
                      <a:lnTo>
                        <a:pt x="279" y="73"/>
                      </a:lnTo>
                      <a:lnTo>
                        <a:pt x="278" y="73"/>
                      </a:lnTo>
                      <a:lnTo>
                        <a:pt x="276" y="71"/>
                      </a:lnTo>
                      <a:lnTo>
                        <a:pt x="274" y="70"/>
                      </a:lnTo>
                      <a:lnTo>
                        <a:pt x="276" y="68"/>
                      </a:lnTo>
                      <a:lnTo>
                        <a:pt x="279" y="68"/>
                      </a:lnTo>
                      <a:lnTo>
                        <a:pt x="281" y="68"/>
                      </a:lnTo>
                      <a:lnTo>
                        <a:pt x="283" y="66"/>
                      </a:lnTo>
                      <a:lnTo>
                        <a:pt x="283" y="64"/>
                      </a:lnTo>
                      <a:lnTo>
                        <a:pt x="283" y="63"/>
                      </a:lnTo>
                      <a:lnTo>
                        <a:pt x="283" y="61"/>
                      </a:lnTo>
                      <a:lnTo>
                        <a:pt x="281" y="61"/>
                      </a:lnTo>
                      <a:lnTo>
                        <a:pt x="281" y="59"/>
                      </a:lnTo>
                      <a:lnTo>
                        <a:pt x="283" y="59"/>
                      </a:lnTo>
                      <a:lnTo>
                        <a:pt x="283" y="58"/>
                      </a:lnTo>
                      <a:lnTo>
                        <a:pt x="281" y="58"/>
                      </a:lnTo>
                      <a:lnTo>
                        <a:pt x="279" y="58"/>
                      </a:lnTo>
                      <a:lnTo>
                        <a:pt x="278" y="58"/>
                      </a:lnTo>
                      <a:lnTo>
                        <a:pt x="276" y="58"/>
                      </a:lnTo>
                      <a:lnTo>
                        <a:pt x="274" y="56"/>
                      </a:lnTo>
                      <a:lnTo>
                        <a:pt x="273" y="54"/>
                      </a:lnTo>
                      <a:lnTo>
                        <a:pt x="271" y="54"/>
                      </a:lnTo>
                      <a:lnTo>
                        <a:pt x="269" y="53"/>
                      </a:lnTo>
                      <a:lnTo>
                        <a:pt x="268" y="53"/>
                      </a:lnTo>
                      <a:lnTo>
                        <a:pt x="266" y="53"/>
                      </a:lnTo>
                      <a:lnTo>
                        <a:pt x="263" y="53"/>
                      </a:lnTo>
                      <a:lnTo>
                        <a:pt x="263" y="51"/>
                      </a:lnTo>
                      <a:lnTo>
                        <a:pt x="261" y="51"/>
                      </a:lnTo>
                      <a:lnTo>
                        <a:pt x="261" y="49"/>
                      </a:lnTo>
                      <a:lnTo>
                        <a:pt x="259" y="49"/>
                      </a:lnTo>
                      <a:lnTo>
                        <a:pt x="259" y="51"/>
                      </a:lnTo>
                      <a:lnTo>
                        <a:pt x="258" y="51"/>
                      </a:lnTo>
                      <a:lnTo>
                        <a:pt x="256" y="51"/>
                      </a:lnTo>
                      <a:lnTo>
                        <a:pt x="254" y="49"/>
                      </a:lnTo>
                      <a:lnTo>
                        <a:pt x="254" y="48"/>
                      </a:lnTo>
                      <a:lnTo>
                        <a:pt x="252" y="48"/>
                      </a:lnTo>
                      <a:lnTo>
                        <a:pt x="251" y="49"/>
                      </a:lnTo>
                      <a:lnTo>
                        <a:pt x="251" y="51"/>
                      </a:lnTo>
                      <a:lnTo>
                        <a:pt x="249" y="51"/>
                      </a:lnTo>
                      <a:lnTo>
                        <a:pt x="246" y="51"/>
                      </a:lnTo>
                      <a:lnTo>
                        <a:pt x="244" y="51"/>
                      </a:lnTo>
                      <a:lnTo>
                        <a:pt x="242" y="49"/>
                      </a:lnTo>
                      <a:lnTo>
                        <a:pt x="242" y="48"/>
                      </a:lnTo>
                      <a:lnTo>
                        <a:pt x="242" y="46"/>
                      </a:lnTo>
                      <a:lnTo>
                        <a:pt x="242" y="44"/>
                      </a:lnTo>
                      <a:lnTo>
                        <a:pt x="242" y="43"/>
                      </a:lnTo>
                      <a:lnTo>
                        <a:pt x="241" y="43"/>
                      </a:lnTo>
                      <a:lnTo>
                        <a:pt x="239" y="41"/>
                      </a:lnTo>
                      <a:lnTo>
                        <a:pt x="237" y="41"/>
                      </a:lnTo>
                      <a:lnTo>
                        <a:pt x="236" y="41"/>
                      </a:lnTo>
                      <a:lnTo>
                        <a:pt x="234" y="41"/>
                      </a:lnTo>
                      <a:lnTo>
                        <a:pt x="232" y="43"/>
                      </a:lnTo>
                      <a:lnTo>
                        <a:pt x="231" y="44"/>
                      </a:lnTo>
                      <a:lnTo>
                        <a:pt x="227" y="44"/>
                      </a:lnTo>
                      <a:lnTo>
                        <a:pt x="226" y="44"/>
                      </a:lnTo>
                      <a:lnTo>
                        <a:pt x="224" y="43"/>
                      </a:lnTo>
                      <a:lnTo>
                        <a:pt x="220" y="44"/>
                      </a:lnTo>
                      <a:lnTo>
                        <a:pt x="220" y="43"/>
                      </a:lnTo>
                      <a:lnTo>
                        <a:pt x="219" y="41"/>
                      </a:lnTo>
                      <a:lnTo>
                        <a:pt x="217" y="41"/>
                      </a:lnTo>
                      <a:lnTo>
                        <a:pt x="215" y="41"/>
                      </a:lnTo>
                      <a:lnTo>
                        <a:pt x="215" y="43"/>
                      </a:lnTo>
                      <a:lnTo>
                        <a:pt x="214" y="43"/>
                      </a:lnTo>
                      <a:lnTo>
                        <a:pt x="210" y="43"/>
                      </a:lnTo>
                      <a:lnTo>
                        <a:pt x="210" y="41"/>
                      </a:lnTo>
                      <a:lnTo>
                        <a:pt x="207" y="38"/>
                      </a:lnTo>
                      <a:lnTo>
                        <a:pt x="209" y="34"/>
                      </a:lnTo>
                      <a:lnTo>
                        <a:pt x="207" y="32"/>
                      </a:lnTo>
                      <a:lnTo>
                        <a:pt x="205" y="31"/>
                      </a:lnTo>
                      <a:lnTo>
                        <a:pt x="204" y="29"/>
                      </a:lnTo>
                      <a:lnTo>
                        <a:pt x="204" y="27"/>
                      </a:lnTo>
                      <a:lnTo>
                        <a:pt x="204" y="26"/>
                      </a:lnTo>
                      <a:lnTo>
                        <a:pt x="202" y="26"/>
                      </a:lnTo>
                      <a:lnTo>
                        <a:pt x="199" y="26"/>
                      </a:lnTo>
                      <a:lnTo>
                        <a:pt x="195" y="26"/>
                      </a:lnTo>
                      <a:lnTo>
                        <a:pt x="193" y="26"/>
                      </a:lnTo>
                      <a:lnTo>
                        <a:pt x="190" y="24"/>
                      </a:lnTo>
                      <a:lnTo>
                        <a:pt x="190" y="21"/>
                      </a:lnTo>
                      <a:lnTo>
                        <a:pt x="188" y="19"/>
                      </a:lnTo>
                      <a:lnTo>
                        <a:pt x="188" y="17"/>
                      </a:lnTo>
                      <a:lnTo>
                        <a:pt x="190" y="16"/>
                      </a:lnTo>
                      <a:lnTo>
                        <a:pt x="192" y="14"/>
                      </a:lnTo>
                      <a:lnTo>
                        <a:pt x="193" y="14"/>
                      </a:lnTo>
                      <a:lnTo>
                        <a:pt x="193" y="12"/>
                      </a:lnTo>
                      <a:lnTo>
                        <a:pt x="192" y="12"/>
                      </a:lnTo>
                      <a:lnTo>
                        <a:pt x="190" y="12"/>
                      </a:lnTo>
                      <a:lnTo>
                        <a:pt x="188" y="11"/>
                      </a:lnTo>
                      <a:lnTo>
                        <a:pt x="187" y="9"/>
                      </a:lnTo>
                      <a:lnTo>
                        <a:pt x="187" y="5"/>
                      </a:lnTo>
                      <a:lnTo>
                        <a:pt x="185" y="4"/>
                      </a:lnTo>
                      <a:lnTo>
                        <a:pt x="183" y="2"/>
                      </a:lnTo>
                      <a:lnTo>
                        <a:pt x="180" y="2"/>
                      </a:lnTo>
                      <a:lnTo>
                        <a:pt x="175" y="0"/>
                      </a:lnTo>
                      <a:lnTo>
                        <a:pt x="173" y="0"/>
                      </a:lnTo>
                      <a:lnTo>
                        <a:pt x="170" y="2"/>
                      </a:lnTo>
                      <a:lnTo>
                        <a:pt x="168" y="4"/>
                      </a:lnTo>
                      <a:lnTo>
                        <a:pt x="165" y="2"/>
                      </a:lnTo>
                      <a:lnTo>
                        <a:pt x="161" y="2"/>
                      </a:lnTo>
                      <a:lnTo>
                        <a:pt x="160" y="2"/>
                      </a:lnTo>
                      <a:lnTo>
                        <a:pt x="158" y="4"/>
                      </a:lnTo>
                      <a:lnTo>
                        <a:pt x="158" y="7"/>
                      </a:lnTo>
                      <a:lnTo>
                        <a:pt x="155" y="7"/>
                      </a:lnTo>
                      <a:lnTo>
                        <a:pt x="151" y="7"/>
                      </a:lnTo>
                      <a:lnTo>
                        <a:pt x="150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6" name="Freeform 120">
                  <a:extLst>
                    <a:ext uri="{FF2B5EF4-FFF2-40B4-BE49-F238E27FC236}">
                      <a16:creationId xmlns:a16="http://schemas.microsoft.com/office/drawing/2014/main" id="{389D3A0C-5084-DF46-AFD7-462507424B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" y="451"/>
                  <a:ext cx="283" cy="161"/>
                </a:xfrm>
                <a:custGeom>
                  <a:avLst/>
                  <a:gdLst>
                    <a:gd name="T0" fmla="*/ 131 w 283"/>
                    <a:gd name="T1" fmla="*/ 11 h 161"/>
                    <a:gd name="T2" fmla="*/ 129 w 283"/>
                    <a:gd name="T3" fmla="*/ 17 h 161"/>
                    <a:gd name="T4" fmla="*/ 114 w 283"/>
                    <a:gd name="T5" fmla="*/ 19 h 161"/>
                    <a:gd name="T6" fmla="*/ 101 w 283"/>
                    <a:gd name="T7" fmla="*/ 16 h 161"/>
                    <a:gd name="T8" fmla="*/ 86 w 283"/>
                    <a:gd name="T9" fmla="*/ 16 h 161"/>
                    <a:gd name="T10" fmla="*/ 57 w 283"/>
                    <a:gd name="T11" fmla="*/ 9 h 161"/>
                    <a:gd name="T12" fmla="*/ 37 w 283"/>
                    <a:gd name="T13" fmla="*/ 12 h 161"/>
                    <a:gd name="T14" fmla="*/ 21 w 283"/>
                    <a:gd name="T15" fmla="*/ 17 h 161"/>
                    <a:gd name="T16" fmla="*/ 32 w 283"/>
                    <a:gd name="T17" fmla="*/ 39 h 161"/>
                    <a:gd name="T18" fmla="*/ 18 w 283"/>
                    <a:gd name="T19" fmla="*/ 53 h 161"/>
                    <a:gd name="T20" fmla="*/ 10 w 283"/>
                    <a:gd name="T21" fmla="*/ 63 h 161"/>
                    <a:gd name="T22" fmla="*/ 6 w 283"/>
                    <a:gd name="T23" fmla="*/ 64 h 161"/>
                    <a:gd name="T24" fmla="*/ 1 w 283"/>
                    <a:gd name="T25" fmla="*/ 80 h 161"/>
                    <a:gd name="T26" fmla="*/ 15 w 283"/>
                    <a:gd name="T27" fmla="*/ 90 h 161"/>
                    <a:gd name="T28" fmla="*/ 30 w 283"/>
                    <a:gd name="T29" fmla="*/ 90 h 161"/>
                    <a:gd name="T30" fmla="*/ 52 w 283"/>
                    <a:gd name="T31" fmla="*/ 90 h 161"/>
                    <a:gd name="T32" fmla="*/ 70 w 283"/>
                    <a:gd name="T33" fmla="*/ 83 h 161"/>
                    <a:gd name="T34" fmla="*/ 102 w 283"/>
                    <a:gd name="T35" fmla="*/ 83 h 161"/>
                    <a:gd name="T36" fmla="*/ 119 w 283"/>
                    <a:gd name="T37" fmla="*/ 118 h 161"/>
                    <a:gd name="T38" fmla="*/ 109 w 283"/>
                    <a:gd name="T39" fmla="*/ 123 h 161"/>
                    <a:gd name="T40" fmla="*/ 99 w 283"/>
                    <a:gd name="T41" fmla="*/ 130 h 161"/>
                    <a:gd name="T42" fmla="*/ 96 w 283"/>
                    <a:gd name="T43" fmla="*/ 142 h 161"/>
                    <a:gd name="T44" fmla="*/ 113 w 283"/>
                    <a:gd name="T45" fmla="*/ 145 h 161"/>
                    <a:gd name="T46" fmla="*/ 119 w 283"/>
                    <a:gd name="T47" fmla="*/ 135 h 161"/>
                    <a:gd name="T48" fmla="*/ 128 w 283"/>
                    <a:gd name="T49" fmla="*/ 125 h 161"/>
                    <a:gd name="T50" fmla="*/ 134 w 283"/>
                    <a:gd name="T51" fmla="*/ 118 h 161"/>
                    <a:gd name="T52" fmla="*/ 146 w 283"/>
                    <a:gd name="T53" fmla="*/ 113 h 161"/>
                    <a:gd name="T54" fmla="*/ 155 w 283"/>
                    <a:gd name="T55" fmla="*/ 110 h 161"/>
                    <a:gd name="T56" fmla="*/ 158 w 283"/>
                    <a:gd name="T57" fmla="*/ 118 h 161"/>
                    <a:gd name="T58" fmla="*/ 153 w 283"/>
                    <a:gd name="T59" fmla="*/ 120 h 161"/>
                    <a:gd name="T60" fmla="*/ 163 w 283"/>
                    <a:gd name="T61" fmla="*/ 127 h 161"/>
                    <a:gd name="T62" fmla="*/ 170 w 283"/>
                    <a:gd name="T63" fmla="*/ 135 h 161"/>
                    <a:gd name="T64" fmla="*/ 177 w 283"/>
                    <a:gd name="T65" fmla="*/ 149 h 161"/>
                    <a:gd name="T66" fmla="*/ 180 w 283"/>
                    <a:gd name="T67" fmla="*/ 161 h 161"/>
                    <a:gd name="T68" fmla="*/ 192 w 283"/>
                    <a:gd name="T69" fmla="*/ 154 h 161"/>
                    <a:gd name="T70" fmla="*/ 200 w 283"/>
                    <a:gd name="T71" fmla="*/ 152 h 161"/>
                    <a:gd name="T72" fmla="*/ 214 w 283"/>
                    <a:gd name="T73" fmla="*/ 149 h 161"/>
                    <a:gd name="T74" fmla="*/ 220 w 283"/>
                    <a:gd name="T75" fmla="*/ 140 h 161"/>
                    <a:gd name="T76" fmla="*/ 195 w 283"/>
                    <a:gd name="T77" fmla="*/ 137 h 161"/>
                    <a:gd name="T78" fmla="*/ 182 w 283"/>
                    <a:gd name="T79" fmla="*/ 127 h 161"/>
                    <a:gd name="T80" fmla="*/ 192 w 283"/>
                    <a:gd name="T81" fmla="*/ 129 h 161"/>
                    <a:gd name="T82" fmla="*/ 209 w 283"/>
                    <a:gd name="T83" fmla="*/ 120 h 161"/>
                    <a:gd name="T84" fmla="*/ 247 w 283"/>
                    <a:gd name="T85" fmla="*/ 108 h 161"/>
                    <a:gd name="T86" fmla="*/ 252 w 283"/>
                    <a:gd name="T87" fmla="*/ 102 h 161"/>
                    <a:gd name="T88" fmla="*/ 263 w 283"/>
                    <a:gd name="T89" fmla="*/ 93 h 161"/>
                    <a:gd name="T90" fmla="*/ 278 w 283"/>
                    <a:gd name="T91" fmla="*/ 90 h 161"/>
                    <a:gd name="T92" fmla="*/ 274 w 283"/>
                    <a:gd name="T93" fmla="*/ 78 h 161"/>
                    <a:gd name="T94" fmla="*/ 278 w 283"/>
                    <a:gd name="T95" fmla="*/ 73 h 161"/>
                    <a:gd name="T96" fmla="*/ 283 w 283"/>
                    <a:gd name="T97" fmla="*/ 61 h 161"/>
                    <a:gd name="T98" fmla="*/ 274 w 283"/>
                    <a:gd name="T99" fmla="*/ 56 h 161"/>
                    <a:gd name="T100" fmla="*/ 261 w 283"/>
                    <a:gd name="T101" fmla="*/ 49 h 161"/>
                    <a:gd name="T102" fmla="*/ 251 w 283"/>
                    <a:gd name="T103" fmla="*/ 51 h 161"/>
                    <a:gd name="T104" fmla="*/ 241 w 283"/>
                    <a:gd name="T105" fmla="*/ 43 h 161"/>
                    <a:gd name="T106" fmla="*/ 224 w 283"/>
                    <a:gd name="T107" fmla="*/ 43 h 161"/>
                    <a:gd name="T108" fmla="*/ 210 w 283"/>
                    <a:gd name="T109" fmla="*/ 41 h 161"/>
                    <a:gd name="T110" fmla="*/ 199 w 283"/>
                    <a:gd name="T111" fmla="*/ 26 h 161"/>
                    <a:gd name="T112" fmla="*/ 193 w 283"/>
                    <a:gd name="T113" fmla="*/ 14 h 161"/>
                    <a:gd name="T114" fmla="*/ 180 w 283"/>
                    <a:gd name="T115" fmla="*/ 2 h 161"/>
                    <a:gd name="T116" fmla="*/ 158 w 283"/>
                    <a:gd name="T117" fmla="*/ 7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83" h="161">
                      <a:moveTo>
                        <a:pt x="150" y="5"/>
                      </a:moveTo>
                      <a:lnTo>
                        <a:pt x="148" y="5"/>
                      </a:lnTo>
                      <a:lnTo>
                        <a:pt x="145" y="5"/>
                      </a:lnTo>
                      <a:lnTo>
                        <a:pt x="143" y="5"/>
                      </a:lnTo>
                      <a:lnTo>
                        <a:pt x="141" y="5"/>
                      </a:lnTo>
                      <a:lnTo>
                        <a:pt x="138" y="9"/>
                      </a:lnTo>
                      <a:lnTo>
                        <a:pt x="136" y="9"/>
                      </a:lnTo>
                      <a:lnTo>
                        <a:pt x="133" y="11"/>
                      </a:lnTo>
                      <a:lnTo>
                        <a:pt x="131" y="11"/>
                      </a:lnTo>
                      <a:lnTo>
                        <a:pt x="129" y="11"/>
                      </a:lnTo>
                      <a:lnTo>
                        <a:pt x="128" y="11"/>
                      </a:lnTo>
                      <a:lnTo>
                        <a:pt x="128" y="12"/>
                      </a:lnTo>
                      <a:lnTo>
                        <a:pt x="128" y="14"/>
                      </a:lnTo>
                      <a:lnTo>
                        <a:pt x="129" y="14"/>
                      </a:lnTo>
                      <a:lnTo>
                        <a:pt x="129" y="16"/>
                      </a:lnTo>
                      <a:lnTo>
                        <a:pt x="131" y="16"/>
                      </a:lnTo>
                      <a:lnTo>
                        <a:pt x="131" y="17"/>
                      </a:lnTo>
                      <a:lnTo>
                        <a:pt x="129" y="17"/>
                      </a:lnTo>
                      <a:lnTo>
                        <a:pt x="128" y="17"/>
                      </a:lnTo>
                      <a:lnTo>
                        <a:pt x="126" y="17"/>
                      </a:lnTo>
                      <a:lnTo>
                        <a:pt x="126" y="19"/>
                      </a:lnTo>
                      <a:lnTo>
                        <a:pt x="124" y="19"/>
                      </a:lnTo>
                      <a:lnTo>
                        <a:pt x="123" y="19"/>
                      </a:lnTo>
                      <a:lnTo>
                        <a:pt x="121" y="19"/>
                      </a:lnTo>
                      <a:lnTo>
                        <a:pt x="119" y="19"/>
                      </a:lnTo>
                      <a:lnTo>
                        <a:pt x="116" y="21"/>
                      </a:lnTo>
                      <a:lnTo>
                        <a:pt x="114" y="19"/>
                      </a:lnTo>
                      <a:lnTo>
                        <a:pt x="114" y="17"/>
                      </a:lnTo>
                      <a:lnTo>
                        <a:pt x="113" y="17"/>
                      </a:lnTo>
                      <a:lnTo>
                        <a:pt x="113" y="16"/>
                      </a:lnTo>
                      <a:lnTo>
                        <a:pt x="111" y="16"/>
                      </a:lnTo>
                      <a:lnTo>
                        <a:pt x="109" y="16"/>
                      </a:lnTo>
                      <a:lnTo>
                        <a:pt x="109" y="17"/>
                      </a:lnTo>
                      <a:lnTo>
                        <a:pt x="107" y="17"/>
                      </a:lnTo>
                      <a:lnTo>
                        <a:pt x="104" y="17"/>
                      </a:lnTo>
                      <a:lnTo>
                        <a:pt x="101" y="16"/>
                      </a:lnTo>
                      <a:lnTo>
                        <a:pt x="99" y="16"/>
                      </a:lnTo>
                      <a:lnTo>
                        <a:pt x="97" y="16"/>
                      </a:lnTo>
                      <a:lnTo>
                        <a:pt x="96" y="16"/>
                      </a:lnTo>
                      <a:lnTo>
                        <a:pt x="94" y="16"/>
                      </a:lnTo>
                      <a:lnTo>
                        <a:pt x="92" y="17"/>
                      </a:lnTo>
                      <a:lnTo>
                        <a:pt x="91" y="17"/>
                      </a:lnTo>
                      <a:lnTo>
                        <a:pt x="89" y="16"/>
                      </a:lnTo>
                      <a:lnTo>
                        <a:pt x="87" y="16"/>
                      </a:lnTo>
                      <a:lnTo>
                        <a:pt x="86" y="16"/>
                      </a:lnTo>
                      <a:lnTo>
                        <a:pt x="84" y="14"/>
                      </a:lnTo>
                      <a:lnTo>
                        <a:pt x="81" y="14"/>
                      </a:lnTo>
                      <a:lnTo>
                        <a:pt x="75" y="14"/>
                      </a:lnTo>
                      <a:lnTo>
                        <a:pt x="70" y="14"/>
                      </a:lnTo>
                      <a:lnTo>
                        <a:pt x="67" y="14"/>
                      </a:lnTo>
                      <a:lnTo>
                        <a:pt x="64" y="12"/>
                      </a:lnTo>
                      <a:lnTo>
                        <a:pt x="60" y="11"/>
                      </a:lnTo>
                      <a:lnTo>
                        <a:pt x="59" y="9"/>
                      </a:lnTo>
                      <a:lnTo>
                        <a:pt x="57" y="9"/>
                      </a:lnTo>
                      <a:lnTo>
                        <a:pt x="55" y="9"/>
                      </a:lnTo>
                      <a:lnTo>
                        <a:pt x="54" y="11"/>
                      </a:lnTo>
                      <a:lnTo>
                        <a:pt x="52" y="9"/>
                      </a:lnTo>
                      <a:lnTo>
                        <a:pt x="48" y="9"/>
                      </a:lnTo>
                      <a:lnTo>
                        <a:pt x="47" y="9"/>
                      </a:lnTo>
                      <a:lnTo>
                        <a:pt x="43" y="9"/>
                      </a:lnTo>
                      <a:lnTo>
                        <a:pt x="40" y="9"/>
                      </a:lnTo>
                      <a:lnTo>
                        <a:pt x="38" y="11"/>
                      </a:lnTo>
                      <a:lnTo>
                        <a:pt x="37" y="12"/>
                      </a:lnTo>
                      <a:lnTo>
                        <a:pt x="35" y="12"/>
                      </a:lnTo>
                      <a:lnTo>
                        <a:pt x="35" y="14"/>
                      </a:lnTo>
                      <a:lnTo>
                        <a:pt x="33" y="14"/>
                      </a:lnTo>
                      <a:lnTo>
                        <a:pt x="33" y="16"/>
                      </a:lnTo>
                      <a:lnTo>
                        <a:pt x="30" y="16"/>
                      </a:lnTo>
                      <a:lnTo>
                        <a:pt x="28" y="17"/>
                      </a:lnTo>
                      <a:lnTo>
                        <a:pt x="27" y="17"/>
                      </a:lnTo>
                      <a:lnTo>
                        <a:pt x="25" y="17"/>
                      </a:lnTo>
                      <a:lnTo>
                        <a:pt x="21" y="17"/>
                      </a:lnTo>
                      <a:lnTo>
                        <a:pt x="25" y="22"/>
                      </a:lnTo>
                      <a:lnTo>
                        <a:pt x="25" y="24"/>
                      </a:lnTo>
                      <a:lnTo>
                        <a:pt x="25" y="26"/>
                      </a:lnTo>
                      <a:lnTo>
                        <a:pt x="25" y="27"/>
                      </a:lnTo>
                      <a:lnTo>
                        <a:pt x="27" y="27"/>
                      </a:lnTo>
                      <a:lnTo>
                        <a:pt x="28" y="31"/>
                      </a:lnTo>
                      <a:lnTo>
                        <a:pt x="32" y="34"/>
                      </a:lnTo>
                      <a:lnTo>
                        <a:pt x="32" y="38"/>
                      </a:lnTo>
                      <a:lnTo>
                        <a:pt x="32" y="39"/>
                      </a:lnTo>
                      <a:lnTo>
                        <a:pt x="32" y="41"/>
                      </a:lnTo>
                      <a:lnTo>
                        <a:pt x="32" y="43"/>
                      </a:lnTo>
                      <a:lnTo>
                        <a:pt x="28" y="44"/>
                      </a:lnTo>
                      <a:lnTo>
                        <a:pt x="25" y="46"/>
                      </a:lnTo>
                      <a:lnTo>
                        <a:pt x="23" y="48"/>
                      </a:lnTo>
                      <a:lnTo>
                        <a:pt x="21" y="48"/>
                      </a:lnTo>
                      <a:lnTo>
                        <a:pt x="21" y="51"/>
                      </a:lnTo>
                      <a:lnTo>
                        <a:pt x="20" y="51"/>
                      </a:lnTo>
                      <a:lnTo>
                        <a:pt x="18" y="53"/>
                      </a:lnTo>
                      <a:lnTo>
                        <a:pt x="16" y="53"/>
                      </a:lnTo>
                      <a:lnTo>
                        <a:pt x="15" y="54"/>
                      </a:lnTo>
                      <a:lnTo>
                        <a:pt x="13" y="54"/>
                      </a:lnTo>
                      <a:lnTo>
                        <a:pt x="11" y="56"/>
                      </a:lnTo>
                      <a:lnTo>
                        <a:pt x="11" y="58"/>
                      </a:lnTo>
                      <a:lnTo>
                        <a:pt x="11" y="59"/>
                      </a:lnTo>
                      <a:lnTo>
                        <a:pt x="10" y="59"/>
                      </a:lnTo>
                      <a:lnTo>
                        <a:pt x="10" y="61"/>
                      </a:lnTo>
                      <a:lnTo>
                        <a:pt x="10" y="63"/>
                      </a:lnTo>
                      <a:lnTo>
                        <a:pt x="11" y="64"/>
                      </a:lnTo>
                      <a:lnTo>
                        <a:pt x="13" y="64"/>
                      </a:lnTo>
                      <a:lnTo>
                        <a:pt x="13" y="66"/>
                      </a:lnTo>
                      <a:lnTo>
                        <a:pt x="13" y="68"/>
                      </a:lnTo>
                      <a:lnTo>
                        <a:pt x="11" y="68"/>
                      </a:lnTo>
                      <a:lnTo>
                        <a:pt x="10" y="68"/>
                      </a:lnTo>
                      <a:lnTo>
                        <a:pt x="10" y="66"/>
                      </a:lnTo>
                      <a:lnTo>
                        <a:pt x="8" y="64"/>
                      </a:lnTo>
                      <a:lnTo>
                        <a:pt x="6" y="64"/>
                      </a:lnTo>
                      <a:lnTo>
                        <a:pt x="3" y="64"/>
                      </a:lnTo>
                      <a:lnTo>
                        <a:pt x="1" y="64"/>
                      </a:lnTo>
                      <a:lnTo>
                        <a:pt x="0" y="64"/>
                      </a:lnTo>
                      <a:lnTo>
                        <a:pt x="0" y="66"/>
                      </a:lnTo>
                      <a:lnTo>
                        <a:pt x="0" y="68"/>
                      </a:lnTo>
                      <a:lnTo>
                        <a:pt x="0" y="70"/>
                      </a:lnTo>
                      <a:lnTo>
                        <a:pt x="0" y="71"/>
                      </a:lnTo>
                      <a:lnTo>
                        <a:pt x="1" y="76"/>
                      </a:lnTo>
                      <a:lnTo>
                        <a:pt x="1" y="80"/>
                      </a:lnTo>
                      <a:lnTo>
                        <a:pt x="5" y="85"/>
                      </a:lnTo>
                      <a:lnTo>
                        <a:pt x="6" y="88"/>
                      </a:lnTo>
                      <a:lnTo>
                        <a:pt x="8" y="90"/>
                      </a:lnTo>
                      <a:lnTo>
                        <a:pt x="10" y="91"/>
                      </a:lnTo>
                      <a:lnTo>
                        <a:pt x="11" y="91"/>
                      </a:lnTo>
                      <a:lnTo>
                        <a:pt x="11" y="93"/>
                      </a:lnTo>
                      <a:lnTo>
                        <a:pt x="13" y="91"/>
                      </a:lnTo>
                      <a:lnTo>
                        <a:pt x="15" y="91"/>
                      </a:lnTo>
                      <a:lnTo>
                        <a:pt x="15" y="90"/>
                      </a:lnTo>
                      <a:lnTo>
                        <a:pt x="15" y="88"/>
                      </a:lnTo>
                      <a:lnTo>
                        <a:pt x="16" y="88"/>
                      </a:lnTo>
                      <a:lnTo>
                        <a:pt x="18" y="86"/>
                      </a:lnTo>
                      <a:lnTo>
                        <a:pt x="20" y="86"/>
                      </a:lnTo>
                      <a:lnTo>
                        <a:pt x="23" y="86"/>
                      </a:lnTo>
                      <a:lnTo>
                        <a:pt x="25" y="88"/>
                      </a:lnTo>
                      <a:lnTo>
                        <a:pt x="27" y="90"/>
                      </a:lnTo>
                      <a:lnTo>
                        <a:pt x="28" y="90"/>
                      </a:lnTo>
                      <a:lnTo>
                        <a:pt x="30" y="90"/>
                      </a:lnTo>
                      <a:lnTo>
                        <a:pt x="35" y="90"/>
                      </a:lnTo>
                      <a:lnTo>
                        <a:pt x="37" y="90"/>
                      </a:lnTo>
                      <a:lnTo>
                        <a:pt x="38" y="90"/>
                      </a:lnTo>
                      <a:lnTo>
                        <a:pt x="40" y="91"/>
                      </a:lnTo>
                      <a:lnTo>
                        <a:pt x="42" y="91"/>
                      </a:lnTo>
                      <a:lnTo>
                        <a:pt x="43" y="91"/>
                      </a:lnTo>
                      <a:lnTo>
                        <a:pt x="45" y="90"/>
                      </a:lnTo>
                      <a:lnTo>
                        <a:pt x="47" y="90"/>
                      </a:lnTo>
                      <a:lnTo>
                        <a:pt x="52" y="90"/>
                      </a:lnTo>
                      <a:lnTo>
                        <a:pt x="55" y="90"/>
                      </a:lnTo>
                      <a:lnTo>
                        <a:pt x="57" y="90"/>
                      </a:lnTo>
                      <a:lnTo>
                        <a:pt x="60" y="88"/>
                      </a:lnTo>
                      <a:lnTo>
                        <a:pt x="62" y="88"/>
                      </a:lnTo>
                      <a:lnTo>
                        <a:pt x="64" y="86"/>
                      </a:lnTo>
                      <a:lnTo>
                        <a:pt x="64" y="85"/>
                      </a:lnTo>
                      <a:lnTo>
                        <a:pt x="65" y="85"/>
                      </a:lnTo>
                      <a:lnTo>
                        <a:pt x="69" y="83"/>
                      </a:lnTo>
                      <a:lnTo>
                        <a:pt x="70" y="83"/>
                      </a:lnTo>
                      <a:lnTo>
                        <a:pt x="74" y="81"/>
                      </a:lnTo>
                      <a:lnTo>
                        <a:pt x="75" y="80"/>
                      </a:lnTo>
                      <a:lnTo>
                        <a:pt x="77" y="80"/>
                      </a:lnTo>
                      <a:lnTo>
                        <a:pt x="81" y="80"/>
                      </a:lnTo>
                      <a:lnTo>
                        <a:pt x="82" y="80"/>
                      </a:lnTo>
                      <a:lnTo>
                        <a:pt x="86" y="80"/>
                      </a:lnTo>
                      <a:lnTo>
                        <a:pt x="91" y="80"/>
                      </a:lnTo>
                      <a:lnTo>
                        <a:pt x="94" y="81"/>
                      </a:lnTo>
                      <a:lnTo>
                        <a:pt x="102" y="83"/>
                      </a:lnTo>
                      <a:lnTo>
                        <a:pt x="107" y="85"/>
                      </a:lnTo>
                      <a:lnTo>
                        <a:pt x="111" y="88"/>
                      </a:lnTo>
                      <a:lnTo>
                        <a:pt x="113" y="91"/>
                      </a:lnTo>
                      <a:lnTo>
                        <a:pt x="114" y="97"/>
                      </a:lnTo>
                      <a:lnTo>
                        <a:pt x="118" y="102"/>
                      </a:lnTo>
                      <a:lnTo>
                        <a:pt x="118" y="105"/>
                      </a:lnTo>
                      <a:lnTo>
                        <a:pt x="119" y="108"/>
                      </a:lnTo>
                      <a:lnTo>
                        <a:pt x="119" y="113"/>
                      </a:lnTo>
                      <a:lnTo>
                        <a:pt x="119" y="118"/>
                      </a:lnTo>
                      <a:lnTo>
                        <a:pt x="118" y="118"/>
                      </a:lnTo>
                      <a:lnTo>
                        <a:pt x="116" y="118"/>
                      </a:lnTo>
                      <a:lnTo>
                        <a:pt x="116" y="120"/>
                      </a:lnTo>
                      <a:lnTo>
                        <a:pt x="114" y="120"/>
                      </a:lnTo>
                      <a:lnTo>
                        <a:pt x="113" y="120"/>
                      </a:lnTo>
                      <a:lnTo>
                        <a:pt x="111" y="120"/>
                      </a:lnTo>
                      <a:lnTo>
                        <a:pt x="111" y="122"/>
                      </a:lnTo>
                      <a:lnTo>
                        <a:pt x="109" y="122"/>
                      </a:lnTo>
                      <a:lnTo>
                        <a:pt x="109" y="123"/>
                      </a:lnTo>
                      <a:lnTo>
                        <a:pt x="109" y="125"/>
                      </a:lnTo>
                      <a:lnTo>
                        <a:pt x="109" y="127"/>
                      </a:lnTo>
                      <a:lnTo>
                        <a:pt x="107" y="127"/>
                      </a:lnTo>
                      <a:lnTo>
                        <a:pt x="106" y="127"/>
                      </a:lnTo>
                      <a:lnTo>
                        <a:pt x="106" y="129"/>
                      </a:lnTo>
                      <a:lnTo>
                        <a:pt x="104" y="129"/>
                      </a:lnTo>
                      <a:lnTo>
                        <a:pt x="102" y="129"/>
                      </a:lnTo>
                      <a:lnTo>
                        <a:pt x="101" y="130"/>
                      </a:lnTo>
                      <a:lnTo>
                        <a:pt x="99" y="130"/>
                      </a:lnTo>
                      <a:lnTo>
                        <a:pt x="97" y="132"/>
                      </a:lnTo>
                      <a:lnTo>
                        <a:pt x="94" y="132"/>
                      </a:lnTo>
                      <a:lnTo>
                        <a:pt x="92" y="132"/>
                      </a:lnTo>
                      <a:lnTo>
                        <a:pt x="91" y="134"/>
                      </a:lnTo>
                      <a:lnTo>
                        <a:pt x="91" y="135"/>
                      </a:lnTo>
                      <a:lnTo>
                        <a:pt x="91" y="139"/>
                      </a:lnTo>
                      <a:lnTo>
                        <a:pt x="92" y="140"/>
                      </a:lnTo>
                      <a:lnTo>
                        <a:pt x="94" y="140"/>
                      </a:lnTo>
                      <a:lnTo>
                        <a:pt x="96" y="142"/>
                      </a:lnTo>
                      <a:lnTo>
                        <a:pt x="97" y="142"/>
                      </a:lnTo>
                      <a:lnTo>
                        <a:pt x="99" y="144"/>
                      </a:lnTo>
                      <a:lnTo>
                        <a:pt x="101" y="145"/>
                      </a:lnTo>
                      <a:lnTo>
                        <a:pt x="104" y="145"/>
                      </a:lnTo>
                      <a:lnTo>
                        <a:pt x="106" y="145"/>
                      </a:lnTo>
                      <a:lnTo>
                        <a:pt x="107" y="145"/>
                      </a:lnTo>
                      <a:lnTo>
                        <a:pt x="109" y="145"/>
                      </a:lnTo>
                      <a:lnTo>
                        <a:pt x="111" y="145"/>
                      </a:lnTo>
                      <a:lnTo>
                        <a:pt x="113" y="145"/>
                      </a:lnTo>
                      <a:lnTo>
                        <a:pt x="114" y="145"/>
                      </a:lnTo>
                      <a:lnTo>
                        <a:pt x="116" y="145"/>
                      </a:lnTo>
                      <a:lnTo>
                        <a:pt x="118" y="145"/>
                      </a:lnTo>
                      <a:lnTo>
                        <a:pt x="118" y="144"/>
                      </a:lnTo>
                      <a:lnTo>
                        <a:pt x="118" y="142"/>
                      </a:lnTo>
                      <a:lnTo>
                        <a:pt x="118" y="140"/>
                      </a:lnTo>
                      <a:lnTo>
                        <a:pt x="119" y="139"/>
                      </a:lnTo>
                      <a:lnTo>
                        <a:pt x="119" y="137"/>
                      </a:lnTo>
                      <a:lnTo>
                        <a:pt x="119" y="135"/>
                      </a:lnTo>
                      <a:lnTo>
                        <a:pt x="121" y="134"/>
                      </a:lnTo>
                      <a:lnTo>
                        <a:pt x="123" y="132"/>
                      </a:lnTo>
                      <a:lnTo>
                        <a:pt x="124" y="132"/>
                      </a:lnTo>
                      <a:lnTo>
                        <a:pt x="126" y="132"/>
                      </a:lnTo>
                      <a:lnTo>
                        <a:pt x="126" y="129"/>
                      </a:lnTo>
                      <a:lnTo>
                        <a:pt x="128" y="129"/>
                      </a:lnTo>
                      <a:lnTo>
                        <a:pt x="128" y="127"/>
                      </a:lnTo>
                      <a:lnTo>
                        <a:pt x="126" y="127"/>
                      </a:lnTo>
                      <a:lnTo>
                        <a:pt x="128" y="125"/>
                      </a:lnTo>
                      <a:lnTo>
                        <a:pt x="126" y="125"/>
                      </a:lnTo>
                      <a:lnTo>
                        <a:pt x="128" y="123"/>
                      </a:lnTo>
                      <a:lnTo>
                        <a:pt x="126" y="123"/>
                      </a:lnTo>
                      <a:lnTo>
                        <a:pt x="128" y="123"/>
                      </a:lnTo>
                      <a:lnTo>
                        <a:pt x="129" y="123"/>
                      </a:lnTo>
                      <a:lnTo>
                        <a:pt x="131" y="123"/>
                      </a:lnTo>
                      <a:lnTo>
                        <a:pt x="133" y="123"/>
                      </a:lnTo>
                      <a:lnTo>
                        <a:pt x="133" y="120"/>
                      </a:lnTo>
                      <a:lnTo>
                        <a:pt x="134" y="118"/>
                      </a:lnTo>
                      <a:lnTo>
                        <a:pt x="136" y="118"/>
                      </a:lnTo>
                      <a:lnTo>
                        <a:pt x="138" y="118"/>
                      </a:lnTo>
                      <a:lnTo>
                        <a:pt x="140" y="118"/>
                      </a:lnTo>
                      <a:lnTo>
                        <a:pt x="141" y="118"/>
                      </a:lnTo>
                      <a:lnTo>
                        <a:pt x="143" y="118"/>
                      </a:lnTo>
                      <a:lnTo>
                        <a:pt x="145" y="118"/>
                      </a:lnTo>
                      <a:lnTo>
                        <a:pt x="145" y="117"/>
                      </a:lnTo>
                      <a:lnTo>
                        <a:pt x="146" y="115"/>
                      </a:lnTo>
                      <a:lnTo>
                        <a:pt x="146" y="113"/>
                      </a:lnTo>
                      <a:lnTo>
                        <a:pt x="148" y="113"/>
                      </a:lnTo>
                      <a:lnTo>
                        <a:pt x="148" y="115"/>
                      </a:lnTo>
                      <a:lnTo>
                        <a:pt x="148" y="117"/>
                      </a:lnTo>
                      <a:lnTo>
                        <a:pt x="150" y="117"/>
                      </a:lnTo>
                      <a:lnTo>
                        <a:pt x="151" y="115"/>
                      </a:lnTo>
                      <a:lnTo>
                        <a:pt x="151" y="113"/>
                      </a:lnTo>
                      <a:lnTo>
                        <a:pt x="153" y="112"/>
                      </a:lnTo>
                      <a:lnTo>
                        <a:pt x="153" y="110"/>
                      </a:lnTo>
                      <a:lnTo>
                        <a:pt x="155" y="110"/>
                      </a:lnTo>
                      <a:lnTo>
                        <a:pt x="156" y="110"/>
                      </a:lnTo>
                      <a:lnTo>
                        <a:pt x="156" y="112"/>
                      </a:lnTo>
                      <a:lnTo>
                        <a:pt x="155" y="112"/>
                      </a:lnTo>
                      <a:lnTo>
                        <a:pt x="155" y="113"/>
                      </a:lnTo>
                      <a:lnTo>
                        <a:pt x="155" y="115"/>
                      </a:lnTo>
                      <a:lnTo>
                        <a:pt x="156" y="115"/>
                      </a:lnTo>
                      <a:lnTo>
                        <a:pt x="156" y="117"/>
                      </a:lnTo>
                      <a:lnTo>
                        <a:pt x="156" y="118"/>
                      </a:lnTo>
                      <a:lnTo>
                        <a:pt x="158" y="118"/>
                      </a:lnTo>
                      <a:lnTo>
                        <a:pt x="160" y="118"/>
                      </a:lnTo>
                      <a:lnTo>
                        <a:pt x="160" y="117"/>
                      </a:lnTo>
                      <a:lnTo>
                        <a:pt x="161" y="117"/>
                      </a:lnTo>
                      <a:lnTo>
                        <a:pt x="163" y="118"/>
                      </a:lnTo>
                      <a:lnTo>
                        <a:pt x="161" y="118"/>
                      </a:lnTo>
                      <a:lnTo>
                        <a:pt x="160" y="120"/>
                      </a:lnTo>
                      <a:lnTo>
                        <a:pt x="156" y="120"/>
                      </a:lnTo>
                      <a:lnTo>
                        <a:pt x="155" y="120"/>
                      </a:lnTo>
                      <a:lnTo>
                        <a:pt x="153" y="120"/>
                      </a:lnTo>
                      <a:lnTo>
                        <a:pt x="150" y="120"/>
                      </a:lnTo>
                      <a:lnTo>
                        <a:pt x="151" y="122"/>
                      </a:lnTo>
                      <a:lnTo>
                        <a:pt x="153" y="122"/>
                      </a:lnTo>
                      <a:lnTo>
                        <a:pt x="155" y="123"/>
                      </a:lnTo>
                      <a:lnTo>
                        <a:pt x="155" y="125"/>
                      </a:lnTo>
                      <a:lnTo>
                        <a:pt x="156" y="125"/>
                      </a:lnTo>
                      <a:lnTo>
                        <a:pt x="158" y="127"/>
                      </a:lnTo>
                      <a:lnTo>
                        <a:pt x="161" y="127"/>
                      </a:lnTo>
                      <a:lnTo>
                        <a:pt x="163" y="127"/>
                      </a:lnTo>
                      <a:lnTo>
                        <a:pt x="165" y="129"/>
                      </a:lnTo>
                      <a:lnTo>
                        <a:pt x="170" y="129"/>
                      </a:lnTo>
                      <a:lnTo>
                        <a:pt x="175" y="129"/>
                      </a:lnTo>
                      <a:lnTo>
                        <a:pt x="175" y="130"/>
                      </a:lnTo>
                      <a:lnTo>
                        <a:pt x="177" y="130"/>
                      </a:lnTo>
                      <a:lnTo>
                        <a:pt x="177" y="132"/>
                      </a:lnTo>
                      <a:lnTo>
                        <a:pt x="175" y="134"/>
                      </a:lnTo>
                      <a:lnTo>
                        <a:pt x="172" y="135"/>
                      </a:lnTo>
                      <a:lnTo>
                        <a:pt x="170" y="135"/>
                      </a:lnTo>
                      <a:lnTo>
                        <a:pt x="167" y="139"/>
                      </a:lnTo>
                      <a:lnTo>
                        <a:pt x="163" y="140"/>
                      </a:lnTo>
                      <a:lnTo>
                        <a:pt x="163" y="144"/>
                      </a:lnTo>
                      <a:lnTo>
                        <a:pt x="165" y="144"/>
                      </a:lnTo>
                      <a:lnTo>
                        <a:pt x="167" y="145"/>
                      </a:lnTo>
                      <a:lnTo>
                        <a:pt x="168" y="147"/>
                      </a:lnTo>
                      <a:lnTo>
                        <a:pt x="172" y="147"/>
                      </a:lnTo>
                      <a:lnTo>
                        <a:pt x="175" y="147"/>
                      </a:lnTo>
                      <a:lnTo>
                        <a:pt x="177" y="149"/>
                      </a:lnTo>
                      <a:lnTo>
                        <a:pt x="178" y="149"/>
                      </a:lnTo>
                      <a:lnTo>
                        <a:pt x="178" y="150"/>
                      </a:lnTo>
                      <a:lnTo>
                        <a:pt x="177" y="152"/>
                      </a:lnTo>
                      <a:lnTo>
                        <a:pt x="177" y="154"/>
                      </a:lnTo>
                      <a:lnTo>
                        <a:pt x="177" y="156"/>
                      </a:lnTo>
                      <a:lnTo>
                        <a:pt x="177" y="157"/>
                      </a:lnTo>
                      <a:lnTo>
                        <a:pt x="177" y="161"/>
                      </a:lnTo>
                      <a:lnTo>
                        <a:pt x="178" y="161"/>
                      </a:lnTo>
                      <a:lnTo>
                        <a:pt x="180" y="161"/>
                      </a:lnTo>
                      <a:lnTo>
                        <a:pt x="182" y="161"/>
                      </a:lnTo>
                      <a:lnTo>
                        <a:pt x="183" y="161"/>
                      </a:lnTo>
                      <a:lnTo>
                        <a:pt x="185" y="161"/>
                      </a:lnTo>
                      <a:lnTo>
                        <a:pt x="187" y="161"/>
                      </a:lnTo>
                      <a:lnTo>
                        <a:pt x="187" y="159"/>
                      </a:lnTo>
                      <a:lnTo>
                        <a:pt x="188" y="159"/>
                      </a:lnTo>
                      <a:lnTo>
                        <a:pt x="190" y="157"/>
                      </a:lnTo>
                      <a:lnTo>
                        <a:pt x="192" y="156"/>
                      </a:lnTo>
                      <a:lnTo>
                        <a:pt x="192" y="154"/>
                      </a:lnTo>
                      <a:lnTo>
                        <a:pt x="190" y="154"/>
                      </a:lnTo>
                      <a:lnTo>
                        <a:pt x="192" y="154"/>
                      </a:lnTo>
                      <a:lnTo>
                        <a:pt x="192" y="152"/>
                      </a:lnTo>
                      <a:lnTo>
                        <a:pt x="193" y="154"/>
                      </a:lnTo>
                      <a:lnTo>
                        <a:pt x="195" y="154"/>
                      </a:lnTo>
                      <a:lnTo>
                        <a:pt x="195" y="152"/>
                      </a:lnTo>
                      <a:lnTo>
                        <a:pt x="197" y="152"/>
                      </a:lnTo>
                      <a:lnTo>
                        <a:pt x="199" y="152"/>
                      </a:lnTo>
                      <a:lnTo>
                        <a:pt x="200" y="152"/>
                      </a:lnTo>
                      <a:lnTo>
                        <a:pt x="202" y="152"/>
                      </a:lnTo>
                      <a:lnTo>
                        <a:pt x="204" y="152"/>
                      </a:lnTo>
                      <a:lnTo>
                        <a:pt x="204" y="150"/>
                      </a:lnTo>
                      <a:lnTo>
                        <a:pt x="205" y="150"/>
                      </a:lnTo>
                      <a:lnTo>
                        <a:pt x="207" y="149"/>
                      </a:lnTo>
                      <a:lnTo>
                        <a:pt x="209" y="149"/>
                      </a:lnTo>
                      <a:lnTo>
                        <a:pt x="210" y="147"/>
                      </a:lnTo>
                      <a:lnTo>
                        <a:pt x="212" y="149"/>
                      </a:lnTo>
                      <a:lnTo>
                        <a:pt x="214" y="149"/>
                      </a:lnTo>
                      <a:lnTo>
                        <a:pt x="217" y="149"/>
                      </a:lnTo>
                      <a:lnTo>
                        <a:pt x="219" y="149"/>
                      </a:lnTo>
                      <a:lnTo>
                        <a:pt x="220" y="147"/>
                      </a:lnTo>
                      <a:lnTo>
                        <a:pt x="222" y="144"/>
                      </a:lnTo>
                      <a:lnTo>
                        <a:pt x="224" y="142"/>
                      </a:lnTo>
                      <a:lnTo>
                        <a:pt x="222" y="142"/>
                      </a:lnTo>
                      <a:lnTo>
                        <a:pt x="224" y="140"/>
                      </a:lnTo>
                      <a:lnTo>
                        <a:pt x="222" y="140"/>
                      </a:lnTo>
                      <a:lnTo>
                        <a:pt x="220" y="140"/>
                      </a:lnTo>
                      <a:lnTo>
                        <a:pt x="219" y="140"/>
                      </a:lnTo>
                      <a:lnTo>
                        <a:pt x="217" y="140"/>
                      </a:lnTo>
                      <a:lnTo>
                        <a:pt x="214" y="142"/>
                      </a:lnTo>
                      <a:lnTo>
                        <a:pt x="210" y="144"/>
                      </a:lnTo>
                      <a:lnTo>
                        <a:pt x="205" y="144"/>
                      </a:lnTo>
                      <a:lnTo>
                        <a:pt x="202" y="144"/>
                      </a:lnTo>
                      <a:lnTo>
                        <a:pt x="199" y="140"/>
                      </a:lnTo>
                      <a:lnTo>
                        <a:pt x="197" y="137"/>
                      </a:lnTo>
                      <a:lnTo>
                        <a:pt x="195" y="137"/>
                      </a:lnTo>
                      <a:lnTo>
                        <a:pt x="195" y="135"/>
                      </a:lnTo>
                      <a:lnTo>
                        <a:pt x="193" y="134"/>
                      </a:lnTo>
                      <a:lnTo>
                        <a:pt x="192" y="132"/>
                      </a:lnTo>
                      <a:lnTo>
                        <a:pt x="190" y="132"/>
                      </a:lnTo>
                      <a:lnTo>
                        <a:pt x="187" y="130"/>
                      </a:lnTo>
                      <a:lnTo>
                        <a:pt x="185" y="130"/>
                      </a:lnTo>
                      <a:lnTo>
                        <a:pt x="183" y="130"/>
                      </a:lnTo>
                      <a:lnTo>
                        <a:pt x="183" y="129"/>
                      </a:lnTo>
                      <a:lnTo>
                        <a:pt x="182" y="127"/>
                      </a:lnTo>
                      <a:lnTo>
                        <a:pt x="182" y="125"/>
                      </a:lnTo>
                      <a:lnTo>
                        <a:pt x="183" y="125"/>
                      </a:lnTo>
                      <a:lnTo>
                        <a:pt x="185" y="125"/>
                      </a:lnTo>
                      <a:lnTo>
                        <a:pt x="187" y="127"/>
                      </a:lnTo>
                      <a:lnTo>
                        <a:pt x="188" y="127"/>
                      </a:lnTo>
                      <a:lnTo>
                        <a:pt x="188" y="125"/>
                      </a:lnTo>
                      <a:lnTo>
                        <a:pt x="190" y="125"/>
                      </a:lnTo>
                      <a:lnTo>
                        <a:pt x="192" y="127"/>
                      </a:lnTo>
                      <a:lnTo>
                        <a:pt x="192" y="129"/>
                      </a:lnTo>
                      <a:lnTo>
                        <a:pt x="193" y="129"/>
                      </a:lnTo>
                      <a:lnTo>
                        <a:pt x="195" y="129"/>
                      </a:lnTo>
                      <a:lnTo>
                        <a:pt x="197" y="129"/>
                      </a:lnTo>
                      <a:lnTo>
                        <a:pt x="199" y="127"/>
                      </a:lnTo>
                      <a:lnTo>
                        <a:pt x="200" y="125"/>
                      </a:lnTo>
                      <a:lnTo>
                        <a:pt x="200" y="122"/>
                      </a:lnTo>
                      <a:lnTo>
                        <a:pt x="202" y="122"/>
                      </a:lnTo>
                      <a:lnTo>
                        <a:pt x="205" y="122"/>
                      </a:lnTo>
                      <a:lnTo>
                        <a:pt x="209" y="120"/>
                      </a:lnTo>
                      <a:lnTo>
                        <a:pt x="210" y="118"/>
                      </a:lnTo>
                      <a:lnTo>
                        <a:pt x="219" y="118"/>
                      </a:lnTo>
                      <a:lnTo>
                        <a:pt x="224" y="117"/>
                      </a:lnTo>
                      <a:lnTo>
                        <a:pt x="229" y="115"/>
                      </a:lnTo>
                      <a:lnTo>
                        <a:pt x="231" y="113"/>
                      </a:lnTo>
                      <a:lnTo>
                        <a:pt x="236" y="112"/>
                      </a:lnTo>
                      <a:lnTo>
                        <a:pt x="239" y="110"/>
                      </a:lnTo>
                      <a:lnTo>
                        <a:pt x="242" y="108"/>
                      </a:lnTo>
                      <a:lnTo>
                        <a:pt x="247" y="108"/>
                      </a:lnTo>
                      <a:lnTo>
                        <a:pt x="256" y="108"/>
                      </a:lnTo>
                      <a:lnTo>
                        <a:pt x="256" y="107"/>
                      </a:lnTo>
                      <a:lnTo>
                        <a:pt x="258" y="107"/>
                      </a:lnTo>
                      <a:lnTo>
                        <a:pt x="258" y="105"/>
                      </a:lnTo>
                      <a:lnTo>
                        <a:pt x="256" y="105"/>
                      </a:lnTo>
                      <a:lnTo>
                        <a:pt x="254" y="105"/>
                      </a:lnTo>
                      <a:lnTo>
                        <a:pt x="254" y="103"/>
                      </a:lnTo>
                      <a:lnTo>
                        <a:pt x="252" y="103"/>
                      </a:lnTo>
                      <a:lnTo>
                        <a:pt x="252" y="102"/>
                      </a:lnTo>
                      <a:lnTo>
                        <a:pt x="252" y="100"/>
                      </a:lnTo>
                      <a:lnTo>
                        <a:pt x="252" y="98"/>
                      </a:lnTo>
                      <a:lnTo>
                        <a:pt x="254" y="98"/>
                      </a:lnTo>
                      <a:lnTo>
                        <a:pt x="256" y="98"/>
                      </a:lnTo>
                      <a:lnTo>
                        <a:pt x="258" y="98"/>
                      </a:lnTo>
                      <a:lnTo>
                        <a:pt x="259" y="97"/>
                      </a:lnTo>
                      <a:lnTo>
                        <a:pt x="259" y="95"/>
                      </a:lnTo>
                      <a:lnTo>
                        <a:pt x="261" y="93"/>
                      </a:lnTo>
                      <a:lnTo>
                        <a:pt x="263" y="93"/>
                      </a:lnTo>
                      <a:lnTo>
                        <a:pt x="264" y="93"/>
                      </a:lnTo>
                      <a:lnTo>
                        <a:pt x="266" y="93"/>
                      </a:lnTo>
                      <a:lnTo>
                        <a:pt x="268" y="93"/>
                      </a:lnTo>
                      <a:lnTo>
                        <a:pt x="269" y="91"/>
                      </a:lnTo>
                      <a:lnTo>
                        <a:pt x="273" y="91"/>
                      </a:lnTo>
                      <a:lnTo>
                        <a:pt x="273" y="93"/>
                      </a:lnTo>
                      <a:lnTo>
                        <a:pt x="276" y="93"/>
                      </a:lnTo>
                      <a:lnTo>
                        <a:pt x="276" y="91"/>
                      </a:lnTo>
                      <a:lnTo>
                        <a:pt x="278" y="90"/>
                      </a:lnTo>
                      <a:lnTo>
                        <a:pt x="278" y="88"/>
                      </a:lnTo>
                      <a:lnTo>
                        <a:pt x="278" y="86"/>
                      </a:lnTo>
                      <a:lnTo>
                        <a:pt x="279" y="86"/>
                      </a:lnTo>
                      <a:lnTo>
                        <a:pt x="279" y="85"/>
                      </a:lnTo>
                      <a:lnTo>
                        <a:pt x="279" y="83"/>
                      </a:lnTo>
                      <a:lnTo>
                        <a:pt x="278" y="81"/>
                      </a:lnTo>
                      <a:lnTo>
                        <a:pt x="276" y="80"/>
                      </a:lnTo>
                      <a:lnTo>
                        <a:pt x="274" y="80"/>
                      </a:lnTo>
                      <a:lnTo>
                        <a:pt x="274" y="78"/>
                      </a:lnTo>
                      <a:lnTo>
                        <a:pt x="274" y="76"/>
                      </a:lnTo>
                      <a:lnTo>
                        <a:pt x="274" y="75"/>
                      </a:lnTo>
                      <a:lnTo>
                        <a:pt x="276" y="75"/>
                      </a:lnTo>
                      <a:lnTo>
                        <a:pt x="278" y="75"/>
                      </a:lnTo>
                      <a:lnTo>
                        <a:pt x="279" y="75"/>
                      </a:lnTo>
                      <a:lnTo>
                        <a:pt x="281" y="75"/>
                      </a:lnTo>
                      <a:lnTo>
                        <a:pt x="281" y="73"/>
                      </a:lnTo>
                      <a:lnTo>
                        <a:pt x="279" y="73"/>
                      </a:lnTo>
                      <a:lnTo>
                        <a:pt x="278" y="73"/>
                      </a:lnTo>
                      <a:lnTo>
                        <a:pt x="276" y="71"/>
                      </a:lnTo>
                      <a:lnTo>
                        <a:pt x="274" y="70"/>
                      </a:lnTo>
                      <a:lnTo>
                        <a:pt x="276" y="68"/>
                      </a:lnTo>
                      <a:lnTo>
                        <a:pt x="279" y="68"/>
                      </a:lnTo>
                      <a:lnTo>
                        <a:pt x="281" y="68"/>
                      </a:lnTo>
                      <a:lnTo>
                        <a:pt x="283" y="66"/>
                      </a:lnTo>
                      <a:lnTo>
                        <a:pt x="283" y="64"/>
                      </a:lnTo>
                      <a:lnTo>
                        <a:pt x="283" y="63"/>
                      </a:lnTo>
                      <a:lnTo>
                        <a:pt x="283" y="61"/>
                      </a:lnTo>
                      <a:lnTo>
                        <a:pt x="281" y="61"/>
                      </a:lnTo>
                      <a:lnTo>
                        <a:pt x="281" y="59"/>
                      </a:lnTo>
                      <a:lnTo>
                        <a:pt x="283" y="59"/>
                      </a:lnTo>
                      <a:lnTo>
                        <a:pt x="283" y="58"/>
                      </a:lnTo>
                      <a:lnTo>
                        <a:pt x="281" y="58"/>
                      </a:lnTo>
                      <a:lnTo>
                        <a:pt x="279" y="58"/>
                      </a:lnTo>
                      <a:lnTo>
                        <a:pt x="278" y="58"/>
                      </a:lnTo>
                      <a:lnTo>
                        <a:pt x="276" y="58"/>
                      </a:lnTo>
                      <a:lnTo>
                        <a:pt x="274" y="56"/>
                      </a:lnTo>
                      <a:lnTo>
                        <a:pt x="273" y="54"/>
                      </a:lnTo>
                      <a:lnTo>
                        <a:pt x="271" y="54"/>
                      </a:lnTo>
                      <a:lnTo>
                        <a:pt x="269" y="53"/>
                      </a:lnTo>
                      <a:lnTo>
                        <a:pt x="268" y="53"/>
                      </a:lnTo>
                      <a:lnTo>
                        <a:pt x="266" y="53"/>
                      </a:lnTo>
                      <a:lnTo>
                        <a:pt x="263" y="53"/>
                      </a:lnTo>
                      <a:lnTo>
                        <a:pt x="263" y="51"/>
                      </a:lnTo>
                      <a:lnTo>
                        <a:pt x="261" y="51"/>
                      </a:lnTo>
                      <a:lnTo>
                        <a:pt x="261" y="49"/>
                      </a:lnTo>
                      <a:lnTo>
                        <a:pt x="259" y="49"/>
                      </a:lnTo>
                      <a:lnTo>
                        <a:pt x="259" y="51"/>
                      </a:lnTo>
                      <a:lnTo>
                        <a:pt x="258" y="51"/>
                      </a:lnTo>
                      <a:lnTo>
                        <a:pt x="256" y="51"/>
                      </a:lnTo>
                      <a:lnTo>
                        <a:pt x="254" y="49"/>
                      </a:lnTo>
                      <a:lnTo>
                        <a:pt x="254" y="48"/>
                      </a:lnTo>
                      <a:lnTo>
                        <a:pt x="252" y="48"/>
                      </a:lnTo>
                      <a:lnTo>
                        <a:pt x="251" y="49"/>
                      </a:lnTo>
                      <a:lnTo>
                        <a:pt x="251" y="51"/>
                      </a:lnTo>
                      <a:lnTo>
                        <a:pt x="249" y="51"/>
                      </a:lnTo>
                      <a:lnTo>
                        <a:pt x="246" y="51"/>
                      </a:lnTo>
                      <a:lnTo>
                        <a:pt x="244" y="51"/>
                      </a:lnTo>
                      <a:lnTo>
                        <a:pt x="242" y="49"/>
                      </a:lnTo>
                      <a:lnTo>
                        <a:pt x="242" y="48"/>
                      </a:lnTo>
                      <a:lnTo>
                        <a:pt x="242" y="46"/>
                      </a:lnTo>
                      <a:lnTo>
                        <a:pt x="242" y="44"/>
                      </a:lnTo>
                      <a:lnTo>
                        <a:pt x="242" y="43"/>
                      </a:lnTo>
                      <a:lnTo>
                        <a:pt x="241" y="43"/>
                      </a:lnTo>
                      <a:lnTo>
                        <a:pt x="239" y="41"/>
                      </a:lnTo>
                      <a:lnTo>
                        <a:pt x="237" y="41"/>
                      </a:lnTo>
                      <a:lnTo>
                        <a:pt x="236" y="41"/>
                      </a:lnTo>
                      <a:lnTo>
                        <a:pt x="234" y="41"/>
                      </a:lnTo>
                      <a:lnTo>
                        <a:pt x="232" y="43"/>
                      </a:lnTo>
                      <a:lnTo>
                        <a:pt x="231" y="44"/>
                      </a:lnTo>
                      <a:lnTo>
                        <a:pt x="227" y="44"/>
                      </a:lnTo>
                      <a:lnTo>
                        <a:pt x="226" y="44"/>
                      </a:lnTo>
                      <a:lnTo>
                        <a:pt x="224" y="43"/>
                      </a:lnTo>
                      <a:lnTo>
                        <a:pt x="220" y="44"/>
                      </a:lnTo>
                      <a:lnTo>
                        <a:pt x="220" y="43"/>
                      </a:lnTo>
                      <a:lnTo>
                        <a:pt x="219" y="41"/>
                      </a:lnTo>
                      <a:lnTo>
                        <a:pt x="217" y="41"/>
                      </a:lnTo>
                      <a:lnTo>
                        <a:pt x="215" y="41"/>
                      </a:lnTo>
                      <a:lnTo>
                        <a:pt x="215" y="43"/>
                      </a:lnTo>
                      <a:lnTo>
                        <a:pt x="214" y="43"/>
                      </a:lnTo>
                      <a:lnTo>
                        <a:pt x="210" y="43"/>
                      </a:lnTo>
                      <a:lnTo>
                        <a:pt x="210" y="41"/>
                      </a:lnTo>
                      <a:lnTo>
                        <a:pt x="207" y="38"/>
                      </a:lnTo>
                      <a:lnTo>
                        <a:pt x="209" y="34"/>
                      </a:lnTo>
                      <a:lnTo>
                        <a:pt x="207" y="32"/>
                      </a:lnTo>
                      <a:lnTo>
                        <a:pt x="205" y="31"/>
                      </a:lnTo>
                      <a:lnTo>
                        <a:pt x="204" y="29"/>
                      </a:lnTo>
                      <a:lnTo>
                        <a:pt x="204" y="27"/>
                      </a:lnTo>
                      <a:lnTo>
                        <a:pt x="204" y="26"/>
                      </a:lnTo>
                      <a:lnTo>
                        <a:pt x="202" y="26"/>
                      </a:lnTo>
                      <a:lnTo>
                        <a:pt x="199" y="26"/>
                      </a:lnTo>
                      <a:lnTo>
                        <a:pt x="195" y="26"/>
                      </a:lnTo>
                      <a:lnTo>
                        <a:pt x="193" y="26"/>
                      </a:lnTo>
                      <a:lnTo>
                        <a:pt x="190" y="24"/>
                      </a:lnTo>
                      <a:lnTo>
                        <a:pt x="190" y="21"/>
                      </a:lnTo>
                      <a:lnTo>
                        <a:pt x="188" y="19"/>
                      </a:lnTo>
                      <a:lnTo>
                        <a:pt x="188" y="17"/>
                      </a:lnTo>
                      <a:lnTo>
                        <a:pt x="190" y="16"/>
                      </a:lnTo>
                      <a:lnTo>
                        <a:pt x="192" y="14"/>
                      </a:lnTo>
                      <a:lnTo>
                        <a:pt x="193" y="14"/>
                      </a:lnTo>
                      <a:lnTo>
                        <a:pt x="193" y="12"/>
                      </a:lnTo>
                      <a:lnTo>
                        <a:pt x="192" y="12"/>
                      </a:lnTo>
                      <a:lnTo>
                        <a:pt x="190" y="12"/>
                      </a:lnTo>
                      <a:lnTo>
                        <a:pt x="188" y="11"/>
                      </a:lnTo>
                      <a:lnTo>
                        <a:pt x="187" y="9"/>
                      </a:lnTo>
                      <a:lnTo>
                        <a:pt x="187" y="5"/>
                      </a:lnTo>
                      <a:lnTo>
                        <a:pt x="185" y="4"/>
                      </a:lnTo>
                      <a:lnTo>
                        <a:pt x="183" y="2"/>
                      </a:lnTo>
                      <a:lnTo>
                        <a:pt x="180" y="2"/>
                      </a:lnTo>
                      <a:lnTo>
                        <a:pt x="175" y="0"/>
                      </a:lnTo>
                      <a:lnTo>
                        <a:pt x="173" y="0"/>
                      </a:lnTo>
                      <a:lnTo>
                        <a:pt x="170" y="2"/>
                      </a:lnTo>
                      <a:lnTo>
                        <a:pt x="168" y="4"/>
                      </a:lnTo>
                      <a:lnTo>
                        <a:pt x="165" y="2"/>
                      </a:lnTo>
                      <a:lnTo>
                        <a:pt x="161" y="2"/>
                      </a:lnTo>
                      <a:lnTo>
                        <a:pt x="160" y="2"/>
                      </a:lnTo>
                      <a:lnTo>
                        <a:pt x="158" y="4"/>
                      </a:lnTo>
                      <a:lnTo>
                        <a:pt x="158" y="7"/>
                      </a:lnTo>
                      <a:lnTo>
                        <a:pt x="155" y="7"/>
                      </a:lnTo>
                      <a:lnTo>
                        <a:pt x="151" y="7"/>
                      </a:lnTo>
                      <a:lnTo>
                        <a:pt x="150" y="5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70" name="Group 1669">
                <a:extLst>
                  <a:ext uri="{FF2B5EF4-FFF2-40B4-BE49-F238E27FC236}">
                    <a16:creationId xmlns:a16="http://schemas.microsoft.com/office/drawing/2014/main" id="{EC26FE6F-9E24-5E47-A1F1-CA1DDF741B7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88" y="411"/>
                <a:ext cx="7" cy="8"/>
                <a:chOff x="88" y="411"/>
                <a:chExt cx="7" cy="8"/>
              </a:xfrm>
            </p:grpSpPr>
            <p:sp>
              <p:nvSpPr>
                <p:cNvPr id="1743" name="Freeform 117">
                  <a:extLst>
                    <a:ext uri="{FF2B5EF4-FFF2-40B4-BE49-F238E27FC236}">
                      <a16:creationId xmlns:a16="http://schemas.microsoft.com/office/drawing/2014/main" id="{068A3C80-D593-7343-9550-400245303D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" y="411"/>
                  <a:ext cx="7" cy="8"/>
                </a:xfrm>
                <a:custGeom>
                  <a:avLst/>
                  <a:gdLst>
                    <a:gd name="T0" fmla="*/ 7 w 7"/>
                    <a:gd name="T1" fmla="*/ 2 h 8"/>
                    <a:gd name="T2" fmla="*/ 7 w 7"/>
                    <a:gd name="T3" fmla="*/ 3 h 8"/>
                    <a:gd name="T4" fmla="*/ 5 w 7"/>
                    <a:gd name="T5" fmla="*/ 7 h 8"/>
                    <a:gd name="T6" fmla="*/ 1 w 7"/>
                    <a:gd name="T7" fmla="*/ 7 h 8"/>
                    <a:gd name="T8" fmla="*/ 0 w 7"/>
                    <a:gd name="T9" fmla="*/ 8 h 8"/>
                    <a:gd name="T10" fmla="*/ 1 w 7"/>
                    <a:gd name="T11" fmla="*/ 7 h 8"/>
                    <a:gd name="T12" fmla="*/ 3 w 7"/>
                    <a:gd name="T13" fmla="*/ 3 h 8"/>
                    <a:gd name="T14" fmla="*/ 5 w 7"/>
                    <a:gd name="T15" fmla="*/ 2 h 8"/>
                    <a:gd name="T16" fmla="*/ 5 w 7"/>
                    <a:gd name="T17" fmla="*/ 0 h 8"/>
                    <a:gd name="T18" fmla="*/ 7 w 7"/>
                    <a:gd name="T19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8">
                      <a:moveTo>
                        <a:pt x="7" y="2"/>
                      </a:moveTo>
                      <a:lnTo>
                        <a:pt x="7" y="3"/>
                      </a:lnTo>
                      <a:lnTo>
                        <a:pt x="5" y="7"/>
                      </a:lnTo>
                      <a:lnTo>
                        <a:pt x="1" y="7"/>
                      </a:lnTo>
                      <a:lnTo>
                        <a:pt x="0" y="8"/>
                      </a:lnTo>
                      <a:lnTo>
                        <a:pt x="1" y="7"/>
                      </a:lnTo>
                      <a:lnTo>
                        <a:pt x="3" y="3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4" name="Freeform 118">
                  <a:extLst>
                    <a:ext uri="{FF2B5EF4-FFF2-40B4-BE49-F238E27FC236}">
                      <a16:creationId xmlns:a16="http://schemas.microsoft.com/office/drawing/2014/main" id="{1D4E6EAB-3732-584E-9B99-7E502A5900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" y="411"/>
                  <a:ext cx="7" cy="8"/>
                </a:xfrm>
                <a:custGeom>
                  <a:avLst/>
                  <a:gdLst>
                    <a:gd name="T0" fmla="*/ 7 w 7"/>
                    <a:gd name="T1" fmla="*/ 2 h 8"/>
                    <a:gd name="T2" fmla="*/ 7 w 7"/>
                    <a:gd name="T3" fmla="*/ 3 h 8"/>
                    <a:gd name="T4" fmla="*/ 5 w 7"/>
                    <a:gd name="T5" fmla="*/ 7 h 8"/>
                    <a:gd name="T6" fmla="*/ 1 w 7"/>
                    <a:gd name="T7" fmla="*/ 7 h 8"/>
                    <a:gd name="T8" fmla="*/ 0 w 7"/>
                    <a:gd name="T9" fmla="*/ 8 h 8"/>
                    <a:gd name="T10" fmla="*/ 1 w 7"/>
                    <a:gd name="T11" fmla="*/ 7 h 8"/>
                    <a:gd name="T12" fmla="*/ 3 w 7"/>
                    <a:gd name="T13" fmla="*/ 3 h 8"/>
                    <a:gd name="T14" fmla="*/ 5 w 7"/>
                    <a:gd name="T15" fmla="*/ 2 h 8"/>
                    <a:gd name="T16" fmla="*/ 5 w 7"/>
                    <a:gd name="T17" fmla="*/ 0 h 8"/>
                    <a:gd name="T18" fmla="*/ 7 w 7"/>
                    <a:gd name="T19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8">
                      <a:moveTo>
                        <a:pt x="7" y="2"/>
                      </a:moveTo>
                      <a:lnTo>
                        <a:pt x="7" y="3"/>
                      </a:lnTo>
                      <a:lnTo>
                        <a:pt x="5" y="7"/>
                      </a:lnTo>
                      <a:lnTo>
                        <a:pt x="1" y="7"/>
                      </a:lnTo>
                      <a:lnTo>
                        <a:pt x="0" y="8"/>
                      </a:lnTo>
                      <a:lnTo>
                        <a:pt x="1" y="7"/>
                      </a:lnTo>
                      <a:lnTo>
                        <a:pt x="3" y="3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71" name="Group 1670">
                <a:extLst>
                  <a:ext uri="{FF2B5EF4-FFF2-40B4-BE49-F238E27FC236}">
                    <a16:creationId xmlns:a16="http://schemas.microsoft.com/office/drawing/2014/main" id="{86E7F6F3-243C-5F41-8886-CE74E5EB0A7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6" y="271"/>
                <a:ext cx="153" cy="233"/>
                <a:chOff x="36" y="271"/>
                <a:chExt cx="153" cy="233"/>
              </a:xfrm>
            </p:grpSpPr>
            <p:grpSp>
              <p:nvGrpSpPr>
                <p:cNvPr id="1701" name="Group 1700">
                  <a:extLst>
                    <a:ext uri="{FF2B5EF4-FFF2-40B4-BE49-F238E27FC236}">
                      <a16:creationId xmlns:a16="http://schemas.microsoft.com/office/drawing/2014/main" id="{F7693BBC-1E49-F048-AC65-BF1C3CF4BC1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37" y="271"/>
                  <a:ext cx="8" cy="17"/>
                  <a:chOff x="137" y="271"/>
                  <a:chExt cx="8" cy="17"/>
                </a:xfrm>
              </p:grpSpPr>
              <p:sp>
                <p:nvSpPr>
                  <p:cNvPr id="1741" name="Freeform 115">
                    <a:extLst>
                      <a:ext uri="{FF2B5EF4-FFF2-40B4-BE49-F238E27FC236}">
                        <a16:creationId xmlns:a16="http://schemas.microsoft.com/office/drawing/2014/main" id="{42D9B0C3-67B5-0A4E-927D-DC6A90B148E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7" y="271"/>
                    <a:ext cx="8" cy="17"/>
                  </a:xfrm>
                  <a:custGeom>
                    <a:avLst/>
                    <a:gdLst>
                      <a:gd name="T0" fmla="*/ 5 w 8"/>
                      <a:gd name="T1" fmla="*/ 0 h 17"/>
                      <a:gd name="T2" fmla="*/ 5 w 8"/>
                      <a:gd name="T3" fmla="*/ 2 h 17"/>
                      <a:gd name="T4" fmla="*/ 5 w 8"/>
                      <a:gd name="T5" fmla="*/ 3 h 17"/>
                      <a:gd name="T6" fmla="*/ 6 w 8"/>
                      <a:gd name="T7" fmla="*/ 3 h 17"/>
                      <a:gd name="T8" fmla="*/ 6 w 8"/>
                      <a:gd name="T9" fmla="*/ 5 h 17"/>
                      <a:gd name="T10" fmla="*/ 8 w 8"/>
                      <a:gd name="T11" fmla="*/ 5 h 17"/>
                      <a:gd name="T12" fmla="*/ 8 w 8"/>
                      <a:gd name="T13" fmla="*/ 7 h 17"/>
                      <a:gd name="T14" fmla="*/ 8 w 8"/>
                      <a:gd name="T15" fmla="*/ 8 h 17"/>
                      <a:gd name="T16" fmla="*/ 6 w 8"/>
                      <a:gd name="T17" fmla="*/ 8 h 17"/>
                      <a:gd name="T18" fmla="*/ 6 w 8"/>
                      <a:gd name="T19" fmla="*/ 10 h 17"/>
                      <a:gd name="T20" fmla="*/ 8 w 8"/>
                      <a:gd name="T21" fmla="*/ 10 h 17"/>
                      <a:gd name="T22" fmla="*/ 6 w 8"/>
                      <a:gd name="T23" fmla="*/ 12 h 17"/>
                      <a:gd name="T24" fmla="*/ 6 w 8"/>
                      <a:gd name="T25" fmla="*/ 14 h 17"/>
                      <a:gd name="T26" fmla="*/ 6 w 8"/>
                      <a:gd name="T27" fmla="*/ 15 h 17"/>
                      <a:gd name="T28" fmla="*/ 5 w 8"/>
                      <a:gd name="T29" fmla="*/ 17 h 17"/>
                      <a:gd name="T30" fmla="*/ 3 w 8"/>
                      <a:gd name="T31" fmla="*/ 17 h 17"/>
                      <a:gd name="T32" fmla="*/ 5 w 8"/>
                      <a:gd name="T33" fmla="*/ 15 h 17"/>
                      <a:gd name="T34" fmla="*/ 5 w 8"/>
                      <a:gd name="T35" fmla="*/ 12 h 17"/>
                      <a:gd name="T36" fmla="*/ 5 w 8"/>
                      <a:gd name="T37" fmla="*/ 10 h 17"/>
                      <a:gd name="T38" fmla="*/ 3 w 8"/>
                      <a:gd name="T39" fmla="*/ 10 h 17"/>
                      <a:gd name="T40" fmla="*/ 1 w 8"/>
                      <a:gd name="T41" fmla="*/ 10 h 17"/>
                      <a:gd name="T42" fmla="*/ 0 w 8"/>
                      <a:gd name="T43" fmla="*/ 10 h 17"/>
                      <a:gd name="T44" fmla="*/ 0 w 8"/>
                      <a:gd name="T45" fmla="*/ 8 h 17"/>
                      <a:gd name="T46" fmla="*/ 1 w 8"/>
                      <a:gd name="T47" fmla="*/ 7 h 17"/>
                      <a:gd name="T48" fmla="*/ 3 w 8"/>
                      <a:gd name="T49" fmla="*/ 7 h 17"/>
                      <a:gd name="T50" fmla="*/ 1 w 8"/>
                      <a:gd name="T51" fmla="*/ 5 h 17"/>
                      <a:gd name="T52" fmla="*/ 1 w 8"/>
                      <a:gd name="T53" fmla="*/ 3 h 17"/>
                      <a:gd name="T54" fmla="*/ 1 w 8"/>
                      <a:gd name="T55" fmla="*/ 2 h 17"/>
                      <a:gd name="T56" fmla="*/ 3 w 8"/>
                      <a:gd name="T57" fmla="*/ 0 h 17"/>
                      <a:gd name="T58" fmla="*/ 5 w 8"/>
                      <a:gd name="T59" fmla="*/ 0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</a:cxnLst>
                    <a:rect l="0" t="0" r="r" b="b"/>
                    <a:pathLst>
                      <a:path w="8" h="17">
                        <a:moveTo>
                          <a:pt x="5" y="0"/>
                        </a:moveTo>
                        <a:lnTo>
                          <a:pt x="5" y="2"/>
                        </a:lnTo>
                        <a:lnTo>
                          <a:pt x="5" y="3"/>
                        </a:lnTo>
                        <a:lnTo>
                          <a:pt x="6" y="3"/>
                        </a:lnTo>
                        <a:lnTo>
                          <a:pt x="6" y="5"/>
                        </a:lnTo>
                        <a:lnTo>
                          <a:pt x="8" y="5"/>
                        </a:lnTo>
                        <a:lnTo>
                          <a:pt x="8" y="7"/>
                        </a:lnTo>
                        <a:lnTo>
                          <a:pt x="8" y="8"/>
                        </a:lnTo>
                        <a:lnTo>
                          <a:pt x="6" y="8"/>
                        </a:lnTo>
                        <a:lnTo>
                          <a:pt x="6" y="10"/>
                        </a:lnTo>
                        <a:lnTo>
                          <a:pt x="8" y="10"/>
                        </a:lnTo>
                        <a:lnTo>
                          <a:pt x="6" y="12"/>
                        </a:lnTo>
                        <a:lnTo>
                          <a:pt x="6" y="14"/>
                        </a:lnTo>
                        <a:lnTo>
                          <a:pt x="6" y="15"/>
                        </a:lnTo>
                        <a:lnTo>
                          <a:pt x="5" y="17"/>
                        </a:lnTo>
                        <a:lnTo>
                          <a:pt x="3" y="17"/>
                        </a:lnTo>
                        <a:lnTo>
                          <a:pt x="5" y="15"/>
                        </a:lnTo>
                        <a:lnTo>
                          <a:pt x="5" y="12"/>
                        </a:lnTo>
                        <a:lnTo>
                          <a:pt x="5" y="10"/>
                        </a:lnTo>
                        <a:lnTo>
                          <a:pt x="3" y="10"/>
                        </a:lnTo>
                        <a:lnTo>
                          <a:pt x="1" y="10"/>
                        </a:lnTo>
                        <a:lnTo>
                          <a:pt x="0" y="10"/>
                        </a:lnTo>
                        <a:lnTo>
                          <a:pt x="0" y="8"/>
                        </a:lnTo>
                        <a:lnTo>
                          <a:pt x="1" y="7"/>
                        </a:lnTo>
                        <a:lnTo>
                          <a:pt x="3" y="7"/>
                        </a:ln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1" y="2"/>
                        </a:lnTo>
                        <a:lnTo>
                          <a:pt x="3" y="0"/>
                        </a:lnTo>
                        <a:lnTo>
                          <a:pt x="5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42" name="Freeform 116">
                    <a:extLst>
                      <a:ext uri="{FF2B5EF4-FFF2-40B4-BE49-F238E27FC236}">
                        <a16:creationId xmlns:a16="http://schemas.microsoft.com/office/drawing/2014/main" id="{639E7C37-1C31-5749-8707-48DF052EABC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7" y="271"/>
                    <a:ext cx="8" cy="17"/>
                  </a:xfrm>
                  <a:custGeom>
                    <a:avLst/>
                    <a:gdLst>
                      <a:gd name="T0" fmla="*/ 5 w 8"/>
                      <a:gd name="T1" fmla="*/ 0 h 17"/>
                      <a:gd name="T2" fmla="*/ 5 w 8"/>
                      <a:gd name="T3" fmla="*/ 2 h 17"/>
                      <a:gd name="T4" fmla="*/ 5 w 8"/>
                      <a:gd name="T5" fmla="*/ 3 h 17"/>
                      <a:gd name="T6" fmla="*/ 6 w 8"/>
                      <a:gd name="T7" fmla="*/ 3 h 17"/>
                      <a:gd name="T8" fmla="*/ 6 w 8"/>
                      <a:gd name="T9" fmla="*/ 5 h 17"/>
                      <a:gd name="T10" fmla="*/ 8 w 8"/>
                      <a:gd name="T11" fmla="*/ 5 h 17"/>
                      <a:gd name="T12" fmla="*/ 8 w 8"/>
                      <a:gd name="T13" fmla="*/ 7 h 17"/>
                      <a:gd name="T14" fmla="*/ 8 w 8"/>
                      <a:gd name="T15" fmla="*/ 8 h 17"/>
                      <a:gd name="T16" fmla="*/ 6 w 8"/>
                      <a:gd name="T17" fmla="*/ 8 h 17"/>
                      <a:gd name="T18" fmla="*/ 6 w 8"/>
                      <a:gd name="T19" fmla="*/ 10 h 17"/>
                      <a:gd name="T20" fmla="*/ 8 w 8"/>
                      <a:gd name="T21" fmla="*/ 10 h 17"/>
                      <a:gd name="T22" fmla="*/ 6 w 8"/>
                      <a:gd name="T23" fmla="*/ 12 h 17"/>
                      <a:gd name="T24" fmla="*/ 6 w 8"/>
                      <a:gd name="T25" fmla="*/ 14 h 17"/>
                      <a:gd name="T26" fmla="*/ 6 w 8"/>
                      <a:gd name="T27" fmla="*/ 15 h 17"/>
                      <a:gd name="T28" fmla="*/ 5 w 8"/>
                      <a:gd name="T29" fmla="*/ 17 h 17"/>
                      <a:gd name="T30" fmla="*/ 3 w 8"/>
                      <a:gd name="T31" fmla="*/ 17 h 17"/>
                      <a:gd name="T32" fmla="*/ 5 w 8"/>
                      <a:gd name="T33" fmla="*/ 15 h 17"/>
                      <a:gd name="T34" fmla="*/ 5 w 8"/>
                      <a:gd name="T35" fmla="*/ 12 h 17"/>
                      <a:gd name="T36" fmla="*/ 5 w 8"/>
                      <a:gd name="T37" fmla="*/ 10 h 17"/>
                      <a:gd name="T38" fmla="*/ 3 w 8"/>
                      <a:gd name="T39" fmla="*/ 10 h 17"/>
                      <a:gd name="T40" fmla="*/ 1 w 8"/>
                      <a:gd name="T41" fmla="*/ 10 h 17"/>
                      <a:gd name="T42" fmla="*/ 0 w 8"/>
                      <a:gd name="T43" fmla="*/ 10 h 17"/>
                      <a:gd name="T44" fmla="*/ 0 w 8"/>
                      <a:gd name="T45" fmla="*/ 8 h 17"/>
                      <a:gd name="T46" fmla="*/ 1 w 8"/>
                      <a:gd name="T47" fmla="*/ 7 h 17"/>
                      <a:gd name="T48" fmla="*/ 3 w 8"/>
                      <a:gd name="T49" fmla="*/ 7 h 17"/>
                      <a:gd name="T50" fmla="*/ 1 w 8"/>
                      <a:gd name="T51" fmla="*/ 5 h 17"/>
                      <a:gd name="T52" fmla="*/ 1 w 8"/>
                      <a:gd name="T53" fmla="*/ 3 h 17"/>
                      <a:gd name="T54" fmla="*/ 1 w 8"/>
                      <a:gd name="T55" fmla="*/ 2 h 17"/>
                      <a:gd name="T56" fmla="*/ 3 w 8"/>
                      <a:gd name="T57" fmla="*/ 0 h 17"/>
                      <a:gd name="T58" fmla="*/ 5 w 8"/>
                      <a:gd name="T59" fmla="*/ 0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</a:cxnLst>
                    <a:rect l="0" t="0" r="r" b="b"/>
                    <a:pathLst>
                      <a:path w="8" h="17">
                        <a:moveTo>
                          <a:pt x="5" y="0"/>
                        </a:moveTo>
                        <a:lnTo>
                          <a:pt x="5" y="2"/>
                        </a:lnTo>
                        <a:lnTo>
                          <a:pt x="5" y="3"/>
                        </a:lnTo>
                        <a:lnTo>
                          <a:pt x="6" y="3"/>
                        </a:lnTo>
                        <a:lnTo>
                          <a:pt x="6" y="5"/>
                        </a:lnTo>
                        <a:lnTo>
                          <a:pt x="8" y="5"/>
                        </a:lnTo>
                        <a:lnTo>
                          <a:pt x="8" y="7"/>
                        </a:lnTo>
                        <a:lnTo>
                          <a:pt x="8" y="8"/>
                        </a:lnTo>
                        <a:lnTo>
                          <a:pt x="6" y="8"/>
                        </a:lnTo>
                        <a:lnTo>
                          <a:pt x="6" y="10"/>
                        </a:lnTo>
                        <a:lnTo>
                          <a:pt x="8" y="10"/>
                        </a:lnTo>
                        <a:lnTo>
                          <a:pt x="6" y="12"/>
                        </a:lnTo>
                        <a:lnTo>
                          <a:pt x="6" y="14"/>
                        </a:lnTo>
                        <a:lnTo>
                          <a:pt x="6" y="15"/>
                        </a:lnTo>
                        <a:lnTo>
                          <a:pt x="5" y="17"/>
                        </a:lnTo>
                        <a:lnTo>
                          <a:pt x="3" y="17"/>
                        </a:lnTo>
                        <a:lnTo>
                          <a:pt x="5" y="15"/>
                        </a:lnTo>
                        <a:lnTo>
                          <a:pt x="5" y="12"/>
                        </a:lnTo>
                        <a:lnTo>
                          <a:pt x="5" y="10"/>
                        </a:lnTo>
                        <a:lnTo>
                          <a:pt x="3" y="10"/>
                        </a:lnTo>
                        <a:lnTo>
                          <a:pt x="1" y="10"/>
                        </a:lnTo>
                        <a:lnTo>
                          <a:pt x="0" y="10"/>
                        </a:lnTo>
                        <a:lnTo>
                          <a:pt x="0" y="8"/>
                        </a:lnTo>
                        <a:lnTo>
                          <a:pt x="1" y="7"/>
                        </a:lnTo>
                        <a:lnTo>
                          <a:pt x="3" y="7"/>
                        </a:ln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1" y="2"/>
                        </a:lnTo>
                        <a:lnTo>
                          <a:pt x="3" y="0"/>
                        </a:lnTo>
                        <a:lnTo>
                          <a:pt x="5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02" name="Group 1701">
                  <a:extLst>
                    <a:ext uri="{FF2B5EF4-FFF2-40B4-BE49-F238E27FC236}">
                      <a16:creationId xmlns:a16="http://schemas.microsoft.com/office/drawing/2014/main" id="{626CCC99-EF88-CF46-8BAF-FDE988EEA477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2" y="322"/>
                  <a:ext cx="14" cy="15"/>
                  <a:chOff x="52" y="322"/>
                  <a:chExt cx="14" cy="15"/>
                </a:xfrm>
              </p:grpSpPr>
              <p:sp>
                <p:nvSpPr>
                  <p:cNvPr id="1739" name="Freeform 113">
                    <a:extLst>
                      <a:ext uri="{FF2B5EF4-FFF2-40B4-BE49-F238E27FC236}">
                        <a16:creationId xmlns:a16="http://schemas.microsoft.com/office/drawing/2014/main" id="{BF42FF93-4530-1D4A-8455-C6BE71F7A35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" y="322"/>
                    <a:ext cx="14" cy="15"/>
                  </a:xfrm>
                  <a:custGeom>
                    <a:avLst/>
                    <a:gdLst>
                      <a:gd name="T0" fmla="*/ 12 w 14"/>
                      <a:gd name="T1" fmla="*/ 0 h 15"/>
                      <a:gd name="T2" fmla="*/ 12 w 14"/>
                      <a:gd name="T3" fmla="*/ 1 h 15"/>
                      <a:gd name="T4" fmla="*/ 12 w 14"/>
                      <a:gd name="T5" fmla="*/ 3 h 15"/>
                      <a:gd name="T6" fmla="*/ 12 w 14"/>
                      <a:gd name="T7" fmla="*/ 5 h 15"/>
                      <a:gd name="T8" fmla="*/ 14 w 14"/>
                      <a:gd name="T9" fmla="*/ 5 h 15"/>
                      <a:gd name="T10" fmla="*/ 12 w 14"/>
                      <a:gd name="T11" fmla="*/ 6 h 15"/>
                      <a:gd name="T12" fmla="*/ 11 w 14"/>
                      <a:gd name="T13" fmla="*/ 6 h 15"/>
                      <a:gd name="T14" fmla="*/ 9 w 14"/>
                      <a:gd name="T15" fmla="*/ 6 h 15"/>
                      <a:gd name="T16" fmla="*/ 9 w 14"/>
                      <a:gd name="T17" fmla="*/ 8 h 15"/>
                      <a:gd name="T18" fmla="*/ 11 w 14"/>
                      <a:gd name="T19" fmla="*/ 8 h 15"/>
                      <a:gd name="T20" fmla="*/ 11 w 14"/>
                      <a:gd name="T21" fmla="*/ 10 h 15"/>
                      <a:gd name="T22" fmla="*/ 9 w 14"/>
                      <a:gd name="T23" fmla="*/ 11 h 15"/>
                      <a:gd name="T24" fmla="*/ 5 w 14"/>
                      <a:gd name="T25" fmla="*/ 11 h 15"/>
                      <a:gd name="T26" fmla="*/ 5 w 14"/>
                      <a:gd name="T27" fmla="*/ 13 h 15"/>
                      <a:gd name="T28" fmla="*/ 4 w 14"/>
                      <a:gd name="T29" fmla="*/ 13 h 15"/>
                      <a:gd name="T30" fmla="*/ 4 w 14"/>
                      <a:gd name="T31" fmla="*/ 15 h 15"/>
                      <a:gd name="T32" fmla="*/ 2 w 14"/>
                      <a:gd name="T33" fmla="*/ 15 h 15"/>
                      <a:gd name="T34" fmla="*/ 0 w 14"/>
                      <a:gd name="T35" fmla="*/ 15 h 15"/>
                      <a:gd name="T36" fmla="*/ 0 w 14"/>
                      <a:gd name="T37" fmla="*/ 13 h 15"/>
                      <a:gd name="T38" fmla="*/ 2 w 14"/>
                      <a:gd name="T39" fmla="*/ 11 h 15"/>
                      <a:gd name="T40" fmla="*/ 0 w 14"/>
                      <a:gd name="T41" fmla="*/ 11 h 15"/>
                      <a:gd name="T42" fmla="*/ 0 w 14"/>
                      <a:gd name="T43" fmla="*/ 10 h 15"/>
                      <a:gd name="T44" fmla="*/ 0 w 14"/>
                      <a:gd name="T45" fmla="*/ 8 h 15"/>
                      <a:gd name="T46" fmla="*/ 0 w 14"/>
                      <a:gd name="T47" fmla="*/ 5 h 15"/>
                      <a:gd name="T48" fmla="*/ 2 w 14"/>
                      <a:gd name="T49" fmla="*/ 6 h 15"/>
                      <a:gd name="T50" fmla="*/ 5 w 14"/>
                      <a:gd name="T51" fmla="*/ 6 h 15"/>
                      <a:gd name="T52" fmla="*/ 4 w 14"/>
                      <a:gd name="T53" fmla="*/ 5 h 15"/>
                      <a:gd name="T54" fmla="*/ 4 w 14"/>
                      <a:gd name="T55" fmla="*/ 3 h 15"/>
                      <a:gd name="T56" fmla="*/ 5 w 14"/>
                      <a:gd name="T57" fmla="*/ 3 h 15"/>
                      <a:gd name="T58" fmla="*/ 9 w 14"/>
                      <a:gd name="T59" fmla="*/ 1 h 15"/>
                      <a:gd name="T60" fmla="*/ 11 w 14"/>
                      <a:gd name="T61" fmla="*/ 0 h 15"/>
                      <a:gd name="T62" fmla="*/ 12 w 14"/>
                      <a:gd name="T6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14" h="15">
                        <a:moveTo>
                          <a:pt x="12" y="0"/>
                        </a:moveTo>
                        <a:lnTo>
                          <a:pt x="12" y="1"/>
                        </a:lnTo>
                        <a:lnTo>
                          <a:pt x="12" y="3"/>
                        </a:lnTo>
                        <a:lnTo>
                          <a:pt x="12" y="5"/>
                        </a:lnTo>
                        <a:lnTo>
                          <a:pt x="14" y="5"/>
                        </a:lnTo>
                        <a:lnTo>
                          <a:pt x="12" y="6"/>
                        </a:lnTo>
                        <a:lnTo>
                          <a:pt x="11" y="6"/>
                        </a:lnTo>
                        <a:lnTo>
                          <a:pt x="9" y="6"/>
                        </a:lnTo>
                        <a:lnTo>
                          <a:pt x="9" y="8"/>
                        </a:lnTo>
                        <a:lnTo>
                          <a:pt x="11" y="8"/>
                        </a:lnTo>
                        <a:lnTo>
                          <a:pt x="11" y="10"/>
                        </a:lnTo>
                        <a:lnTo>
                          <a:pt x="9" y="11"/>
                        </a:lnTo>
                        <a:lnTo>
                          <a:pt x="5" y="11"/>
                        </a:lnTo>
                        <a:lnTo>
                          <a:pt x="5" y="13"/>
                        </a:lnTo>
                        <a:lnTo>
                          <a:pt x="4" y="13"/>
                        </a:lnTo>
                        <a:lnTo>
                          <a:pt x="4" y="15"/>
                        </a:lnTo>
                        <a:lnTo>
                          <a:pt x="2" y="15"/>
                        </a:lnTo>
                        <a:lnTo>
                          <a:pt x="0" y="15"/>
                        </a:lnTo>
                        <a:lnTo>
                          <a:pt x="0" y="13"/>
                        </a:lnTo>
                        <a:lnTo>
                          <a:pt x="2" y="11"/>
                        </a:lnTo>
                        <a:lnTo>
                          <a:pt x="0" y="11"/>
                        </a:lnTo>
                        <a:lnTo>
                          <a:pt x="0" y="10"/>
                        </a:lnTo>
                        <a:lnTo>
                          <a:pt x="0" y="8"/>
                        </a:lnTo>
                        <a:lnTo>
                          <a:pt x="0" y="5"/>
                        </a:lnTo>
                        <a:lnTo>
                          <a:pt x="2" y="6"/>
                        </a:lnTo>
                        <a:lnTo>
                          <a:pt x="5" y="6"/>
                        </a:lnTo>
                        <a:lnTo>
                          <a:pt x="4" y="5"/>
                        </a:lnTo>
                        <a:lnTo>
                          <a:pt x="4" y="3"/>
                        </a:lnTo>
                        <a:lnTo>
                          <a:pt x="5" y="3"/>
                        </a:lnTo>
                        <a:lnTo>
                          <a:pt x="9" y="1"/>
                        </a:lnTo>
                        <a:lnTo>
                          <a:pt x="11" y="0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40" name="Freeform 114">
                    <a:extLst>
                      <a:ext uri="{FF2B5EF4-FFF2-40B4-BE49-F238E27FC236}">
                        <a16:creationId xmlns:a16="http://schemas.microsoft.com/office/drawing/2014/main" id="{80B495D8-478D-5849-8078-D456AA7D193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" y="322"/>
                    <a:ext cx="14" cy="15"/>
                  </a:xfrm>
                  <a:custGeom>
                    <a:avLst/>
                    <a:gdLst>
                      <a:gd name="T0" fmla="*/ 12 w 14"/>
                      <a:gd name="T1" fmla="*/ 0 h 15"/>
                      <a:gd name="T2" fmla="*/ 12 w 14"/>
                      <a:gd name="T3" fmla="*/ 1 h 15"/>
                      <a:gd name="T4" fmla="*/ 12 w 14"/>
                      <a:gd name="T5" fmla="*/ 3 h 15"/>
                      <a:gd name="T6" fmla="*/ 12 w 14"/>
                      <a:gd name="T7" fmla="*/ 5 h 15"/>
                      <a:gd name="T8" fmla="*/ 14 w 14"/>
                      <a:gd name="T9" fmla="*/ 5 h 15"/>
                      <a:gd name="T10" fmla="*/ 12 w 14"/>
                      <a:gd name="T11" fmla="*/ 6 h 15"/>
                      <a:gd name="T12" fmla="*/ 11 w 14"/>
                      <a:gd name="T13" fmla="*/ 6 h 15"/>
                      <a:gd name="T14" fmla="*/ 9 w 14"/>
                      <a:gd name="T15" fmla="*/ 6 h 15"/>
                      <a:gd name="T16" fmla="*/ 9 w 14"/>
                      <a:gd name="T17" fmla="*/ 8 h 15"/>
                      <a:gd name="T18" fmla="*/ 11 w 14"/>
                      <a:gd name="T19" fmla="*/ 8 h 15"/>
                      <a:gd name="T20" fmla="*/ 11 w 14"/>
                      <a:gd name="T21" fmla="*/ 10 h 15"/>
                      <a:gd name="T22" fmla="*/ 9 w 14"/>
                      <a:gd name="T23" fmla="*/ 11 h 15"/>
                      <a:gd name="T24" fmla="*/ 5 w 14"/>
                      <a:gd name="T25" fmla="*/ 11 h 15"/>
                      <a:gd name="T26" fmla="*/ 5 w 14"/>
                      <a:gd name="T27" fmla="*/ 13 h 15"/>
                      <a:gd name="T28" fmla="*/ 4 w 14"/>
                      <a:gd name="T29" fmla="*/ 13 h 15"/>
                      <a:gd name="T30" fmla="*/ 4 w 14"/>
                      <a:gd name="T31" fmla="*/ 15 h 15"/>
                      <a:gd name="T32" fmla="*/ 2 w 14"/>
                      <a:gd name="T33" fmla="*/ 15 h 15"/>
                      <a:gd name="T34" fmla="*/ 0 w 14"/>
                      <a:gd name="T35" fmla="*/ 15 h 15"/>
                      <a:gd name="T36" fmla="*/ 0 w 14"/>
                      <a:gd name="T37" fmla="*/ 13 h 15"/>
                      <a:gd name="T38" fmla="*/ 2 w 14"/>
                      <a:gd name="T39" fmla="*/ 11 h 15"/>
                      <a:gd name="T40" fmla="*/ 0 w 14"/>
                      <a:gd name="T41" fmla="*/ 11 h 15"/>
                      <a:gd name="T42" fmla="*/ 0 w 14"/>
                      <a:gd name="T43" fmla="*/ 10 h 15"/>
                      <a:gd name="T44" fmla="*/ 0 w 14"/>
                      <a:gd name="T45" fmla="*/ 8 h 15"/>
                      <a:gd name="T46" fmla="*/ 0 w 14"/>
                      <a:gd name="T47" fmla="*/ 5 h 15"/>
                      <a:gd name="T48" fmla="*/ 2 w 14"/>
                      <a:gd name="T49" fmla="*/ 6 h 15"/>
                      <a:gd name="T50" fmla="*/ 5 w 14"/>
                      <a:gd name="T51" fmla="*/ 6 h 15"/>
                      <a:gd name="T52" fmla="*/ 4 w 14"/>
                      <a:gd name="T53" fmla="*/ 5 h 15"/>
                      <a:gd name="T54" fmla="*/ 4 w 14"/>
                      <a:gd name="T55" fmla="*/ 3 h 15"/>
                      <a:gd name="T56" fmla="*/ 5 w 14"/>
                      <a:gd name="T57" fmla="*/ 3 h 15"/>
                      <a:gd name="T58" fmla="*/ 9 w 14"/>
                      <a:gd name="T59" fmla="*/ 1 h 15"/>
                      <a:gd name="T60" fmla="*/ 11 w 14"/>
                      <a:gd name="T61" fmla="*/ 0 h 15"/>
                      <a:gd name="T62" fmla="*/ 12 w 14"/>
                      <a:gd name="T6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14" h="15">
                        <a:moveTo>
                          <a:pt x="12" y="0"/>
                        </a:moveTo>
                        <a:lnTo>
                          <a:pt x="12" y="1"/>
                        </a:lnTo>
                        <a:lnTo>
                          <a:pt x="12" y="3"/>
                        </a:lnTo>
                        <a:lnTo>
                          <a:pt x="12" y="5"/>
                        </a:lnTo>
                        <a:lnTo>
                          <a:pt x="14" y="5"/>
                        </a:lnTo>
                        <a:lnTo>
                          <a:pt x="12" y="6"/>
                        </a:lnTo>
                        <a:lnTo>
                          <a:pt x="11" y="6"/>
                        </a:lnTo>
                        <a:lnTo>
                          <a:pt x="9" y="6"/>
                        </a:lnTo>
                        <a:lnTo>
                          <a:pt x="9" y="8"/>
                        </a:lnTo>
                        <a:lnTo>
                          <a:pt x="11" y="8"/>
                        </a:lnTo>
                        <a:lnTo>
                          <a:pt x="11" y="10"/>
                        </a:lnTo>
                        <a:lnTo>
                          <a:pt x="9" y="11"/>
                        </a:lnTo>
                        <a:lnTo>
                          <a:pt x="5" y="11"/>
                        </a:lnTo>
                        <a:lnTo>
                          <a:pt x="5" y="13"/>
                        </a:lnTo>
                        <a:lnTo>
                          <a:pt x="4" y="13"/>
                        </a:lnTo>
                        <a:lnTo>
                          <a:pt x="4" y="15"/>
                        </a:lnTo>
                        <a:lnTo>
                          <a:pt x="2" y="15"/>
                        </a:lnTo>
                        <a:lnTo>
                          <a:pt x="0" y="15"/>
                        </a:lnTo>
                        <a:lnTo>
                          <a:pt x="0" y="13"/>
                        </a:lnTo>
                        <a:lnTo>
                          <a:pt x="2" y="11"/>
                        </a:lnTo>
                        <a:lnTo>
                          <a:pt x="0" y="11"/>
                        </a:lnTo>
                        <a:lnTo>
                          <a:pt x="0" y="10"/>
                        </a:lnTo>
                        <a:lnTo>
                          <a:pt x="0" y="8"/>
                        </a:lnTo>
                        <a:lnTo>
                          <a:pt x="0" y="5"/>
                        </a:lnTo>
                        <a:lnTo>
                          <a:pt x="2" y="6"/>
                        </a:lnTo>
                        <a:lnTo>
                          <a:pt x="5" y="6"/>
                        </a:lnTo>
                        <a:lnTo>
                          <a:pt x="4" y="5"/>
                        </a:lnTo>
                        <a:lnTo>
                          <a:pt x="4" y="3"/>
                        </a:lnTo>
                        <a:lnTo>
                          <a:pt x="5" y="3"/>
                        </a:lnTo>
                        <a:lnTo>
                          <a:pt x="9" y="1"/>
                        </a:lnTo>
                        <a:lnTo>
                          <a:pt x="11" y="0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03" name="Group 1702">
                  <a:extLst>
                    <a:ext uri="{FF2B5EF4-FFF2-40B4-BE49-F238E27FC236}">
                      <a16:creationId xmlns:a16="http://schemas.microsoft.com/office/drawing/2014/main" id="{A4CAF981-59AE-224A-BC09-9F4757A46821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6" y="340"/>
                  <a:ext cx="6" cy="2"/>
                  <a:chOff x="46" y="340"/>
                  <a:chExt cx="6" cy="2"/>
                </a:xfrm>
              </p:grpSpPr>
              <p:sp>
                <p:nvSpPr>
                  <p:cNvPr id="1737" name="Freeform 111">
                    <a:extLst>
                      <a:ext uri="{FF2B5EF4-FFF2-40B4-BE49-F238E27FC236}">
                        <a16:creationId xmlns:a16="http://schemas.microsoft.com/office/drawing/2014/main" id="{4D104CAB-2963-9943-87A7-D6E2CC8BB1F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" y="340"/>
                    <a:ext cx="6" cy="2"/>
                  </a:xfrm>
                  <a:custGeom>
                    <a:avLst/>
                    <a:gdLst>
                      <a:gd name="T0" fmla="*/ 5 w 6"/>
                      <a:gd name="T1" fmla="*/ 2 h 2"/>
                      <a:gd name="T2" fmla="*/ 3 w 6"/>
                      <a:gd name="T3" fmla="*/ 2 h 2"/>
                      <a:gd name="T4" fmla="*/ 1 w 6"/>
                      <a:gd name="T5" fmla="*/ 2 h 2"/>
                      <a:gd name="T6" fmla="*/ 0 w 6"/>
                      <a:gd name="T7" fmla="*/ 2 h 2"/>
                      <a:gd name="T8" fmla="*/ 0 w 6"/>
                      <a:gd name="T9" fmla="*/ 0 h 2"/>
                      <a:gd name="T10" fmla="*/ 1 w 6"/>
                      <a:gd name="T11" fmla="*/ 0 h 2"/>
                      <a:gd name="T12" fmla="*/ 5 w 6"/>
                      <a:gd name="T13" fmla="*/ 0 h 2"/>
                      <a:gd name="T14" fmla="*/ 6 w 6"/>
                      <a:gd name="T15" fmla="*/ 0 h 2"/>
                      <a:gd name="T16" fmla="*/ 5 w 6"/>
                      <a:gd name="T17" fmla="*/ 0 h 2"/>
                      <a:gd name="T18" fmla="*/ 5 w 6"/>
                      <a:gd name="T19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6" h="2">
                        <a:moveTo>
                          <a:pt x="5" y="2"/>
                        </a:moveTo>
                        <a:lnTo>
                          <a:pt x="3" y="2"/>
                        </a:lnTo>
                        <a:lnTo>
                          <a:pt x="1" y="2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5" y="0"/>
                        </a:lnTo>
                        <a:lnTo>
                          <a:pt x="6" y="0"/>
                        </a:lnTo>
                        <a:lnTo>
                          <a:pt x="5" y="0"/>
                        </a:lnTo>
                        <a:lnTo>
                          <a:pt x="5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38" name="Freeform 112">
                    <a:extLst>
                      <a:ext uri="{FF2B5EF4-FFF2-40B4-BE49-F238E27FC236}">
                        <a16:creationId xmlns:a16="http://schemas.microsoft.com/office/drawing/2014/main" id="{B56AF683-33B4-0445-A1C2-9E682E173FD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" y="340"/>
                    <a:ext cx="6" cy="2"/>
                  </a:xfrm>
                  <a:custGeom>
                    <a:avLst/>
                    <a:gdLst>
                      <a:gd name="T0" fmla="*/ 5 w 6"/>
                      <a:gd name="T1" fmla="*/ 2 h 2"/>
                      <a:gd name="T2" fmla="*/ 3 w 6"/>
                      <a:gd name="T3" fmla="*/ 2 h 2"/>
                      <a:gd name="T4" fmla="*/ 1 w 6"/>
                      <a:gd name="T5" fmla="*/ 2 h 2"/>
                      <a:gd name="T6" fmla="*/ 0 w 6"/>
                      <a:gd name="T7" fmla="*/ 2 h 2"/>
                      <a:gd name="T8" fmla="*/ 0 w 6"/>
                      <a:gd name="T9" fmla="*/ 0 h 2"/>
                      <a:gd name="T10" fmla="*/ 1 w 6"/>
                      <a:gd name="T11" fmla="*/ 0 h 2"/>
                      <a:gd name="T12" fmla="*/ 5 w 6"/>
                      <a:gd name="T13" fmla="*/ 0 h 2"/>
                      <a:gd name="T14" fmla="*/ 6 w 6"/>
                      <a:gd name="T15" fmla="*/ 0 h 2"/>
                      <a:gd name="T16" fmla="*/ 5 w 6"/>
                      <a:gd name="T17" fmla="*/ 0 h 2"/>
                      <a:gd name="T18" fmla="*/ 5 w 6"/>
                      <a:gd name="T19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6" h="2">
                        <a:moveTo>
                          <a:pt x="5" y="2"/>
                        </a:moveTo>
                        <a:lnTo>
                          <a:pt x="3" y="2"/>
                        </a:lnTo>
                        <a:lnTo>
                          <a:pt x="1" y="2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5" y="0"/>
                        </a:lnTo>
                        <a:lnTo>
                          <a:pt x="6" y="0"/>
                        </a:lnTo>
                        <a:lnTo>
                          <a:pt x="5" y="0"/>
                        </a:lnTo>
                        <a:lnTo>
                          <a:pt x="5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04" name="Group 1703">
                  <a:extLst>
                    <a:ext uri="{FF2B5EF4-FFF2-40B4-BE49-F238E27FC236}">
                      <a16:creationId xmlns:a16="http://schemas.microsoft.com/office/drawing/2014/main" id="{A26CBA0B-74F2-BA46-8963-93897E7618AC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10" y="305"/>
                  <a:ext cx="10" cy="5"/>
                  <a:chOff x="110" y="305"/>
                  <a:chExt cx="10" cy="5"/>
                </a:xfrm>
              </p:grpSpPr>
              <p:sp>
                <p:nvSpPr>
                  <p:cNvPr id="1735" name="Freeform 109">
                    <a:extLst>
                      <a:ext uri="{FF2B5EF4-FFF2-40B4-BE49-F238E27FC236}">
                        <a16:creationId xmlns:a16="http://schemas.microsoft.com/office/drawing/2014/main" id="{D52A5F34-D9A6-3F43-93C1-DF8AD8EC3B4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0" y="305"/>
                    <a:ext cx="10" cy="5"/>
                  </a:xfrm>
                  <a:custGeom>
                    <a:avLst/>
                    <a:gdLst>
                      <a:gd name="T0" fmla="*/ 8 w 10"/>
                      <a:gd name="T1" fmla="*/ 5 h 5"/>
                      <a:gd name="T2" fmla="*/ 6 w 10"/>
                      <a:gd name="T3" fmla="*/ 5 h 5"/>
                      <a:gd name="T4" fmla="*/ 5 w 10"/>
                      <a:gd name="T5" fmla="*/ 5 h 5"/>
                      <a:gd name="T6" fmla="*/ 1 w 10"/>
                      <a:gd name="T7" fmla="*/ 5 h 5"/>
                      <a:gd name="T8" fmla="*/ 0 w 10"/>
                      <a:gd name="T9" fmla="*/ 5 h 5"/>
                      <a:gd name="T10" fmla="*/ 0 w 10"/>
                      <a:gd name="T11" fmla="*/ 3 h 5"/>
                      <a:gd name="T12" fmla="*/ 1 w 10"/>
                      <a:gd name="T13" fmla="*/ 0 h 5"/>
                      <a:gd name="T14" fmla="*/ 3 w 10"/>
                      <a:gd name="T15" fmla="*/ 1 h 5"/>
                      <a:gd name="T16" fmla="*/ 5 w 10"/>
                      <a:gd name="T17" fmla="*/ 3 h 5"/>
                      <a:gd name="T18" fmla="*/ 6 w 10"/>
                      <a:gd name="T19" fmla="*/ 3 h 5"/>
                      <a:gd name="T20" fmla="*/ 8 w 10"/>
                      <a:gd name="T21" fmla="*/ 5 h 5"/>
                      <a:gd name="T22" fmla="*/ 10 w 10"/>
                      <a:gd name="T23" fmla="*/ 5 h 5"/>
                      <a:gd name="T24" fmla="*/ 8 w 10"/>
                      <a:gd name="T25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0" h="5">
                        <a:moveTo>
                          <a:pt x="8" y="5"/>
                        </a:moveTo>
                        <a:lnTo>
                          <a:pt x="6" y="5"/>
                        </a:lnTo>
                        <a:lnTo>
                          <a:pt x="5" y="5"/>
                        </a:lnTo>
                        <a:lnTo>
                          <a:pt x="1" y="5"/>
                        </a:ln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1" y="0"/>
                        </a:lnTo>
                        <a:lnTo>
                          <a:pt x="3" y="1"/>
                        </a:lnTo>
                        <a:lnTo>
                          <a:pt x="5" y="3"/>
                        </a:lnTo>
                        <a:lnTo>
                          <a:pt x="6" y="3"/>
                        </a:lnTo>
                        <a:lnTo>
                          <a:pt x="8" y="5"/>
                        </a:lnTo>
                        <a:lnTo>
                          <a:pt x="10" y="5"/>
                        </a:lnTo>
                        <a:lnTo>
                          <a:pt x="8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36" name="Freeform 110">
                    <a:extLst>
                      <a:ext uri="{FF2B5EF4-FFF2-40B4-BE49-F238E27FC236}">
                        <a16:creationId xmlns:a16="http://schemas.microsoft.com/office/drawing/2014/main" id="{13847469-BFEF-1343-8C12-99F258E10B3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0" y="305"/>
                    <a:ext cx="10" cy="5"/>
                  </a:xfrm>
                  <a:custGeom>
                    <a:avLst/>
                    <a:gdLst>
                      <a:gd name="T0" fmla="*/ 8 w 10"/>
                      <a:gd name="T1" fmla="*/ 5 h 5"/>
                      <a:gd name="T2" fmla="*/ 6 w 10"/>
                      <a:gd name="T3" fmla="*/ 5 h 5"/>
                      <a:gd name="T4" fmla="*/ 5 w 10"/>
                      <a:gd name="T5" fmla="*/ 5 h 5"/>
                      <a:gd name="T6" fmla="*/ 1 w 10"/>
                      <a:gd name="T7" fmla="*/ 5 h 5"/>
                      <a:gd name="T8" fmla="*/ 0 w 10"/>
                      <a:gd name="T9" fmla="*/ 5 h 5"/>
                      <a:gd name="T10" fmla="*/ 0 w 10"/>
                      <a:gd name="T11" fmla="*/ 3 h 5"/>
                      <a:gd name="T12" fmla="*/ 1 w 10"/>
                      <a:gd name="T13" fmla="*/ 0 h 5"/>
                      <a:gd name="T14" fmla="*/ 3 w 10"/>
                      <a:gd name="T15" fmla="*/ 1 h 5"/>
                      <a:gd name="T16" fmla="*/ 5 w 10"/>
                      <a:gd name="T17" fmla="*/ 3 h 5"/>
                      <a:gd name="T18" fmla="*/ 6 w 10"/>
                      <a:gd name="T19" fmla="*/ 3 h 5"/>
                      <a:gd name="T20" fmla="*/ 8 w 10"/>
                      <a:gd name="T21" fmla="*/ 5 h 5"/>
                      <a:gd name="T22" fmla="*/ 10 w 10"/>
                      <a:gd name="T23" fmla="*/ 5 h 5"/>
                      <a:gd name="T24" fmla="*/ 8 w 10"/>
                      <a:gd name="T25" fmla="*/ 5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0" h="5">
                        <a:moveTo>
                          <a:pt x="8" y="5"/>
                        </a:moveTo>
                        <a:lnTo>
                          <a:pt x="6" y="5"/>
                        </a:lnTo>
                        <a:lnTo>
                          <a:pt x="5" y="5"/>
                        </a:lnTo>
                        <a:lnTo>
                          <a:pt x="1" y="5"/>
                        </a:ln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1" y="0"/>
                        </a:lnTo>
                        <a:lnTo>
                          <a:pt x="3" y="1"/>
                        </a:lnTo>
                        <a:lnTo>
                          <a:pt x="5" y="3"/>
                        </a:lnTo>
                        <a:lnTo>
                          <a:pt x="6" y="3"/>
                        </a:lnTo>
                        <a:lnTo>
                          <a:pt x="8" y="5"/>
                        </a:lnTo>
                        <a:lnTo>
                          <a:pt x="10" y="5"/>
                        </a:lnTo>
                        <a:lnTo>
                          <a:pt x="8" y="5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05" name="Group 1704">
                  <a:extLst>
                    <a:ext uri="{FF2B5EF4-FFF2-40B4-BE49-F238E27FC236}">
                      <a16:creationId xmlns:a16="http://schemas.microsoft.com/office/drawing/2014/main" id="{C4B9B56E-6934-6B44-9973-603E06403B24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10" y="311"/>
                  <a:ext cx="3" cy="2"/>
                  <a:chOff x="110" y="311"/>
                  <a:chExt cx="3" cy="2"/>
                </a:xfrm>
              </p:grpSpPr>
              <p:sp>
                <p:nvSpPr>
                  <p:cNvPr id="1733" name="Freeform 107">
                    <a:extLst>
                      <a:ext uri="{FF2B5EF4-FFF2-40B4-BE49-F238E27FC236}">
                        <a16:creationId xmlns:a16="http://schemas.microsoft.com/office/drawing/2014/main" id="{4DDE2AF3-8C3E-C640-8CDB-15003B64A6D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0" y="311"/>
                    <a:ext cx="3" cy="2"/>
                  </a:xfrm>
                  <a:custGeom>
                    <a:avLst/>
                    <a:gdLst>
                      <a:gd name="T0" fmla="*/ 1 w 3"/>
                      <a:gd name="T1" fmla="*/ 2 h 2"/>
                      <a:gd name="T2" fmla="*/ 0 w 3"/>
                      <a:gd name="T3" fmla="*/ 2 h 2"/>
                      <a:gd name="T4" fmla="*/ 0 w 3"/>
                      <a:gd name="T5" fmla="*/ 0 h 2"/>
                      <a:gd name="T6" fmla="*/ 1 w 3"/>
                      <a:gd name="T7" fmla="*/ 0 h 2"/>
                      <a:gd name="T8" fmla="*/ 3 w 3"/>
                      <a:gd name="T9" fmla="*/ 0 h 2"/>
                      <a:gd name="T10" fmla="*/ 3 w 3"/>
                      <a:gd name="T11" fmla="*/ 2 h 2"/>
                      <a:gd name="T12" fmla="*/ 1 w 3"/>
                      <a:gd name="T13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" h="2">
                        <a:moveTo>
                          <a:pt x="1" y="2"/>
                        </a:move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2"/>
                        </a:lnTo>
                        <a:lnTo>
                          <a:pt x="1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34" name="Freeform 108">
                    <a:extLst>
                      <a:ext uri="{FF2B5EF4-FFF2-40B4-BE49-F238E27FC236}">
                        <a16:creationId xmlns:a16="http://schemas.microsoft.com/office/drawing/2014/main" id="{5BB4A919-9D36-6647-B852-129D597074B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0" y="311"/>
                    <a:ext cx="3" cy="2"/>
                  </a:xfrm>
                  <a:custGeom>
                    <a:avLst/>
                    <a:gdLst>
                      <a:gd name="T0" fmla="*/ 1 w 3"/>
                      <a:gd name="T1" fmla="*/ 2 h 2"/>
                      <a:gd name="T2" fmla="*/ 0 w 3"/>
                      <a:gd name="T3" fmla="*/ 2 h 2"/>
                      <a:gd name="T4" fmla="*/ 0 w 3"/>
                      <a:gd name="T5" fmla="*/ 0 h 2"/>
                      <a:gd name="T6" fmla="*/ 1 w 3"/>
                      <a:gd name="T7" fmla="*/ 0 h 2"/>
                      <a:gd name="T8" fmla="*/ 3 w 3"/>
                      <a:gd name="T9" fmla="*/ 0 h 2"/>
                      <a:gd name="T10" fmla="*/ 3 w 3"/>
                      <a:gd name="T11" fmla="*/ 2 h 2"/>
                      <a:gd name="T12" fmla="*/ 1 w 3"/>
                      <a:gd name="T13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" h="2">
                        <a:moveTo>
                          <a:pt x="1" y="2"/>
                        </a:move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3" y="2"/>
                        </a:lnTo>
                        <a:lnTo>
                          <a:pt x="1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06" name="Group 1705">
                  <a:extLst>
                    <a:ext uri="{FF2B5EF4-FFF2-40B4-BE49-F238E27FC236}">
                      <a16:creationId xmlns:a16="http://schemas.microsoft.com/office/drawing/2014/main" id="{DBD21EE2-7C3C-C848-ADDE-464F4251765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68" y="318"/>
                  <a:ext cx="121" cy="186"/>
                  <a:chOff x="68" y="318"/>
                  <a:chExt cx="121" cy="186"/>
                </a:xfrm>
              </p:grpSpPr>
              <p:sp>
                <p:nvSpPr>
                  <p:cNvPr id="1731" name="Freeform 105">
                    <a:extLst>
                      <a:ext uri="{FF2B5EF4-FFF2-40B4-BE49-F238E27FC236}">
                        <a16:creationId xmlns:a16="http://schemas.microsoft.com/office/drawing/2014/main" id="{FA034239-28B2-0B48-B315-15FAB450292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8" y="318"/>
                    <a:ext cx="121" cy="186"/>
                  </a:xfrm>
                  <a:custGeom>
                    <a:avLst/>
                    <a:gdLst>
                      <a:gd name="T0" fmla="*/ 16 w 121"/>
                      <a:gd name="T1" fmla="*/ 2 h 186"/>
                      <a:gd name="T2" fmla="*/ 32 w 121"/>
                      <a:gd name="T3" fmla="*/ 2 h 186"/>
                      <a:gd name="T4" fmla="*/ 45 w 121"/>
                      <a:gd name="T5" fmla="*/ 5 h 186"/>
                      <a:gd name="T6" fmla="*/ 33 w 121"/>
                      <a:gd name="T7" fmla="*/ 19 h 186"/>
                      <a:gd name="T8" fmla="*/ 32 w 121"/>
                      <a:gd name="T9" fmla="*/ 24 h 186"/>
                      <a:gd name="T10" fmla="*/ 55 w 121"/>
                      <a:gd name="T11" fmla="*/ 22 h 186"/>
                      <a:gd name="T12" fmla="*/ 64 w 121"/>
                      <a:gd name="T13" fmla="*/ 29 h 186"/>
                      <a:gd name="T14" fmla="*/ 59 w 121"/>
                      <a:gd name="T15" fmla="*/ 41 h 186"/>
                      <a:gd name="T16" fmla="*/ 48 w 121"/>
                      <a:gd name="T17" fmla="*/ 49 h 186"/>
                      <a:gd name="T18" fmla="*/ 43 w 121"/>
                      <a:gd name="T19" fmla="*/ 56 h 186"/>
                      <a:gd name="T20" fmla="*/ 54 w 121"/>
                      <a:gd name="T21" fmla="*/ 58 h 186"/>
                      <a:gd name="T22" fmla="*/ 70 w 121"/>
                      <a:gd name="T23" fmla="*/ 71 h 186"/>
                      <a:gd name="T24" fmla="*/ 77 w 121"/>
                      <a:gd name="T25" fmla="*/ 88 h 186"/>
                      <a:gd name="T26" fmla="*/ 92 w 121"/>
                      <a:gd name="T27" fmla="*/ 103 h 186"/>
                      <a:gd name="T28" fmla="*/ 91 w 121"/>
                      <a:gd name="T29" fmla="*/ 108 h 186"/>
                      <a:gd name="T30" fmla="*/ 99 w 121"/>
                      <a:gd name="T31" fmla="*/ 117 h 186"/>
                      <a:gd name="T32" fmla="*/ 96 w 121"/>
                      <a:gd name="T33" fmla="*/ 127 h 186"/>
                      <a:gd name="T34" fmla="*/ 109 w 121"/>
                      <a:gd name="T35" fmla="*/ 123 h 186"/>
                      <a:gd name="T36" fmla="*/ 119 w 121"/>
                      <a:gd name="T37" fmla="*/ 142 h 186"/>
                      <a:gd name="T38" fmla="*/ 107 w 121"/>
                      <a:gd name="T39" fmla="*/ 149 h 186"/>
                      <a:gd name="T40" fmla="*/ 106 w 121"/>
                      <a:gd name="T41" fmla="*/ 155 h 186"/>
                      <a:gd name="T42" fmla="*/ 109 w 121"/>
                      <a:gd name="T43" fmla="*/ 165 h 186"/>
                      <a:gd name="T44" fmla="*/ 84 w 121"/>
                      <a:gd name="T45" fmla="*/ 171 h 186"/>
                      <a:gd name="T46" fmla="*/ 74 w 121"/>
                      <a:gd name="T47" fmla="*/ 169 h 186"/>
                      <a:gd name="T48" fmla="*/ 59 w 121"/>
                      <a:gd name="T49" fmla="*/ 172 h 186"/>
                      <a:gd name="T50" fmla="*/ 43 w 121"/>
                      <a:gd name="T51" fmla="*/ 172 h 186"/>
                      <a:gd name="T52" fmla="*/ 33 w 121"/>
                      <a:gd name="T53" fmla="*/ 179 h 186"/>
                      <a:gd name="T54" fmla="*/ 20 w 121"/>
                      <a:gd name="T55" fmla="*/ 181 h 186"/>
                      <a:gd name="T56" fmla="*/ 6 w 121"/>
                      <a:gd name="T57" fmla="*/ 186 h 186"/>
                      <a:gd name="T58" fmla="*/ 20 w 121"/>
                      <a:gd name="T59" fmla="*/ 172 h 186"/>
                      <a:gd name="T60" fmla="*/ 43 w 121"/>
                      <a:gd name="T61" fmla="*/ 160 h 186"/>
                      <a:gd name="T62" fmla="*/ 54 w 121"/>
                      <a:gd name="T63" fmla="*/ 150 h 186"/>
                      <a:gd name="T64" fmla="*/ 40 w 121"/>
                      <a:gd name="T65" fmla="*/ 157 h 186"/>
                      <a:gd name="T66" fmla="*/ 28 w 121"/>
                      <a:gd name="T67" fmla="*/ 154 h 186"/>
                      <a:gd name="T68" fmla="*/ 18 w 121"/>
                      <a:gd name="T69" fmla="*/ 152 h 186"/>
                      <a:gd name="T70" fmla="*/ 18 w 121"/>
                      <a:gd name="T71" fmla="*/ 145 h 186"/>
                      <a:gd name="T72" fmla="*/ 32 w 121"/>
                      <a:gd name="T73" fmla="*/ 132 h 186"/>
                      <a:gd name="T74" fmla="*/ 21 w 121"/>
                      <a:gd name="T75" fmla="*/ 127 h 186"/>
                      <a:gd name="T76" fmla="*/ 47 w 121"/>
                      <a:gd name="T77" fmla="*/ 117 h 186"/>
                      <a:gd name="T78" fmla="*/ 48 w 121"/>
                      <a:gd name="T79" fmla="*/ 106 h 186"/>
                      <a:gd name="T80" fmla="*/ 50 w 121"/>
                      <a:gd name="T81" fmla="*/ 96 h 186"/>
                      <a:gd name="T82" fmla="*/ 42 w 121"/>
                      <a:gd name="T83" fmla="*/ 98 h 186"/>
                      <a:gd name="T84" fmla="*/ 40 w 121"/>
                      <a:gd name="T85" fmla="*/ 86 h 186"/>
                      <a:gd name="T86" fmla="*/ 40 w 121"/>
                      <a:gd name="T87" fmla="*/ 81 h 186"/>
                      <a:gd name="T88" fmla="*/ 28 w 121"/>
                      <a:gd name="T89" fmla="*/ 85 h 186"/>
                      <a:gd name="T90" fmla="*/ 18 w 121"/>
                      <a:gd name="T91" fmla="*/ 88 h 186"/>
                      <a:gd name="T92" fmla="*/ 16 w 121"/>
                      <a:gd name="T93" fmla="*/ 78 h 186"/>
                      <a:gd name="T94" fmla="*/ 18 w 121"/>
                      <a:gd name="T95" fmla="*/ 64 h 186"/>
                      <a:gd name="T96" fmla="*/ 16 w 121"/>
                      <a:gd name="T97" fmla="*/ 58 h 186"/>
                      <a:gd name="T98" fmla="*/ 11 w 121"/>
                      <a:gd name="T99" fmla="*/ 59 h 186"/>
                      <a:gd name="T100" fmla="*/ 10 w 121"/>
                      <a:gd name="T101" fmla="*/ 58 h 186"/>
                      <a:gd name="T102" fmla="*/ 8 w 121"/>
                      <a:gd name="T103" fmla="*/ 69 h 186"/>
                      <a:gd name="T104" fmla="*/ 6 w 121"/>
                      <a:gd name="T105" fmla="*/ 68 h 186"/>
                      <a:gd name="T106" fmla="*/ 6 w 121"/>
                      <a:gd name="T107" fmla="*/ 58 h 186"/>
                      <a:gd name="T108" fmla="*/ 11 w 121"/>
                      <a:gd name="T109" fmla="*/ 46 h 186"/>
                      <a:gd name="T110" fmla="*/ 3 w 121"/>
                      <a:gd name="T111" fmla="*/ 47 h 186"/>
                      <a:gd name="T112" fmla="*/ 3 w 121"/>
                      <a:gd name="T113" fmla="*/ 41 h 186"/>
                      <a:gd name="T114" fmla="*/ 8 w 121"/>
                      <a:gd name="T115" fmla="*/ 29 h 186"/>
                      <a:gd name="T116" fmla="*/ 3 w 121"/>
                      <a:gd name="T117" fmla="*/ 26 h 186"/>
                      <a:gd name="T118" fmla="*/ 6 w 121"/>
                      <a:gd name="T119" fmla="*/ 19 h 186"/>
                      <a:gd name="T120" fmla="*/ 10 w 121"/>
                      <a:gd name="T121" fmla="*/ 14 h 1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121" h="186">
                        <a:moveTo>
                          <a:pt x="11" y="9"/>
                        </a:moveTo>
                        <a:lnTo>
                          <a:pt x="13" y="9"/>
                        </a:lnTo>
                        <a:lnTo>
                          <a:pt x="15" y="9"/>
                        </a:lnTo>
                        <a:lnTo>
                          <a:pt x="15" y="7"/>
                        </a:lnTo>
                        <a:lnTo>
                          <a:pt x="15" y="5"/>
                        </a:lnTo>
                        <a:lnTo>
                          <a:pt x="15" y="4"/>
                        </a:lnTo>
                        <a:lnTo>
                          <a:pt x="16" y="2"/>
                        </a:lnTo>
                        <a:lnTo>
                          <a:pt x="20" y="2"/>
                        </a:lnTo>
                        <a:lnTo>
                          <a:pt x="20" y="0"/>
                        </a:lnTo>
                        <a:lnTo>
                          <a:pt x="21" y="2"/>
                        </a:lnTo>
                        <a:lnTo>
                          <a:pt x="23" y="2"/>
                        </a:lnTo>
                        <a:lnTo>
                          <a:pt x="27" y="2"/>
                        </a:lnTo>
                        <a:lnTo>
                          <a:pt x="28" y="2"/>
                        </a:lnTo>
                        <a:lnTo>
                          <a:pt x="32" y="2"/>
                        </a:lnTo>
                        <a:lnTo>
                          <a:pt x="33" y="2"/>
                        </a:lnTo>
                        <a:lnTo>
                          <a:pt x="38" y="0"/>
                        </a:lnTo>
                        <a:lnTo>
                          <a:pt x="40" y="0"/>
                        </a:lnTo>
                        <a:lnTo>
                          <a:pt x="42" y="0"/>
                        </a:lnTo>
                        <a:lnTo>
                          <a:pt x="45" y="0"/>
                        </a:lnTo>
                        <a:lnTo>
                          <a:pt x="45" y="4"/>
                        </a:lnTo>
                        <a:lnTo>
                          <a:pt x="45" y="5"/>
                        </a:lnTo>
                        <a:lnTo>
                          <a:pt x="40" y="9"/>
                        </a:lnTo>
                        <a:lnTo>
                          <a:pt x="38" y="10"/>
                        </a:lnTo>
                        <a:lnTo>
                          <a:pt x="33" y="14"/>
                        </a:lnTo>
                        <a:lnTo>
                          <a:pt x="30" y="17"/>
                        </a:lnTo>
                        <a:lnTo>
                          <a:pt x="30" y="15"/>
                        </a:lnTo>
                        <a:lnTo>
                          <a:pt x="30" y="19"/>
                        </a:lnTo>
                        <a:lnTo>
                          <a:pt x="33" y="19"/>
                        </a:lnTo>
                        <a:lnTo>
                          <a:pt x="32" y="20"/>
                        </a:lnTo>
                        <a:lnTo>
                          <a:pt x="27" y="20"/>
                        </a:lnTo>
                        <a:lnTo>
                          <a:pt x="27" y="22"/>
                        </a:lnTo>
                        <a:lnTo>
                          <a:pt x="30" y="22"/>
                        </a:lnTo>
                        <a:lnTo>
                          <a:pt x="30" y="24"/>
                        </a:lnTo>
                        <a:lnTo>
                          <a:pt x="30" y="26"/>
                        </a:lnTo>
                        <a:lnTo>
                          <a:pt x="32" y="24"/>
                        </a:lnTo>
                        <a:lnTo>
                          <a:pt x="35" y="22"/>
                        </a:lnTo>
                        <a:lnTo>
                          <a:pt x="40" y="20"/>
                        </a:lnTo>
                        <a:lnTo>
                          <a:pt x="43" y="20"/>
                        </a:lnTo>
                        <a:lnTo>
                          <a:pt x="47" y="22"/>
                        </a:lnTo>
                        <a:lnTo>
                          <a:pt x="50" y="20"/>
                        </a:lnTo>
                        <a:lnTo>
                          <a:pt x="52" y="20"/>
                        </a:lnTo>
                        <a:lnTo>
                          <a:pt x="55" y="22"/>
                        </a:lnTo>
                        <a:lnTo>
                          <a:pt x="60" y="20"/>
                        </a:lnTo>
                        <a:lnTo>
                          <a:pt x="64" y="20"/>
                        </a:lnTo>
                        <a:lnTo>
                          <a:pt x="64" y="22"/>
                        </a:lnTo>
                        <a:lnTo>
                          <a:pt x="65" y="24"/>
                        </a:lnTo>
                        <a:lnTo>
                          <a:pt x="65" y="26"/>
                        </a:lnTo>
                        <a:lnTo>
                          <a:pt x="65" y="27"/>
                        </a:lnTo>
                        <a:lnTo>
                          <a:pt x="64" y="29"/>
                        </a:lnTo>
                        <a:lnTo>
                          <a:pt x="64" y="31"/>
                        </a:lnTo>
                        <a:lnTo>
                          <a:pt x="62" y="31"/>
                        </a:lnTo>
                        <a:lnTo>
                          <a:pt x="60" y="34"/>
                        </a:lnTo>
                        <a:lnTo>
                          <a:pt x="60" y="36"/>
                        </a:lnTo>
                        <a:lnTo>
                          <a:pt x="59" y="37"/>
                        </a:lnTo>
                        <a:lnTo>
                          <a:pt x="59" y="39"/>
                        </a:lnTo>
                        <a:lnTo>
                          <a:pt x="59" y="41"/>
                        </a:lnTo>
                        <a:lnTo>
                          <a:pt x="57" y="41"/>
                        </a:lnTo>
                        <a:lnTo>
                          <a:pt x="57" y="42"/>
                        </a:lnTo>
                        <a:lnTo>
                          <a:pt x="55" y="44"/>
                        </a:lnTo>
                        <a:lnTo>
                          <a:pt x="55" y="46"/>
                        </a:lnTo>
                        <a:lnTo>
                          <a:pt x="54" y="47"/>
                        </a:lnTo>
                        <a:lnTo>
                          <a:pt x="52" y="49"/>
                        </a:lnTo>
                        <a:lnTo>
                          <a:pt x="48" y="49"/>
                        </a:lnTo>
                        <a:lnTo>
                          <a:pt x="50" y="51"/>
                        </a:lnTo>
                        <a:lnTo>
                          <a:pt x="52" y="53"/>
                        </a:lnTo>
                        <a:lnTo>
                          <a:pt x="54" y="54"/>
                        </a:lnTo>
                        <a:lnTo>
                          <a:pt x="50" y="54"/>
                        </a:lnTo>
                        <a:lnTo>
                          <a:pt x="48" y="54"/>
                        </a:lnTo>
                        <a:lnTo>
                          <a:pt x="45" y="56"/>
                        </a:lnTo>
                        <a:lnTo>
                          <a:pt x="43" y="56"/>
                        </a:lnTo>
                        <a:lnTo>
                          <a:pt x="43" y="58"/>
                        </a:lnTo>
                        <a:lnTo>
                          <a:pt x="43" y="59"/>
                        </a:lnTo>
                        <a:lnTo>
                          <a:pt x="45" y="59"/>
                        </a:lnTo>
                        <a:lnTo>
                          <a:pt x="47" y="59"/>
                        </a:lnTo>
                        <a:lnTo>
                          <a:pt x="50" y="59"/>
                        </a:lnTo>
                        <a:lnTo>
                          <a:pt x="52" y="58"/>
                        </a:lnTo>
                        <a:lnTo>
                          <a:pt x="54" y="58"/>
                        </a:lnTo>
                        <a:lnTo>
                          <a:pt x="57" y="59"/>
                        </a:lnTo>
                        <a:lnTo>
                          <a:pt x="59" y="61"/>
                        </a:lnTo>
                        <a:lnTo>
                          <a:pt x="62" y="63"/>
                        </a:lnTo>
                        <a:lnTo>
                          <a:pt x="64" y="64"/>
                        </a:lnTo>
                        <a:lnTo>
                          <a:pt x="67" y="68"/>
                        </a:lnTo>
                        <a:lnTo>
                          <a:pt x="70" y="69"/>
                        </a:lnTo>
                        <a:lnTo>
                          <a:pt x="70" y="71"/>
                        </a:lnTo>
                        <a:lnTo>
                          <a:pt x="70" y="73"/>
                        </a:lnTo>
                        <a:lnTo>
                          <a:pt x="70" y="74"/>
                        </a:lnTo>
                        <a:lnTo>
                          <a:pt x="70" y="78"/>
                        </a:lnTo>
                        <a:lnTo>
                          <a:pt x="72" y="79"/>
                        </a:lnTo>
                        <a:lnTo>
                          <a:pt x="74" y="83"/>
                        </a:lnTo>
                        <a:lnTo>
                          <a:pt x="75" y="86"/>
                        </a:lnTo>
                        <a:lnTo>
                          <a:pt x="77" y="88"/>
                        </a:lnTo>
                        <a:lnTo>
                          <a:pt x="77" y="90"/>
                        </a:lnTo>
                        <a:lnTo>
                          <a:pt x="82" y="90"/>
                        </a:lnTo>
                        <a:lnTo>
                          <a:pt x="84" y="91"/>
                        </a:lnTo>
                        <a:lnTo>
                          <a:pt x="87" y="95"/>
                        </a:lnTo>
                        <a:lnTo>
                          <a:pt x="89" y="96"/>
                        </a:lnTo>
                        <a:lnTo>
                          <a:pt x="91" y="100"/>
                        </a:lnTo>
                        <a:lnTo>
                          <a:pt x="92" y="103"/>
                        </a:lnTo>
                        <a:lnTo>
                          <a:pt x="94" y="105"/>
                        </a:lnTo>
                        <a:lnTo>
                          <a:pt x="96" y="106"/>
                        </a:lnTo>
                        <a:lnTo>
                          <a:pt x="97" y="110"/>
                        </a:lnTo>
                        <a:lnTo>
                          <a:pt x="96" y="110"/>
                        </a:lnTo>
                        <a:lnTo>
                          <a:pt x="94" y="110"/>
                        </a:lnTo>
                        <a:lnTo>
                          <a:pt x="92" y="110"/>
                        </a:lnTo>
                        <a:lnTo>
                          <a:pt x="91" y="108"/>
                        </a:lnTo>
                        <a:lnTo>
                          <a:pt x="89" y="108"/>
                        </a:lnTo>
                        <a:lnTo>
                          <a:pt x="91" y="110"/>
                        </a:lnTo>
                        <a:lnTo>
                          <a:pt x="92" y="112"/>
                        </a:lnTo>
                        <a:lnTo>
                          <a:pt x="94" y="112"/>
                        </a:lnTo>
                        <a:lnTo>
                          <a:pt x="96" y="113"/>
                        </a:lnTo>
                        <a:lnTo>
                          <a:pt x="97" y="115"/>
                        </a:lnTo>
                        <a:lnTo>
                          <a:pt x="99" y="117"/>
                        </a:lnTo>
                        <a:lnTo>
                          <a:pt x="99" y="118"/>
                        </a:lnTo>
                        <a:lnTo>
                          <a:pt x="99" y="120"/>
                        </a:lnTo>
                        <a:lnTo>
                          <a:pt x="99" y="122"/>
                        </a:lnTo>
                        <a:lnTo>
                          <a:pt x="97" y="123"/>
                        </a:lnTo>
                        <a:lnTo>
                          <a:pt x="96" y="125"/>
                        </a:lnTo>
                        <a:lnTo>
                          <a:pt x="94" y="127"/>
                        </a:lnTo>
                        <a:lnTo>
                          <a:pt x="96" y="127"/>
                        </a:lnTo>
                        <a:lnTo>
                          <a:pt x="97" y="127"/>
                        </a:lnTo>
                        <a:lnTo>
                          <a:pt x="99" y="127"/>
                        </a:lnTo>
                        <a:lnTo>
                          <a:pt x="99" y="128"/>
                        </a:lnTo>
                        <a:lnTo>
                          <a:pt x="101" y="127"/>
                        </a:lnTo>
                        <a:lnTo>
                          <a:pt x="102" y="125"/>
                        </a:lnTo>
                        <a:lnTo>
                          <a:pt x="106" y="125"/>
                        </a:lnTo>
                        <a:lnTo>
                          <a:pt x="109" y="123"/>
                        </a:lnTo>
                        <a:lnTo>
                          <a:pt x="113" y="125"/>
                        </a:lnTo>
                        <a:lnTo>
                          <a:pt x="114" y="125"/>
                        </a:lnTo>
                        <a:lnTo>
                          <a:pt x="118" y="127"/>
                        </a:lnTo>
                        <a:lnTo>
                          <a:pt x="121" y="130"/>
                        </a:lnTo>
                        <a:lnTo>
                          <a:pt x="121" y="133"/>
                        </a:lnTo>
                        <a:lnTo>
                          <a:pt x="121" y="137"/>
                        </a:lnTo>
                        <a:lnTo>
                          <a:pt x="119" y="142"/>
                        </a:lnTo>
                        <a:lnTo>
                          <a:pt x="118" y="144"/>
                        </a:lnTo>
                        <a:lnTo>
                          <a:pt x="114" y="145"/>
                        </a:lnTo>
                        <a:lnTo>
                          <a:pt x="114" y="147"/>
                        </a:lnTo>
                        <a:lnTo>
                          <a:pt x="114" y="149"/>
                        </a:lnTo>
                        <a:lnTo>
                          <a:pt x="111" y="149"/>
                        </a:lnTo>
                        <a:lnTo>
                          <a:pt x="109" y="149"/>
                        </a:lnTo>
                        <a:lnTo>
                          <a:pt x="107" y="149"/>
                        </a:lnTo>
                        <a:lnTo>
                          <a:pt x="106" y="150"/>
                        </a:lnTo>
                        <a:lnTo>
                          <a:pt x="107" y="150"/>
                        </a:lnTo>
                        <a:lnTo>
                          <a:pt x="109" y="150"/>
                        </a:lnTo>
                        <a:lnTo>
                          <a:pt x="107" y="152"/>
                        </a:lnTo>
                        <a:lnTo>
                          <a:pt x="107" y="154"/>
                        </a:lnTo>
                        <a:lnTo>
                          <a:pt x="104" y="154"/>
                        </a:lnTo>
                        <a:lnTo>
                          <a:pt x="106" y="155"/>
                        </a:lnTo>
                        <a:lnTo>
                          <a:pt x="106" y="159"/>
                        </a:lnTo>
                        <a:lnTo>
                          <a:pt x="109" y="159"/>
                        </a:lnTo>
                        <a:lnTo>
                          <a:pt x="113" y="159"/>
                        </a:lnTo>
                        <a:lnTo>
                          <a:pt x="116" y="159"/>
                        </a:lnTo>
                        <a:lnTo>
                          <a:pt x="116" y="162"/>
                        </a:lnTo>
                        <a:lnTo>
                          <a:pt x="113" y="164"/>
                        </a:lnTo>
                        <a:lnTo>
                          <a:pt x="109" y="165"/>
                        </a:lnTo>
                        <a:lnTo>
                          <a:pt x="107" y="167"/>
                        </a:lnTo>
                        <a:lnTo>
                          <a:pt x="104" y="167"/>
                        </a:lnTo>
                        <a:lnTo>
                          <a:pt x="99" y="169"/>
                        </a:lnTo>
                        <a:lnTo>
                          <a:pt x="96" y="169"/>
                        </a:lnTo>
                        <a:lnTo>
                          <a:pt x="92" y="169"/>
                        </a:lnTo>
                        <a:lnTo>
                          <a:pt x="91" y="169"/>
                        </a:lnTo>
                        <a:lnTo>
                          <a:pt x="84" y="171"/>
                        </a:lnTo>
                        <a:lnTo>
                          <a:pt x="82" y="171"/>
                        </a:lnTo>
                        <a:lnTo>
                          <a:pt x="80" y="169"/>
                        </a:lnTo>
                        <a:lnTo>
                          <a:pt x="79" y="169"/>
                        </a:lnTo>
                        <a:lnTo>
                          <a:pt x="77" y="169"/>
                        </a:lnTo>
                        <a:lnTo>
                          <a:pt x="75" y="169"/>
                        </a:lnTo>
                        <a:lnTo>
                          <a:pt x="74" y="167"/>
                        </a:lnTo>
                        <a:lnTo>
                          <a:pt x="74" y="169"/>
                        </a:lnTo>
                        <a:lnTo>
                          <a:pt x="72" y="171"/>
                        </a:lnTo>
                        <a:lnTo>
                          <a:pt x="70" y="171"/>
                        </a:lnTo>
                        <a:lnTo>
                          <a:pt x="67" y="171"/>
                        </a:lnTo>
                        <a:lnTo>
                          <a:pt x="64" y="171"/>
                        </a:lnTo>
                        <a:lnTo>
                          <a:pt x="64" y="172"/>
                        </a:lnTo>
                        <a:lnTo>
                          <a:pt x="62" y="174"/>
                        </a:lnTo>
                        <a:lnTo>
                          <a:pt x="59" y="172"/>
                        </a:lnTo>
                        <a:lnTo>
                          <a:pt x="57" y="174"/>
                        </a:lnTo>
                        <a:lnTo>
                          <a:pt x="55" y="174"/>
                        </a:lnTo>
                        <a:lnTo>
                          <a:pt x="54" y="172"/>
                        </a:lnTo>
                        <a:lnTo>
                          <a:pt x="52" y="172"/>
                        </a:lnTo>
                        <a:lnTo>
                          <a:pt x="50" y="171"/>
                        </a:lnTo>
                        <a:lnTo>
                          <a:pt x="47" y="172"/>
                        </a:lnTo>
                        <a:lnTo>
                          <a:pt x="43" y="172"/>
                        </a:lnTo>
                        <a:lnTo>
                          <a:pt x="42" y="172"/>
                        </a:lnTo>
                        <a:lnTo>
                          <a:pt x="40" y="172"/>
                        </a:lnTo>
                        <a:lnTo>
                          <a:pt x="40" y="176"/>
                        </a:lnTo>
                        <a:lnTo>
                          <a:pt x="38" y="179"/>
                        </a:lnTo>
                        <a:lnTo>
                          <a:pt x="37" y="181"/>
                        </a:lnTo>
                        <a:lnTo>
                          <a:pt x="35" y="181"/>
                        </a:lnTo>
                        <a:lnTo>
                          <a:pt x="33" y="179"/>
                        </a:lnTo>
                        <a:lnTo>
                          <a:pt x="32" y="179"/>
                        </a:lnTo>
                        <a:lnTo>
                          <a:pt x="30" y="179"/>
                        </a:lnTo>
                        <a:lnTo>
                          <a:pt x="28" y="179"/>
                        </a:lnTo>
                        <a:lnTo>
                          <a:pt x="27" y="179"/>
                        </a:lnTo>
                        <a:lnTo>
                          <a:pt x="23" y="179"/>
                        </a:lnTo>
                        <a:lnTo>
                          <a:pt x="21" y="179"/>
                        </a:lnTo>
                        <a:lnTo>
                          <a:pt x="20" y="181"/>
                        </a:lnTo>
                        <a:lnTo>
                          <a:pt x="16" y="182"/>
                        </a:lnTo>
                        <a:lnTo>
                          <a:pt x="15" y="184"/>
                        </a:lnTo>
                        <a:lnTo>
                          <a:pt x="15" y="186"/>
                        </a:lnTo>
                        <a:lnTo>
                          <a:pt x="13" y="184"/>
                        </a:lnTo>
                        <a:lnTo>
                          <a:pt x="11" y="184"/>
                        </a:lnTo>
                        <a:lnTo>
                          <a:pt x="8" y="184"/>
                        </a:lnTo>
                        <a:lnTo>
                          <a:pt x="6" y="186"/>
                        </a:lnTo>
                        <a:lnTo>
                          <a:pt x="6" y="184"/>
                        </a:lnTo>
                        <a:lnTo>
                          <a:pt x="8" y="182"/>
                        </a:lnTo>
                        <a:lnTo>
                          <a:pt x="10" y="181"/>
                        </a:lnTo>
                        <a:lnTo>
                          <a:pt x="13" y="181"/>
                        </a:lnTo>
                        <a:lnTo>
                          <a:pt x="15" y="177"/>
                        </a:lnTo>
                        <a:lnTo>
                          <a:pt x="16" y="176"/>
                        </a:lnTo>
                        <a:lnTo>
                          <a:pt x="20" y="172"/>
                        </a:lnTo>
                        <a:lnTo>
                          <a:pt x="23" y="169"/>
                        </a:lnTo>
                        <a:lnTo>
                          <a:pt x="27" y="165"/>
                        </a:lnTo>
                        <a:lnTo>
                          <a:pt x="28" y="164"/>
                        </a:lnTo>
                        <a:lnTo>
                          <a:pt x="30" y="162"/>
                        </a:lnTo>
                        <a:lnTo>
                          <a:pt x="35" y="160"/>
                        </a:lnTo>
                        <a:lnTo>
                          <a:pt x="38" y="160"/>
                        </a:lnTo>
                        <a:lnTo>
                          <a:pt x="43" y="160"/>
                        </a:lnTo>
                        <a:lnTo>
                          <a:pt x="47" y="160"/>
                        </a:lnTo>
                        <a:lnTo>
                          <a:pt x="48" y="159"/>
                        </a:lnTo>
                        <a:lnTo>
                          <a:pt x="48" y="157"/>
                        </a:lnTo>
                        <a:lnTo>
                          <a:pt x="50" y="155"/>
                        </a:lnTo>
                        <a:lnTo>
                          <a:pt x="54" y="154"/>
                        </a:lnTo>
                        <a:lnTo>
                          <a:pt x="55" y="152"/>
                        </a:lnTo>
                        <a:lnTo>
                          <a:pt x="54" y="150"/>
                        </a:lnTo>
                        <a:lnTo>
                          <a:pt x="52" y="150"/>
                        </a:lnTo>
                        <a:lnTo>
                          <a:pt x="50" y="152"/>
                        </a:lnTo>
                        <a:lnTo>
                          <a:pt x="48" y="154"/>
                        </a:lnTo>
                        <a:lnTo>
                          <a:pt x="47" y="154"/>
                        </a:lnTo>
                        <a:lnTo>
                          <a:pt x="45" y="155"/>
                        </a:lnTo>
                        <a:lnTo>
                          <a:pt x="43" y="157"/>
                        </a:lnTo>
                        <a:lnTo>
                          <a:pt x="40" y="157"/>
                        </a:lnTo>
                        <a:lnTo>
                          <a:pt x="38" y="157"/>
                        </a:lnTo>
                        <a:lnTo>
                          <a:pt x="38" y="155"/>
                        </a:lnTo>
                        <a:lnTo>
                          <a:pt x="35" y="154"/>
                        </a:lnTo>
                        <a:lnTo>
                          <a:pt x="35" y="152"/>
                        </a:lnTo>
                        <a:lnTo>
                          <a:pt x="33" y="152"/>
                        </a:lnTo>
                        <a:lnTo>
                          <a:pt x="32" y="154"/>
                        </a:lnTo>
                        <a:lnTo>
                          <a:pt x="28" y="154"/>
                        </a:lnTo>
                        <a:lnTo>
                          <a:pt x="27" y="152"/>
                        </a:lnTo>
                        <a:lnTo>
                          <a:pt x="27" y="150"/>
                        </a:lnTo>
                        <a:lnTo>
                          <a:pt x="27" y="149"/>
                        </a:lnTo>
                        <a:lnTo>
                          <a:pt x="25" y="149"/>
                        </a:lnTo>
                        <a:lnTo>
                          <a:pt x="21" y="150"/>
                        </a:lnTo>
                        <a:lnTo>
                          <a:pt x="20" y="152"/>
                        </a:lnTo>
                        <a:lnTo>
                          <a:pt x="18" y="152"/>
                        </a:lnTo>
                        <a:lnTo>
                          <a:pt x="16" y="152"/>
                        </a:lnTo>
                        <a:lnTo>
                          <a:pt x="15" y="152"/>
                        </a:lnTo>
                        <a:lnTo>
                          <a:pt x="15" y="150"/>
                        </a:lnTo>
                        <a:lnTo>
                          <a:pt x="13" y="149"/>
                        </a:lnTo>
                        <a:lnTo>
                          <a:pt x="13" y="147"/>
                        </a:lnTo>
                        <a:lnTo>
                          <a:pt x="15" y="147"/>
                        </a:lnTo>
                        <a:lnTo>
                          <a:pt x="18" y="145"/>
                        </a:lnTo>
                        <a:lnTo>
                          <a:pt x="21" y="144"/>
                        </a:lnTo>
                        <a:lnTo>
                          <a:pt x="23" y="142"/>
                        </a:lnTo>
                        <a:lnTo>
                          <a:pt x="27" y="140"/>
                        </a:lnTo>
                        <a:lnTo>
                          <a:pt x="30" y="138"/>
                        </a:lnTo>
                        <a:lnTo>
                          <a:pt x="32" y="135"/>
                        </a:lnTo>
                        <a:lnTo>
                          <a:pt x="33" y="133"/>
                        </a:lnTo>
                        <a:lnTo>
                          <a:pt x="32" y="132"/>
                        </a:lnTo>
                        <a:lnTo>
                          <a:pt x="30" y="132"/>
                        </a:lnTo>
                        <a:lnTo>
                          <a:pt x="30" y="130"/>
                        </a:lnTo>
                        <a:lnTo>
                          <a:pt x="30" y="127"/>
                        </a:lnTo>
                        <a:lnTo>
                          <a:pt x="30" y="125"/>
                        </a:lnTo>
                        <a:lnTo>
                          <a:pt x="27" y="125"/>
                        </a:lnTo>
                        <a:lnTo>
                          <a:pt x="23" y="127"/>
                        </a:lnTo>
                        <a:lnTo>
                          <a:pt x="21" y="127"/>
                        </a:lnTo>
                        <a:lnTo>
                          <a:pt x="25" y="123"/>
                        </a:lnTo>
                        <a:lnTo>
                          <a:pt x="28" y="122"/>
                        </a:lnTo>
                        <a:lnTo>
                          <a:pt x="32" y="118"/>
                        </a:lnTo>
                        <a:lnTo>
                          <a:pt x="35" y="117"/>
                        </a:lnTo>
                        <a:lnTo>
                          <a:pt x="40" y="117"/>
                        </a:lnTo>
                        <a:lnTo>
                          <a:pt x="43" y="117"/>
                        </a:lnTo>
                        <a:lnTo>
                          <a:pt x="47" y="117"/>
                        </a:lnTo>
                        <a:lnTo>
                          <a:pt x="48" y="115"/>
                        </a:lnTo>
                        <a:lnTo>
                          <a:pt x="48" y="113"/>
                        </a:lnTo>
                        <a:lnTo>
                          <a:pt x="47" y="113"/>
                        </a:lnTo>
                        <a:lnTo>
                          <a:pt x="47" y="112"/>
                        </a:lnTo>
                        <a:lnTo>
                          <a:pt x="48" y="110"/>
                        </a:lnTo>
                        <a:lnTo>
                          <a:pt x="50" y="108"/>
                        </a:lnTo>
                        <a:lnTo>
                          <a:pt x="48" y="106"/>
                        </a:lnTo>
                        <a:lnTo>
                          <a:pt x="47" y="106"/>
                        </a:lnTo>
                        <a:lnTo>
                          <a:pt x="48" y="105"/>
                        </a:lnTo>
                        <a:lnTo>
                          <a:pt x="50" y="103"/>
                        </a:lnTo>
                        <a:lnTo>
                          <a:pt x="50" y="101"/>
                        </a:lnTo>
                        <a:lnTo>
                          <a:pt x="50" y="98"/>
                        </a:lnTo>
                        <a:lnTo>
                          <a:pt x="52" y="98"/>
                        </a:lnTo>
                        <a:lnTo>
                          <a:pt x="50" y="96"/>
                        </a:lnTo>
                        <a:lnTo>
                          <a:pt x="48" y="100"/>
                        </a:lnTo>
                        <a:lnTo>
                          <a:pt x="45" y="100"/>
                        </a:lnTo>
                        <a:lnTo>
                          <a:pt x="43" y="100"/>
                        </a:lnTo>
                        <a:lnTo>
                          <a:pt x="43" y="98"/>
                        </a:lnTo>
                        <a:lnTo>
                          <a:pt x="42" y="98"/>
                        </a:lnTo>
                        <a:lnTo>
                          <a:pt x="42" y="96"/>
                        </a:lnTo>
                        <a:lnTo>
                          <a:pt x="42" y="98"/>
                        </a:lnTo>
                        <a:lnTo>
                          <a:pt x="40" y="96"/>
                        </a:lnTo>
                        <a:lnTo>
                          <a:pt x="40" y="95"/>
                        </a:lnTo>
                        <a:lnTo>
                          <a:pt x="38" y="93"/>
                        </a:lnTo>
                        <a:lnTo>
                          <a:pt x="38" y="91"/>
                        </a:lnTo>
                        <a:lnTo>
                          <a:pt x="38" y="90"/>
                        </a:lnTo>
                        <a:lnTo>
                          <a:pt x="40" y="88"/>
                        </a:lnTo>
                        <a:lnTo>
                          <a:pt x="40" y="86"/>
                        </a:lnTo>
                        <a:lnTo>
                          <a:pt x="42" y="85"/>
                        </a:lnTo>
                        <a:lnTo>
                          <a:pt x="43" y="83"/>
                        </a:lnTo>
                        <a:lnTo>
                          <a:pt x="45" y="83"/>
                        </a:lnTo>
                        <a:lnTo>
                          <a:pt x="47" y="81"/>
                        </a:lnTo>
                        <a:lnTo>
                          <a:pt x="43" y="81"/>
                        </a:lnTo>
                        <a:lnTo>
                          <a:pt x="42" y="81"/>
                        </a:lnTo>
                        <a:lnTo>
                          <a:pt x="40" y="81"/>
                        </a:lnTo>
                        <a:lnTo>
                          <a:pt x="38" y="83"/>
                        </a:lnTo>
                        <a:lnTo>
                          <a:pt x="37" y="83"/>
                        </a:lnTo>
                        <a:lnTo>
                          <a:pt x="35" y="83"/>
                        </a:lnTo>
                        <a:lnTo>
                          <a:pt x="35" y="85"/>
                        </a:lnTo>
                        <a:lnTo>
                          <a:pt x="33" y="85"/>
                        </a:lnTo>
                        <a:lnTo>
                          <a:pt x="30" y="85"/>
                        </a:lnTo>
                        <a:lnTo>
                          <a:pt x="28" y="85"/>
                        </a:lnTo>
                        <a:lnTo>
                          <a:pt x="27" y="85"/>
                        </a:lnTo>
                        <a:lnTo>
                          <a:pt x="27" y="86"/>
                        </a:lnTo>
                        <a:lnTo>
                          <a:pt x="25" y="88"/>
                        </a:lnTo>
                        <a:lnTo>
                          <a:pt x="23" y="86"/>
                        </a:lnTo>
                        <a:lnTo>
                          <a:pt x="21" y="85"/>
                        </a:lnTo>
                        <a:lnTo>
                          <a:pt x="18" y="85"/>
                        </a:lnTo>
                        <a:lnTo>
                          <a:pt x="18" y="88"/>
                        </a:lnTo>
                        <a:lnTo>
                          <a:pt x="16" y="88"/>
                        </a:lnTo>
                        <a:lnTo>
                          <a:pt x="15" y="85"/>
                        </a:lnTo>
                        <a:lnTo>
                          <a:pt x="13" y="83"/>
                        </a:lnTo>
                        <a:lnTo>
                          <a:pt x="15" y="81"/>
                        </a:lnTo>
                        <a:lnTo>
                          <a:pt x="16" y="83"/>
                        </a:lnTo>
                        <a:lnTo>
                          <a:pt x="16" y="79"/>
                        </a:lnTo>
                        <a:lnTo>
                          <a:pt x="16" y="78"/>
                        </a:lnTo>
                        <a:lnTo>
                          <a:pt x="18" y="74"/>
                        </a:lnTo>
                        <a:lnTo>
                          <a:pt x="20" y="73"/>
                        </a:lnTo>
                        <a:lnTo>
                          <a:pt x="21" y="69"/>
                        </a:lnTo>
                        <a:lnTo>
                          <a:pt x="21" y="68"/>
                        </a:lnTo>
                        <a:lnTo>
                          <a:pt x="20" y="66"/>
                        </a:lnTo>
                        <a:lnTo>
                          <a:pt x="18" y="66"/>
                        </a:lnTo>
                        <a:lnTo>
                          <a:pt x="18" y="64"/>
                        </a:lnTo>
                        <a:lnTo>
                          <a:pt x="18" y="63"/>
                        </a:lnTo>
                        <a:lnTo>
                          <a:pt x="20" y="61"/>
                        </a:lnTo>
                        <a:lnTo>
                          <a:pt x="20" y="59"/>
                        </a:lnTo>
                        <a:lnTo>
                          <a:pt x="21" y="59"/>
                        </a:lnTo>
                        <a:lnTo>
                          <a:pt x="20" y="58"/>
                        </a:lnTo>
                        <a:lnTo>
                          <a:pt x="18" y="58"/>
                        </a:lnTo>
                        <a:lnTo>
                          <a:pt x="16" y="58"/>
                        </a:lnTo>
                        <a:lnTo>
                          <a:pt x="16" y="59"/>
                        </a:lnTo>
                        <a:lnTo>
                          <a:pt x="16" y="61"/>
                        </a:lnTo>
                        <a:lnTo>
                          <a:pt x="15" y="59"/>
                        </a:lnTo>
                        <a:lnTo>
                          <a:pt x="13" y="61"/>
                        </a:lnTo>
                        <a:lnTo>
                          <a:pt x="11" y="63"/>
                        </a:lnTo>
                        <a:lnTo>
                          <a:pt x="11" y="61"/>
                        </a:lnTo>
                        <a:lnTo>
                          <a:pt x="11" y="59"/>
                        </a:lnTo>
                        <a:lnTo>
                          <a:pt x="13" y="58"/>
                        </a:lnTo>
                        <a:lnTo>
                          <a:pt x="15" y="56"/>
                        </a:lnTo>
                        <a:lnTo>
                          <a:pt x="15" y="54"/>
                        </a:lnTo>
                        <a:lnTo>
                          <a:pt x="13" y="54"/>
                        </a:lnTo>
                        <a:lnTo>
                          <a:pt x="11" y="56"/>
                        </a:lnTo>
                        <a:lnTo>
                          <a:pt x="11" y="58"/>
                        </a:lnTo>
                        <a:lnTo>
                          <a:pt x="10" y="58"/>
                        </a:lnTo>
                        <a:lnTo>
                          <a:pt x="10" y="59"/>
                        </a:lnTo>
                        <a:lnTo>
                          <a:pt x="11" y="61"/>
                        </a:lnTo>
                        <a:lnTo>
                          <a:pt x="11" y="63"/>
                        </a:lnTo>
                        <a:lnTo>
                          <a:pt x="11" y="64"/>
                        </a:lnTo>
                        <a:lnTo>
                          <a:pt x="10" y="66"/>
                        </a:lnTo>
                        <a:lnTo>
                          <a:pt x="10" y="68"/>
                        </a:lnTo>
                        <a:lnTo>
                          <a:pt x="8" y="69"/>
                        </a:lnTo>
                        <a:lnTo>
                          <a:pt x="6" y="73"/>
                        </a:lnTo>
                        <a:lnTo>
                          <a:pt x="6" y="74"/>
                        </a:lnTo>
                        <a:lnTo>
                          <a:pt x="5" y="74"/>
                        </a:lnTo>
                        <a:lnTo>
                          <a:pt x="5" y="73"/>
                        </a:lnTo>
                        <a:lnTo>
                          <a:pt x="5" y="71"/>
                        </a:lnTo>
                        <a:lnTo>
                          <a:pt x="5" y="69"/>
                        </a:lnTo>
                        <a:lnTo>
                          <a:pt x="6" y="68"/>
                        </a:lnTo>
                        <a:lnTo>
                          <a:pt x="8" y="66"/>
                        </a:lnTo>
                        <a:lnTo>
                          <a:pt x="8" y="64"/>
                        </a:lnTo>
                        <a:lnTo>
                          <a:pt x="8" y="63"/>
                        </a:lnTo>
                        <a:lnTo>
                          <a:pt x="6" y="63"/>
                        </a:lnTo>
                        <a:lnTo>
                          <a:pt x="6" y="61"/>
                        </a:lnTo>
                        <a:lnTo>
                          <a:pt x="6" y="59"/>
                        </a:lnTo>
                        <a:lnTo>
                          <a:pt x="6" y="58"/>
                        </a:lnTo>
                        <a:lnTo>
                          <a:pt x="8" y="56"/>
                        </a:lnTo>
                        <a:lnTo>
                          <a:pt x="8" y="54"/>
                        </a:lnTo>
                        <a:lnTo>
                          <a:pt x="8" y="53"/>
                        </a:lnTo>
                        <a:lnTo>
                          <a:pt x="10" y="51"/>
                        </a:lnTo>
                        <a:lnTo>
                          <a:pt x="10" y="49"/>
                        </a:lnTo>
                        <a:lnTo>
                          <a:pt x="11" y="47"/>
                        </a:lnTo>
                        <a:lnTo>
                          <a:pt x="11" y="46"/>
                        </a:lnTo>
                        <a:lnTo>
                          <a:pt x="11" y="44"/>
                        </a:lnTo>
                        <a:lnTo>
                          <a:pt x="10" y="46"/>
                        </a:lnTo>
                        <a:lnTo>
                          <a:pt x="8" y="47"/>
                        </a:lnTo>
                        <a:lnTo>
                          <a:pt x="6" y="47"/>
                        </a:lnTo>
                        <a:lnTo>
                          <a:pt x="6" y="49"/>
                        </a:lnTo>
                        <a:lnTo>
                          <a:pt x="5" y="47"/>
                        </a:lnTo>
                        <a:lnTo>
                          <a:pt x="3" y="47"/>
                        </a:lnTo>
                        <a:lnTo>
                          <a:pt x="1" y="46"/>
                        </a:lnTo>
                        <a:lnTo>
                          <a:pt x="1" y="44"/>
                        </a:lnTo>
                        <a:lnTo>
                          <a:pt x="0" y="44"/>
                        </a:lnTo>
                        <a:lnTo>
                          <a:pt x="0" y="42"/>
                        </a:lnTo>
                        <a:lnTo>
                          <a:pt x="1" y="42"/>
                        </a:lnTo>
                        <a:lnTo>
                          <a:pt x="3" y="42"/>
                        </a:lnTo>
                        <a:lnTo>
                          <a:pt x="3" y="41"/>
                        </a:lnTo>
                        <a:lnTo>
                          <a:pt x="3" y="39"/>
                        </a:lnTo>
                        <a:lnTo>
                          <a:pt x="5" y="37"/>
                        </a:lnTo>
                        <a:lnTo>
                          <a:pt x="5" y="36"/>
                        </a:lnTo>
                        <a:lnTo>
                          <a:pt x="6" y="34"/>
                        </a:lnTo>
                        <a:lnTo>
                          <a:pt x="6" y="32"/>
                        </a:lnTo>
                        <a:lnTo>
                          <a:pt x="8" y="31"/>
                        </a:lnTo>
                        <a:lnTo>
                          <a:pt x="8" y="29"/>
                        </a:lnTo>
                        <a:lnTo>
                          <a:pt x="6" y="29"/>
                        </a:lnTo>
                        <a:lnTo>
                          <a:pt x="8" y="29"/>
                        </a:lnTo>
                        <a:lnTo>
                          <a:pt x="8" y="27"/>
                        </a:lnTo>
                        <a:lnTo>
                          <a:pt x="5" y="29"/>
                        </a:lnTo>
                        <a:lnTo>
                          <a:pt x="3" y="29"/>
                        </a:lnTo>
                        <a:lnTo>
                          <a:pt x="3" y="27"/>
                        </a:lnTo>
                        <a:lnTo>
                          <a:pt x="3" y="26"/>
                        </a:lnTo>
                        <a:lnTo>
                          <a:pt x="5" y="24"/>
                        </a:lnTo>
                        <a:lnTo>
                          <a:pt x="6" y="24"/>
                        </a:lnTo>
                        <a:lnTo>
                          <a:pt x="5" y="24"/>
                        </a:lnTo>
                        <a:lnTo>
                          <a:pt x="5" y="22"/>
                        </a:lnTo>
                        <a:lnTo>
                          <a:pt x="5" y="20"/>
                        </a:lnTo>
                        <a:lnTo>
                          <a:pt x="5" y="19"/>
                        </a:lnTo>
                        <a:lnTo>
                          <a:pt x="6" y="19"/>
                        </a:lnTo>
                        <a:lnTo>
                          <a:pt x="6" y="17"/>
                        </a:lnTo>
                        <a:lnTo>
                          <a:pt x="8" y="17"/>
                        </a:lnTo>
                        <a:lnTo>
                          <a:pt x="10" y="17"/>
                        </a:lnTo>
                        <a:lnTo>
                          <a:pt x="11" y="15"/>
                        </a:lnTo>
                        <a:lnTo>
                          <a:pt x="13" y="15"/>
                        </a:lnTo>
                        <a:lnTo>
                          <a:pt x="11" y="14"/>
                        </a:lnTo>
                        <a:lnTo>
                          <a:pt x="10" y="14"/>
                        </a:lnTo>
                        <a:lnTo>
                          <a:pt x="10" y="12"/>
                        </a:lnTo>
                        <a:lnTo>
                          <a:pt x="11" y="12"/>
                        </a:lnTo>
                        <a:lnTo>
                          <a:pt x="11" y="10"/>
                        </a:lnTo>
                        <a:lnTo>
                          <a:pt x="11" y="9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32" name="Freeform 106">
                    <a:extLst>
                      <a:ext uri="{FF2B5EF4-FFF2-40B4-BE49-F238E27FC236}">
                        <a16:creationId xmlns:a16="http://schemas.microsoft.com/office/drawing/2014/main" id="{D3D68FE7-3343-E641-9976-9D477FC7B2D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8" y="318"/>
                    <a:ext cx="121" cy="186"/>
                  </a:xfrm>
                  <a:custGeom>
                    <a:avLst/>
                    <a:gdLst>
                      <a:gd name="T0" fmla="*/ 16 w 121"/>
                      <a:gd name="T1" fmla="*/ 2 h 186"/>
                      <a:gd name="T2" fmla="*/ 32 w 121"/>
                      <a:gd name="T3" fmla="*/ 2 h 186"/>
                      <a:gd name="T4" fmla="*/ 45 w 121"/>
                      <a:gd name="T5" fmla="*/ 5 h 186"/>
                      <a:gd name="T6" fmla="*/ 33 w 121"/>
                      <a:gd name="T7" fmla="*/ 19 h 186"/>
                      <a:gd name="T8" fmla="*/ 32 w 121"/>
                      <a:gd name="T9" fmla="*/ 24 h 186"/>
                      <a:gd name="T10" fmla="*/ 55 w 121"/>
                      <a:gd name="T11" fmla="*/ 22 h 186"/>
                      <a:gd name="T12" fmla="*/ 64 w 121"/>
                      <a:gd name="T13" fmla="*/ 29 h 186"/>
                      <a:gd name="T14" fmla="*/ 59 w 121"/>
                      <a:gd name="T15" fmla="*/ 41 h 186"/>
                      <a:gd name="T16" fmla="*/ 48 w 121"/>
                      <a:gd name="T17" fmla="*/ 49 h 186"/>
                      <a:gd name="T18" fmla="*/ 43 w 121"/>
                      <a:gd name="T19" fmla="*/ 56 h 186"/>
                      <a:gd name="T20" fmla="*/ 54 w 121"/>
                      <a:gd name="T21" fmla="*/ 58 h 186"/>
                      <a:gd name="T22" fmla="*/ 70 w 121"/>
                      <a:gd name="T23" fmla="*/ 71 h 186"/>
                      <a:gd name="T24" fmla="*/ 77 w 121"/>
                      <a:gd name="T25" fmla="*/ 88 h 186"/>
                      <a:gd name="T26" fmla="*/ 92 w 121"/>
                      <a:gd name="T27" fmla="*/ 103 h 186"/>
                      <a:gd name="T28" fmla="*/ 91 w 121"/>
                      <a:gd name="T29" fmla="*/ 108 h 186"/>
                      <a:gd name="T30" fmla="*/ 99 w 121"/>
                      <a:gd name="T31" fmla="*/ 117 h 186"/>
                      <a:gd name="T32" fmla="*/ 96 w 121"/>
                      <a:gd name="T33" fmla="*/ 127 h 186"/>
                      <a:gd name="T34" fmla="*/ 109 w 121"/>
                      <a:gd name="T35" fmla="*/ 123 h 186"/>
                      <a:gd name="T36" fmla="*/ 119 w 121"/>
                      <a:gd name="T37" fmla="*/ 142 h 186"/>
                      <a:gd name="T38" fmla="*/ 107 w 121"/>
                      <a:gd name="T39" fmla="*/ 149 h 186"/>
                      <a:gd name="T40" fmla="*/ 106 w 121"/>
                      <a:gd name="T41" fmla="*/ 155 h 186"/>
                      <a:gd name="T42" fmla="*/ 109 w 121"/>
                      <a:gd name="T43" fmla="*/ 165 h 186"/>
                      <a:gd name="T44" fmla="*/ 84 w 121"/>
                      <a:gd name="T45" fmla="*/ 171 h 186"/>
                      <a:gd name="T46" fmla="*/ 74 w 121"/>
                      <a:gd name="T47" fmla="*/ 169 h 186"/>
                      <a:gd name="T48" fmla="*/ 59 w 121"/>
                      <a:gd name="T49" fmla="*/ 172 h 186"/>
                      <a:gd name="T50" fmla="*/ 43 w 121"/>
                      <a:gd name="T51" fmla="*/ 172 h 186"/>
                      <a:gd name="T52" fmla="*/ 33 w 121"/>
                      <a:gd name="T53" fmla="*/ 179 h 186"/>
                      <a:gd name="T54" fmla="*/ 20 w 121"/>
                      <a:gd name="T55" fmla="*/ 181 h 186"/>
                      <a:gd name="T56" fmla="*/ 6 w 121"/>
                      <a:gd name="T57" fmla="*/ 186 h 186"/>
                      <a:gd name="T58" fmla="*/ 20 w 121"/>
                      <a:gd name="T59" fmla="*/ 172 h 186"/>
                      <a:gd name="T60" fmla="*/ 43 w 121"/>
                      <a:gd name="T61" fmla="*/ 160 h 186"/>
                      <a:gd name="T62" fmla="*/ 54 w 121"/>
                      <a:gd name="T63" fmla="*/ 150 h 186"/>
                      <a:gd name="T64" fmla="*/ 40 w 121"/>
                      <a:gd name="T65" fmla="*/ 157 h 186"/>
                      <a:gd name="T66" fmla="*/ 28 w 121"/>
                      <a:gd name="T67" fmla="*/ 154 h 186"/>
                      <a:gd name="T68" fmla="*/ 18 w 121"/>
                      <a:gd name="T69" fmla="*/ 152 h 186"/>
                      <a:gd name="T70" fmla="*/ 18 w 121"/>
                      <a:gd name="T71" fmla="*/ 145 h 186"/>
                      <a:gd name="T72" fmla="*/ 32 w 121"/>
                      <a:gd name="T73" fmla="*/ 132 h 186"/>
                      <a:gd name="T74" fmla="*/ 21 w 121"/>
                      <a:gd name="T75" fmla="*/ 127 h 186"/>
                      <a:gd name="T76" fmla="*/ 47 w 121"/>
                      <a:gd name="T77" fmla="*/ 117 h 186"/>
                      <a:gd name="T78" fmla="*/ 48 w 121"/>
                      <a:gd name="T79" fmla="*/ 106 h 186"/>
                      <a:gd name="T80" fmla="*/ 50 w 121"/>
                      <a:gd name="T81" fmla="*/ 96 h 186"/>
                      <a:gd name="T82" fmla="*/ 42 w 121"/>
                      <a:gd name="T83" fmla="*/ 98 h 186"/>
                      <a:gd name="T84" fmla="*/ 40 w 121"/>
                      <a:gd name="T85" fmla="*/ 86 h 186"/>
                      <a:gd name="T86" fmla="*/ 40 w 121"/>
                      <a:gd name="T87" fmla="*/ 81 h 186"/>
                      <a:gd name="T88" fmla="*/ 28 w 121"/>
                      <a:gd name="T89" fmla="*/ 85 h 186"/>
                      <a:gd name="T90" fmla="*/ 18 w 121"/>
                      <a:gd name="T91" fmla="*/ 88 h 186"/>
                      <a:gd name="T92" fmla="*/ 16 w 121"/>
                      <a:gd name="T93" fmla="*/ 78 h 186"/>
                      <a:gd name="T94" fmla="*/ 18 w 121"/>
                      <a:gd name="T95" fmla="*/ 64 h 186"/>
                      <a:gd name="T96" fmla="*/ 16 w 121"/>
                      <a:gd name="T97" fmla="*/ 58 h 186"/>
                      <a:gd name="T98" fmla="*/ 11 w 121"/>
                      <a:gd name="T99" fmla="*/ 59 h 186"/>
                      <a:gd name="T100" fmla="*/ 10 w 121"/>
                      <a:gd name="T101" fmla="*/ 58 h 186"/>
                      <a:gd name="T102" fmla="*/ 8 w 121"/>
                      <a:gd name="T103" fmla="*/ 69 h 186"/>
                      <a:gd name="T104" fmla="*/ 6 w 121"/>
                      <a:gd name="T105" fmla="*/ 68 h 186"/>
                      <a:gd name="T106" fmla="*/ 6 w 121"/>
                      <a:gd name="T107" fmla="*/ 58 h 186"/>
                      <a:gd name="T108" fmla="*/ 11 w 121"/>
                      <a:gd name="T109" fmla="*/ 46 h 186"/>
                      <a:gd name="T110" fmla="*/ 3 w 121"/>
                      <a:gd name="T111" fmla="*/ 47 h 186"/>
                      <a:gd name="T112" fmla="*/ 3 w 121"/>
                      <a:gd name="T113" fmla="*/ 41 h 186"/>
                      <a:gd name="T114" fmla="*/ 8 w 121"/>
                      <a:gd name="T115" fmla="*/ 29 h 186"/>
                      <a:gd name="T116" fmla="*/ 3 w 121"/>
                      <a:gd name="T117" fmla="*/ 26 h 186"/>
                      <a:gd name="T118" fmla="*/ 6 w 121"/>
                      <a:gd name="T119" fmla="*/ 19 h 186"/>
                      <a:gd name="T120" fmla="*/ 10 w 121"/>
                      <a:gd name="T121" fmla="*/ 14 h 1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121" h="186">
                        <a:moveTo>
                          <a:pt x="11" y="9"/>
                        </a:moveTo>
                        <a:lnTo>
                          <a:pt x="13" y="9"/>
                        </a:lnTo>
                        <a:lnTo>
                          <a:pt x="15" y="9"/>
                        </a:lnTo>
                        <a:lnTo>
                          <a:pt x="15" y="7"/>
                        </a:lnTo>
                        <a:lnTo>
                          <a:pt x="15" y="5"/>
                        </a:lnTo>
                        <a:lnTo>
                          <a:pt x="15" y="4"/>
                        </a:lnTo>
                        <a:lnTo>
                          <a:pt x="16" y="2"/>
                        </a:lnTo>
                        <a:lnTo>
                          <a:pt x="20" y="2"/>
                        </a:lnTo>
                        <a:lnTo>
                          <a:pt x="20" y="0"/>
                        </a:lnTo>
                        <a:lnTo>
                          <a:pt x="21" y="2"/>
                        </a:lnTo>
                        <a:lnTo>
                          <a:pt x="23" y="2"/>
                        </a:lnTo>
                        <a:lnTo>
                          <a:pt x="27" y="2"/>
                        </a:lnTo>
                        <a:lnTo>
                          <a:pt x="28" y="2"/>
                        </a:lnTo>
                        <a:lnTo>
                          <a:pt x="32" y="2"/>
                        </a:lnTo>
                        <a:lnTo>
                          <a:pt x="33" y="2"/>
                        </a:lnTo>
                        <a:lnTo>
                          <a:pt x="38" y="0"/>
                        </a:lnTo>
                        <a:lnTo>
                          <a:pt x="40" y="0"/>
                        </a:lnTo>
                        <a:lnTo>
                          <a:pt x="42" y="0"/>
                        </a:lnTo>
                        <a:lnTo>
                          <a:pt x="45" y="0"/>
                        </a:lnTo>
                        <a:lnTo>
                          <a:pt x="45" y="4"/>
                        </a:lnTo>
                        <a:lnTo>
                          <a:pt x="45" y="5"/>
                        </a:lnTo>
                        <a:lnTo>
                          <a:pt x="40" y="9"/>
                        </a:lnTo>
                        <a:lnTo>
                          <a:pt x="38" y="10"/>
                        </a:lnTo>
                        <a:lnTo>
                          <a:pt x="33" y="14"/>
                        </a:lnTo>
                        <a:lnTo>
                          <a:pt x="30" y="17"/>
                        </a:lnTo>
                        <a:lnTo>
                          <a:pt x="30" y="15"/>
                        </a:lnTo>
                        <a:lnTo>
                          <a:pt x="30" y="19"/>
                        </a:lnTo>
                        <a:lnTo>
                          <a:pt x="33" y="19"/>
                        </a:lnTo>
                        <a:lnTo>
                          <a:pt x="32" y="20"/>
                        </a:lnTo>
                        <a:lnTo>
                          <a:pt x="27" y="20"/>
                        </a:lnTo>
                        <a:lnTo>
                          <a:pt x="27" y="22"/>
                        </a:lnTo>
                        <a:lnTo>
                          <a:pt x="30" y="22"/>
                        </a:lnTo>
                        <a:lnTo>
                          <a:pt x="30" y="24"/>
                        </a:lnTo>
                        <a:lnTo>
                          <a:pt x="30" y="26"/>
                        </a:lnTo>
                        <a:lnTo>
                          <a:pt x="32" y="24"/>
                        </a:lnTo>
                        <a:lnTo>
                          <a:pt x="35" y="22"/>
                        </a:lnTo>
                        <a:lnTo>
                          <a:pt x="40" y="20"/>
                        </a:lnTo>
                        <a:lnTo>
                          <a:pt x="43" y="20"/>
                        </a:lnTo>
                        <a:lnTo>
                          <a:pt x="47" y="22"/>
                        </a:lnTo>
                        <a:lnTo>
                          <a:pt x="50" y="20"/>
                        </a:lnTo>
                        <a:lnTo>
                          <a:pt x="52" y="20"/>
                        </a:lnTo>
                        <a:lnTo>
                          <a:pt x="55" y="22"/>
                        </a:lnTo>
                        <a:lnTo>
                          <a:pt x="60" y="20"/>
                        </a:lnTo>
                        <a:lnTo>
                          <a:pt x="64" y="20"/>
                        </a:lnTo>
                        <a:lnTo>
                          <a:pt x="64" y="22"/>
                        </a:lnTo>
                        <a:lnTo>
                          <a:pt x="65" y="24"/>
                        </a:lnTo>
                        <a:lnTo>
                          <a:pt x="65" y="26"/>
                        </a:lnTo>
                        <a:lnTo>
                          <a:pt x="65" y="27"/>
                        </a:lnTo>
                        <a:lnTo>
                          <a:pt x="64" y="29"/>
                        </a:lnTo>
                        <a:lnTo>
                          <a:pt x="64" y="31"/>
                        </a:lnTo>
                        <a:lnTo>
                          <a:pt x="62" y="31"/>
                        </a:lnTo>
                        <a:lnTo>
                          <a:pt x="60" y="34"/>
                        </a:lnTo>
                        <a:lnTo>
                          <a:pt x="60" y="36"/>
                        </a:lnTo>
                        <a:lnTo>
                          <a:pt x="59" y="37"/>
                        </a:lnTo>
                        <a:lnTo>
                          <a:pt x="59" y="39"/>
                        </a:lnTo>
                        <a:lnTo>
                          <a:pt x="59" y="41"/>
                        </a:lnTo>
                        <a:lnTo>
                          <a:pt x="57" y="41"/>
                        </a:lnTo>
                        <a:lnTo>
                          <a:pt x="57" y="42"/>
                        </a:lnTo>
                        <a:lnTo>
                          <a:pt x="55" y="44"/>
                        </a:lnTo>
                        <a:lnTo>
                          <a:pt x="55" y="46"/>
                        </a:lnTo>
                        <a:lnTo>
                          <a:pt x="54" y="47"/>
                        </a:lnTo>
                        <a:lnTo>
                          <a:pt x="52" y="49"/>
                        </a:lnTo>
                        <a:lnTo>
                          <a:pt x="48" y="49"/>
                        </a:lnTo>
                        <a:lnTo>
                          <a:pt x="50" y="51"/>
                        </a:lnTo>
                        <a:lnTo>
                          <a:pt x="52" y="53"/>
                        </a:lnTo>
                        <a:lnTo>
                          <a:pt x="54" y="54"/>
                        </a:lnTo>
                        <a:lnTo>
                          <a:pt x="50" y="54"/>
                        </a:lnTo>
                        <a:lnTo>
                          <a:pt x="48" y="54"/>
                        </a:lnTo>
                        <a:lnTo>
                          <a:pt x="45" y="56"/>
                        </a:lnTo>
                        <a:lnTo>
                          <a:pt x="43" y="56"/>
                        </a:lnTo>
                        <a:lnTo>
                          <a:pt x="43" y="58"/>
                        </a:lnTo>
                        <a:lnTo>
                          <a:pt x="43" y="59"/>
                        </a:lnTo>
                        <a:lnTo>
                          <a:pt x="45" y="59"/>
                        </a:lnTo>
                        <a:lnTo>
                          <a:pt x="47" y="59"/>
                        </a:lnTo>
                        <a:lnTo>
                          <a:pt x="50" y="59"/>
                        </a:lnTo>
                        <a:lnTo>
                          <a:pt x="52" y="58"/>
                        </a:lnTo>
                        <a:lnTo>
                          <a:pt x="54" y="58"/>
                        </a:lnTo>
                        <a:lnTo>
                          <a:pt x="57" y="59"/>
                        </a:lnTo>
                        <a:lnTo>
                          <a:pt x="59" y="61"/>
                        </a:lnTo>
                        <a:lnTo>
                          <a:pt x="62" y="63"/>
                        </a:lnTo>
                        <a:lnTo>
                          <a:pt x="64" y="64"/>
                        </a:lnTo>
                        <a:lnTo>
                          <a:pt x="67" y="68"/>
                        </a:lnTo>
                        <a:lnTo>
                          <a:pt x="70" y="69"/>
                        </a:lnTo>
                        <a:lnTo>
                          <a:pt x="70" y="71"/>
                        </a:lnTo>
                        <a:lnTo>
                          <a:pt x="70" y="73"/>
                        </a:lnTo>
                        <a:lnTo>
                          <a:pt x="70" y="74"/>
                        </a:lnTo>
                        <a:lnTo>
                          <a:pt x="70" y="78"/>
                        </a:lnTo>
                        <a:lnTo>
                          <a:pt x="72" y="79"/>
                        </a:lnTo>
                        <a:lnTo>
                          <a:pt x="74" y="83"/>
                        </a:lnTo>
                        <a:lnTo>
                          <a:pt x="75" y="86"/>
                        </a:lnTo>
                        <a:lnTo>
                          <a:pt x="77" y="88"/>
                        </a:lnTo>
                        <a:lnTo>
                          <a:pt x="77" y="90"/>
                        </a:lnTo>
                        <a:lnTo>
                          <a:pt x="82" y="90"/>
                        </a:lnTo>
                        <a:lnTo>
                          <a:pt x="84" y="91"/>
                        </a:lnTo>
                        <a:lnTo>
                          <a:pt x="87" y="95"/>
                        </a:lnTo>
                        <a:lnTo>
                          <a:pt x="89" y="96"/>
                        </a:lnTo>
                        <a:lnTo>
                          <a:pt x="91" y="100"/>
                        </a:lnTo>
                        <a:lnTo>
                          <a:pt x="92" y="103"/>
                        </a:lnTo>
                        <a:lnTo>
                          <a:pt x="94" y="105"/>
                        </a:lnTo>
                        <a:lnTo>
                          <a:pt x="96" y="106"/>
                        </a:lnTo>
                        <a:lnTo>
                          <a:pt x="97" y="110"/>
                        </a:lnTo>
                        <a:lnTo>
                          <a:pt x="96" y="110"/>
                        </a:lnTo>
                        <a:lnTo>
                          <a:pt x="94" y="110"/>
                        </a:lnTo>
                        <a:lnTo>
                          <a:pt x="92" y="110"/>
                        </a:lnTo>
                        <a:lnTo>
                          <a:pt x="91" y="108"/>
                        </a:lnTo>
                        <a:lnTo>
                          <a:pt x="89" y="108"/>
                        </a:lnTo>
                        <a:lnTo>
                          <a:pt x="91" y="110"/>
                        </a:lnTo>
                        <a:lnTo>
                          <a:pt x="92" y="112"/>
                        </a:lnTo>
                        <a:lnTo>
                          <a:pt x="94" y="112"/>
                        </a:lnTo>
                        <a:lnTo>
                          <a:pt x="96" y="113"/>
                        </a:lnTo>
                        <a:lnTo>
                          <a:pt x="97" y="115"/>
                        </a:lnTo>
                        <a:lnTo>
                          <a:pt x="99" y="117"/>
                        </a:lnTo>
                        <a:lnTo>
                          <a:pt x="99" y="118"/>
                        </a:lnTo>
                        <a:lnTo>
                          <a:pt x="99" y="120"/>
                        </a:lnTo>
                        <a:lnTo>
                          <a:pt x="99" y="122"/>
                        </a:lnTo>
                        <a:lnTo>
                          <a:pt x="97" y="123"/>
                        </a:lnTo>
                        <a:lnTo>
                          <a:pt x="96" y="125"/>
                        </a:lnTo>
                        <a:lnTo>
                          <a:pt x="94" y="127"/>
                        </a:lnTo>
                        <a:lnTo>
                          <a:pt x="96" y="127"/>
                        </a:lnTo>
                        <a:lnTo>
                          <a:pt x="97" y="127"/>
                        </a:lnTo>
                        <a:lnTo>
                          <a:pt x="99" y="127"/>
                        </a:lnTo>
                        <a:lnTo>
                          <a:pt x="99" y="128"/>
                        </a:lnTo>
                        <a:lnTo>
                          <a:pt x="101" y="127"/>
                        </a:lnTo>
                        <a:lnTo>
                          <a:pt x="102" y="125"/>
                        </a:lnTo>
                        <a:lnTo>
                          <a:pt x="106" y="125"/>
                        </a:lnTo>
                        <a:lnTo>
                          <a:pt x="109" y="123"/>
                        </a:lnTo>
                        <a:lnTo>
                          <a:pt x="113" y="125"/>
                        </a:lnTo>
                        <a:lnTo>
                          <a:pt x="114" y="125"/>
                        </a:lnTo>
                        <a:lnTo>
                          <a:pt x="118" y="127"/>
                        </a:lnTo>
                        <a:lnTo>
                          <a:pt x="121" y="130"/>
                        </a:lnTo>
                        <a:lnTo>
                          <a:pt x="121" y="133"/>
                        </a:lnTo>
                        <a:lnTo>
                          <a:pt x="121" y="137"/>
                        </a:lnTo>
                        <a:lnTo>
                          <a:pt x="119" y="142"/>
                        </a:lnTo>
                        <a:lnTo>
                          <a:pt x="118" y="144"/>
                        </a:lnTo>
                        <a:lnTo>
                          <a:pt x="114" y="145"/>
                        </a:lnTo>
                        <a:lnTo>
                          <a:pt x="114" y="147"/>
                        </a:lnTo>
                        <a:lnTo>
                          <a:pt x="114" y="149"/>
                        </a:lnTo>
                        <a:lnTo>
                          <a:pt x="111" y="149"/>
                        </a:lnTo>
                        <a:lnTo>
                          <a:pt x="109" y="149"/>
                        </a:lnTo>
                        <a:lnTo>
                          <a:pt x="107" y="149"/>
                        </a:lnTo>
                        <a:lnTo>
                          <a:pt x="106" y="150"/>
                        </a:lnTo>
                        <a:lnTo>
                          <a:pt x="107" y="150"/>
                        </a:lnTo>
                        <a:lnTo>
                          <a:pt x="109" y="150"/>
                        </a:lnTo>
                        <a:lnTo>
                          <a:pt x="107" y="152"/>
                        </a:lnTo>
                        <a:lnTo>
                          <a:pt x="107" y="154"/>
                        </a:lnTo>
                        <a:lnTo>
                          <a:pt x="104" y="154"/>
                        </a:lnTo>
                        <a:lnTo>
                          <a:pt x="106" y="155"/>
                        </a:lnTo>
                        <a:lnTo>
                          <a:pt x="106" y="159"/>
                        </a:lnTo>
                        <a:lnTo>
                          <a:pt x="109" y="159"/>
                        </a:lnTo>
                        <a:lnTo>
                          <a:pt x="113" y="159"/>
                        </a:lnTo>
                        <a:lnTo>
                          <a:pt x="116" y="159"/>
                        </a:lnTo>
                        <a:lnTo>
                          <a:pt x="116" y="162"/>
                        </a:lnTo>
                        <a:lnTo>
                          <a:pt x="113" y="164"/>
                        </a:lnTo>
                        <a:lnTo>
                          <a:pt x="109" y="165"/>
                        </a:lnTo>
                        <a:lnTo>
                          <a:pt x="107" y="167"/>
                        </a:lnTo>
                        <a:lnTo>
                          <a:pt x="104" y="167"/>
                        </a:lnTo>
                        <a:lnTo>
                          <a:pt x="99" y="169"/>
                        </a:lnTo>
                        <a:lnTo>
                          <a:pt x="96" y="169"/>
                        </a:lnTo>
                        <a:lnTo>
                          <a:pt x="92" y="169"/>
                        </a:lnTo>
                        <a:lnTo>
                          <a:pt x="91" y="169"/>
                        </a:lnTo>
                        <a:lnTo>
                          <a:pt x="84" y="171"/>
                        </a:lnTo>
                        <a:lnTo>
                          <a:pt x="82" y="171"/>
                        </a:lnTo>
                        <a:lnTo>
                          <a:pt x="80" y="169"/>
                        </a:lnTo>
                        <a:lnTo>
                          <a:pt x="79" y="169"/>
                        </a:lnTo>
                        <a:lnTo>
                          <a:pt x="77" y="169"/>
                        </a:lnTo>
                        <a:lnTo>
                          <a:pt x="75" y="169"/>
                        </a:lnTo>
                        <a:lnTo>
                          <a:pt x="74" y="167"/>
                        </a:lnTo>
                        <a:lnTo>
                          <a:pt x="74" y="169"/>
                        </a:lnTo>
                        <a:lnTo>
                          <a:pt x="72" y="171"/>
                        </a:lnTo>
                        <a:lnTo>
                          <a:pt x="70" y="171"/>
                        </a:lnTo>
                        <a:lnTo>
                          <a:pt x="67" y="171"/>
                        </a:lnTo>
                        <a:lnTo>
                          <a:pt x="64" y="171"/>
                        </a:lnTo>
                        <a:lnTo>
                          <a:pt x="64" y="172"/>
                        </a:lnTo>
                        <a:lnTo>
                          <a:pt x="62" y="174"/>
                        </a:lnTo>
                        <a:lnTo>
                          <a:pt x="59" y="172"/>
                        </a:lnTo>
                        <a:lnTo>
                          <a:pt x="57" y="174"/>
                        </a:lnTo>
                        <a:lnTo>
                          <a:pt x="55" y="174"/>
                        </a:lnTo>
                        <a:lnTo>
                          <a:pt x="54" y="172"/>
                        </a:lnTo>
                        <a:lnTo>
                          <a:pt x="52" y="172"/>
                        </a:lnTo>
                        <a:lnTo>
                          <a:pt x="50" y="171"/>
                        </a:lnTo>
                        <a:lnTo>
                          <a:pt x="47" y="172"/>
                        </a:lnTo>
                        <a:lnTo>
                          <a:pt x="43" y="172"/>
                        </a:lnTo>
                        <a:lnTo>
                          <a:pt x="42" y="172"/>
                        </a:lnTo>
                        <a:lnTo>
                          <a:pt x="40" y="172"/>
                        </a:lnTo>
                        <a:lnTo>
                          <a:pt x="40" y="176"/>
                        </a:lnTo>
                        <a:lnTo>
                          <a:pt x="38" y="179"/>
                        </a:lnTo>
                        <a:lnTo>
                          <a:pt x="37" y="181"/>
                        </a:lnTo>
                        <a:lnTo>
                          <a:pt x="35" y="181"/>
                        </a:lnTo>
                        <a:lnTo>
                          <a:pt x="33" y="179"/>
                        </a:lnTo>
                        <a:lnTo>
                          <a:pt x="32" y="179"/>
                        </a:lnTo>
                        <a:lnTo>
                          <a:pt x="30" y="179"/>
                        </a:lnTo>
                        <a:lnTo>
                          <a:pt x="28" y="179"/>
                        </a:lnTo>
                        <a:lnTo>
                          <a:pt x="27" y="179"/>
                        </a:lnTo>
                        <a:lnTo>
                          <a:pt x="23" y="179"/>
                        </a:lnTo>
                        <a:lnTo>
                          <a:pt x="21" y="179"/>
                        </a:lnTo>
                        <a:lnTo>
                          <a:pt x="20" y="181"/>
                        </a:lnTo>
                        <a:lnTo>
                          <a:pt x="16" y="182"/>
                        </a:lnTo>
                        <a:lnTo>
                          <a:pt x="15" y="184"/>
                        </a:lnTo>
                        <a:lnTo>
                          <a:pt x="15" y="186"/>
                        </a:lnTo>
                        <a:lnTo>
                          <a:pt x="13" y="184"/>
                        </a:lnTo>
                        <a:lnTo>
                          <a:pt x="11" y="184"/>
                        </a:lnTo>
                        <a:lnTo>
                          <a:pt x="8" y="184"/>
                        </a:lnTo>
                        <a:lnTo>
                          <a:pt x="6" y="186"/>
                        </a:lnTo>
                        <a:lnTo>
                          <a:pt x="6" y="184"/>
                        </a:lnTo>
                        <a:lnTo>
                          <a:pt x="8" y="182"/>
                        </a:lnTo>
                        <a:lnTo>
                          <a:pt x="10" y="181"/>
                        </a:lnTo>
                        <a:lnTo>
                          <a:pt x="13" y="181"/>
                        </a:lnTo>
                        <a:lnTo>
                          <a:pt x="15" y="177"/>
                        </a:lnTo>
                        <a:lnTo>
                          <a:pt x="16" y="176"/>
                        </a:lnTo>
                        <a:lnTo>
                          <a:pt x="20" y="172"/>
                        </a:lnTo>
                        <a:lnTo>
                          <a:pt x="23" y="169"/>
                        </a:lnTo>
                        <a:lnTo>
                          <a:pt x="27" y="165"/>
                        </a:lnTo>
                        <a:lnTo>
                          <a:pt x="28" y="164"/>
                        </a:lnTo>
                        <a:lnTo>
                          <a:pt x="30" y="162"/>
                        </a:lnTo>
                        <a:lnTo>
                          <a:pt x="35" y="160"/>
                        </a:lnTo>
                        <a:lnTo>
                          <a:pt x="38" y="160"/>
                        </a:lnTo>
                        <a:lnTo>
                          <a:pt x="43" y="160"/>
                        </a:lnTo>
                        <a:lnTo>
                          <a:pt x="47" y="160"/>
                        </a:lnTo>
                        <a:lnTo>
                          <a:pt x="48" y="159"/>
                        </a:lnTo>
                        <a:lnTo>
                          <a:pt x="48" y="157"/>
                        </a:lnTo>
                        <a:lnTo>
                          <a:pt x="50" y="155"/>
                        </a:lnTo>
                        <a:lnTo>
                          <a:pt x="54" y="154"/>
                        </a:lnTo>
                        <a:lnTo>
                          <a:pt x="55" y="152"/>
                        </a:lnTo>
                        <a:lnTo>
                          <a:pt x="54" y="150"/>
                        </a:lnTo>
                        <a:lnTo>
                          <a:pt x="52" y="150"/>
                        </a:lnTo>
                        <a:lnTo>
                          <a:pt x="50" y="152"/>
                        </a:lnTo>
                        <a:lnTo>
                          <a:pt x="48" y="154"/>
                        </a:lnTo>
                        <a:lnTo>
                          <a:pt x="47" y="154"/>
                        </a:lnTo>
                        <a:lnTo>
                          <a:pt x="45" y="155"/>
                        </a:lnTo>
                        <a:lnTo>
                          <a:pt x="43" y="157"/>
                        </a:lnTo>
                        <a:lnTo>
                          <a:pt x="40" y="157"/>
                        </a:lnTo>
                        <a:lnTo>
                          <a:pt x="38" y="157"/>
                        </a:lnTo>
                        <a:lnTo>
                          <a:pt x="38" y="155"/>
                        </a:lnTo>
                        <a:lnTo>
                          <a:pt x="35" y="154"/>
                        </a:lnTo>
                        <a:lnTo>
                          <a:pt x="35" y="152"/>
                        </a:lnTo>
                        <a:lnTo>
                          <a:pt x="33" y="152"/>
                        </a:lnTo>
                        <a:lnTo>
                          <a:pt x="32" y="154"/>
                        </a:lnTo>
                        <a:lnTo>
                          <a:pt x="28" y="154"/>
                        </a:lnTo>
                        <a:lnTo>
                          <a:pt x="27" y="152"/>
                        </a:lnTo>
                        <a:lnTo>
                          <a:pt x="27" y="150"/>
                        </a:lnTo>
                        <a:lnTo>
                          <a:pt x="27" y="149"/>
                        </a:lnTo>
                        <a:lnTo>
                          <a:pt x="25" y="149"/>
                        </a:lnTo>
                        <a:lnTo>
                          <a:pt x="21" y="150"/>
                        </a:lnTo>
                        <a:lnTo>
                          <a:pt x="20" y="152"/>
                        </a:lnTo>
                        <a:lnTo>
                          <a:pt x="18" y="152"/>
                        </a:lnTo>
                        <a:lnTo>
                          <a:pt x="16" y="152"/>
                        </a:lnTo>
                        <a:lnTo>
                          <a:pt x="15" y="152"/>
                        </a:lnTo>
                        <a:lnTo>
                          <a:pt x="15" y="150"/>
                        </a:lnTo>
                        <a:lnTo>
                          <a:pt x="13" y="149"/>
                        </a:lnTo>
                        <a:lnTo>
                          <a:pt x="13" y="147"/>
                        </a:lnTo>
                        <a:lnTo>
                          <a:pt x="15" y="147"/>
                        </a:lnTo>
                        <a:lnTo>
                          <a:pt x="18" y="145"/>
                        </a:lnTo>
                        <a:lnTo>
                          <a:pt x="21" y="144"/>
                        </a:lnTo>
                        <a:lnTo>
                          <a:pt x="23" y="142"/>
                        </a:lnTo>
                        <a:lnTo>
                          <a:pt x="27" y="140"/>
                        </a:lnTo>
                        <a:lnTo>
                          <a:pt x="30" y="138"/>
                        </a:lnTo>
                        <a:lnTo>
                          <a:pt x="32" y="135"/>
                        </a:lnTo>
                        <a:lnTo>
                          <a:pt x="33" y="133"/>
                        </a:lnTo>
                        <a:lnTo>
                          <a:pt x="32" y="132"/>
                        </a:lnTo>
                        <a:lnTo>
                          <a:pt x="30" y="132"/>
                        </a:lnTo>
                        <a:lnTo>
                          <a:pt x="30" y="130"/>
                        </a:lnTo>
                        <a:lnTo>
                          <a:pt x="30" y="127"/>
                        </a:lnTo>
                        <a:lnTo>
                          <a:pt x="30" y="125"/>
                        </a:lnTo>
                        <a:lnTo>
                          <a:pt x="27" y="125"/>
                        </a:lnTo>
                        <a:lnTo>
                          <a:pt x="23" y="127"/>
                        </a:lnTo>
                        <a:lnTo>
                          <a:pt x="21" y="127"/>
                        </a:lnTo>
                        <a:lnTo>
                          <a:pt x="25" y="123"/>
                        </a:lnTo>
                        <a:lnTo>
                          <a:pt x="28" y="122"/>
                        </a:lnTo>
                        <a:lnTo>
                          <a:pt x="32" y="118"/>
                        </a:lnTo>
                        <a:lnTo>
                          <a:pt x="35" y="117"/>
                        </a:lnTo>
                        <a:lnTo>
                          <a:pt x="40" y="117"/>
                        </a:lnTo>
                        <a:lnTo>
                          <a:pt x="43" y="117"/>
                        </a:lnTo>
                        <a:lnTo>
                          <a:pt x="47" y="117"/>
                        </a:lnTo>
                        <a:lnTo>
                          <a:pt x="48" y="115"/>
                        </a:lnTo>
                        <a:lnTo>
                          <a:pt x="48" y="113"/>
                        </a:lnTo>
                        <a:lnTo>
                          <a:pt x="47" y="113"/>
                        </a:lnTo>
                        <a:lnTo>
                          <a:pt x="47" y="112"/>
                        </a:lnTo>
                        <a:lnTo>
                          <a:pt x="48" y="110"/>
                        </a:lnTo>
                        <a:lnTo>
                          <a:pt x="50" y="108"/>
                        </a:lnTo>
                        <a:lnTo>
                          <a:pt x="48" y="106"/>
                        </a:lnTo>
                        <a:lnTo>
                          <a:pt x="47" y="106"/>
                        </a:lnTo>
                        <a:lnTo>
                          <a:pt x="48" y="105"/>
                        </a:lnTo>
                        <a:lnTo>
                          <a:pt x="50" y="103"/>
                        </a:lnTo>
                        <a:lnTo>
                          <a:pt x="50" y="101"/>
                        </a:lnTo>
                        <a:lnTo>
                          <a:pt x="50" y="98"/>
                        </a:lnTo>
                        <a:lnTo>
                          <a:pt x="52" y="98"/>
                        </a:lnTo>
                        <a:lnTo>
                          <a:pt x="50" y="96"/>
                        </a:lnTo>
                        <a:lnTo>
                          <a:pt x="48" y="100"/>
                        </a:lnTo>
                        <a:lnTo>
                          <a:pt x="45" y="100"/>
                        </a:lnTo>
                        <a:lnTo>
                          <a:pt x="43" y="100"/>
                        </a:lnTo>
                        <a:lnTo>
                          <a:pt x="43" y="98"/>
                        </a:lnTo>
                        <a:lnTo>
                          <a:pt x="42" y="98"/>
                        </a:lnTo>
                        <a:lnTo>
                          <a:pt x="42" y="96"/>
                        </a:lnTo>
                        <a:lnTo>
                          <a:pt x="42" y="98"/>
                        </a:lnTo>
                        <a:lnTo>
                          <a:pt x="40" y="96"/>
                        </a:lnTo>
                        <a:lnTo>
                          <a:pt x="40" y="95"/>
                        </a:lnTo>
                        <a:lnTo>
                          <a:pt x="38" y="93"/>
                        </a:lnTo>
                        <a:lnTo>
                          <a:pt x="38" y="91"/>
                        </a:lnTo>
                        <a:lnTo>
                          <a:pt x="38" y="90"/>
                        </a:lnTo>
                        <a:lnTo>
                          <a:pt x="40" y="88"/>
                        </a:lnTo>
                        <a:lnTo>
                          <a:pt x="40" y="86"/>
                        </a:lnTo>
                        <a:lnTo>
                          <a:pt x="42" y="85"/>
                        </a:lnTo>
                        <a:lnTo>
                          <a:pt x="43" y="83"/>
                        </a:lnTo>
                        <a:lnTo>
                          <a:pt x="45" y="83"/>
                        </a:lnTo>
                        <a:lnTo>
                          <a:pt x="47" y="81"/>
                        </a:lnTo>
                        <a:lnTo>
                          <a:pt x="43" y="81"/>
                        </a:lnTo>
                        <a:lnTo>
                          <a:pt x="42" y="81"/>
                        </a:lnTo>
                        <a:lnTo>
                          <a:pt x="40" y="81"/>
                        </a:lnTo>
                        <a:lnTo>
                          <a:pt x="38" y="83"/>
                        </a:lnTo>
                        <a:lnTo>
                          <a:pt x="37" y="83"/>
                        </a:lnTo>
                        <a:lnTo>
                          <a:pt x="35" y="83"/>
                        </a:lnTo>
                        <a:lnTo>
                          <a:pt x="35" y="85"/>
                        </a:lnTo>
                        <a:lnTo>
                          <a:pt x="33" y="85"/>
                        </a:lnTo>
                        <a:lnTo>
                          <a:pt x="30" y="85"/>
                        </a:lnTo>
                        <a:lnTo>
                          <a:pt x="28" y="85"/>
                        </a:lnTo>
                        <a:lnTo>
                          <a:pt x="27" y="85"/>
                        </a:lnTo>
                        <a:lnTo>
                          <a:pt x="27" y="86"/>
                        </a:lnTo>
                        <a:lnTo>
                          <a:pt x="25" y="88"/>
                        </a:lnTo>
                        <a:lnTo>
                          <a:pt x="23" y="86"/>
                        </a:lnTo>
                        <a:lnTo>
                          <a:pt x="21" y="85"/>
                        </a:lnTo>
                        <a:lnTo>
                          <a:pt x="18" y="85"/>
                        </a:lnTo>
                        <a:lnTo>
                          <a:pt x="18" y="88"/>
                        </a:lnTo>
                        <a:lnTo>
                          <a:pt x="16" y="88"/>
                        </a:lnTo>
                        <a:lnTo>
                          <a:pt x="15" y="85"/>
                        </a:lnTo>
                        <a:lnTo>
                          <a:pt x="13" y="83"/>
                        </a:lnTo>
                        <a:lnTo>
                          <a:pt x="15" y="81"/>
                        </a:lnTo>
                        <a:lnTo>
                          <a:pt x="16" y="83"/>
                        </a:lnTo>
                        <a:lnTo>
                          <a:pt x="16" y="79"/>
                        </a:lnTo>
                        <a:lnTo>
                          <a:pt x="16" y="78"/>
                        </a:lnTo>
                        <a:lnTo>
                          <a:pt x="18" y="74"/>
                        </a:lnTo>
                        <a:lnTo>
                          <a:pt x="20" y="73"/>
                        </a:lnTo>
                        <a:lnTo>
                          <a:pt x="21" y="69"/>
                        </a:lnTo>
                        <a:lnTo>
                          <a:pt x="21" y="68"/>
                        </a:lnTo>
                        <a:lnTo>
                          <a:pt x="20" y="66"/>
                        </a:lnTo>
                        <a:lnTo>
                          <a:pt x="18" y="66"/>
                        </a:lnTo>
                        <a:lnTo>
                          <a:pt x="18" y="64"/>
                        </a:lnTo>
                        <a:lnTo>
                          <a:pt x="18" y="63"/>
                        </a:lnTo>
                        <a:lnTo>
                          <a:pt x="20" y="61"/>
                        </a:lnTo>
                        <a:lnTo>
                          <a:pt x="20" y="59"/>
                        </a:lnTo>
                        <a:lnTo>
                          <a:pt x="21" y="59"/>
                        </a:lnTo>
                        <a:lnTo>
                          <a:pt x="20" y="58"/>
                        </a:lnTo>
                        <a:lnTo>
                          <a:pt x="18" y="58"/>
                        </a:lnTo>
                        <a:lnTo>
                          <a:pt x="16" y="58"/>
                        </a:lnTo>
                        <a:lnTo>
                          <a:pt x="16" y="59"/>
                        </a:lnTo>
                        <a:lnTo>
                          <a:pt x="16" y="61"/>
                        </a:lnTo>
                        <a:lnTo>
                          <a:pt x="15" y="59"/>
                        </a:lnTo>
                        <a:lnTo>
                          <a:pt x="13" y="61"/>
                        </a:lnTo>
                        <a:lnTo>
                          <a:pt x="11" y="63"/>
                        </a:lnTo>
                        <a:lnTo>
                          <a:pt x="11" y="61"/>
                        </a:lnTo>
                        <a:lnTo>
                          <a:pt x="11" y="59"/>
                        </a:lnTo>
                        <a:lnTo>
                          <a:pt x="13" y="58"/>
                        </a:lnTo>
                        <a:lnTo>
                          <a:pt x="15" y="56"/>
                        </a:lnTo>
                        <a:lnTo>
                          <a:pt x="15" y="54"/>
                        </a:lnTo>
                        <a:lnTo>
                          <a:pt x="13" y="54"/>
                        </a:lnTo>
                        <a:lnTo>
                          <a:pt x="11" y="56"/>
                        </a:lnTo>
                        <a:lnTo>
                          <a:pt x="11" y="58"/>
                        </a:lnTo>
                        <a:lnTo>
                          <a:pt x="10" y="58"/>
                        </a:lnTo>
                        <a:lnTo>
                          <a:pt x="10" y="59"/>
                        </a:lnTo>
                        <a:lnTo>
                          <a:pt x="11" y="61"/>
                        </a:lnTo>
                        <a:lnTo>
                          <a:pt x="11" y="63"/>
                        </a:lnTo>
                        <a:lnTo>
                          <a:pt x="11" y="64"/>
                        </a:lnTo>
                        <a:lnTo>
                          <a:pt x="10" y="66"/>
                        </a:lnTo>
                        <a:lnTo>
                          <a:pt x="10" y="68"/>
                        </a:lnTo>
                        <a:lnTo>
                          <a:pt x="8" y="69"/>
                        </a:lnTo>
                        <a:lnTo>
                          <a:pt x="6" y="73"/>
                        </a:lnTo>
                        <a:lnTo>
                          <a:pt x="6" y="74"/>
                        </a:lnTo>
                        <a:lnTo>
                          <a:pt x="5" y="74"/>
                        </a:lnTo>
                        <a:lnTo>
                          <a:pt x="5" y="73"/>
                        </a:lnTo>
                        <a:lnTo>
                          <a:pt x="5" y="71"/>
                        </a:lnTo>
                        <a:lnTo>
                          <a:pt x="5" y="69"/>
                        </a:lnTo>
                        <a:lnTo>
                          <a:pt x="6" y="68"/>
                        </a:lnTo>
                        <a:lnTo>
                          <a:pt x="8" y="66"/>
                        </a:lnTo>
                        <a:lnTo>
                          <a:pt x="8" y="64"/>
                        </a:lnTo>
                        <a:lnTo>
                          <a:pt x="8" y="63"/>
                        </a:lnTo>
                        <a:lnTo>
                          <a:pt x="6" y="63"/>
                        </a:lnTo>
                        <a:lnTo>
                          <a:pt x="6" y="61"/>
                        </a:lnTo>
                        <a:lnTo>
                          <a:pt x="6" y="59"/>
                        </a:lnTo>
                        <a:lnTo>
                          <a:pt x="6" y="58"/>
                        </a:lnTo>
                        <a:lnTo>
                          <a:pt x="8" y="56"/>
                        </a:lnTo>
                        <a:lnTo>
                          <a:pt x="8" y="54"/>
                        </a:lnTo>
                        <a:lnTo>
                          <a:pt x="8" y="53"/>
                        </a:lnTo>
                        <a:lnTo>
                          <a:pt x="10" y="51"/>
                        </a:lnTo>
                        <a:lnTo>
                          <a:pt x="10" y="49"/>
                        </a:lnTo>
                        <a:lnTo>
                          <a:pt x="11" y="47"/>
                        </a:lnTo>
                        <a:lnTo>
                          <a:pt x="11" y="46"/>
                        </a:lnTo>
                        <a:lnTo>
                          <a:pt x="11" y="44"/>
                        </a:lnTo>
                        <a:lnTo>
                          <a:pt x="10" y="46"/>
                        </a:lnTo>
                        <a:lnTo>
                          <a:pt x="8" y="47"/>
                        </a:lnTo>
                        <a:lnTo>
                          <a:pt x="6" y="47"/>
                        </a:lnTo>
                        <a:lnTo>
                          <a:pt x="6" y="49"/>
                        </a:lnTo>
                        <a:lnTo>
                          <a:pt x="5" y="47"/>
                        </a:lnTo>
                        <a:lnTo>
                          <a:pt x="3" y="47"/>
                        </a:lnTo>
                        <a:lnTo>
                          <a:pt x="1" y="46"/>
                        </a:lnTo>
                        <a:lnTo>
                          <a:pt x="1" y="44"/>
                        </a:lnTo>
                        <a:lnTo>
                          <a:pt x="0" y="44"/>
                        </a:lnTo>
                        <a:lnTo>
                          <a:pt x="0" y="42"/>
                        </a:lnTo>
                        <a:lnTo>
                          <a:pt x="1" y="42"/>
                        </a:lnTo>
                        <a:lnTo>
                          <a:pt x="3" y="42"/>
                        </a:lnTo>
                        <a:lnTo>
                          <a:pt x="3" y="41"/>
                        </a:lnTo>
                        <a:lnTo>
                          <a:pt x="3" y="39"/>
                        </a:lnTo>
                        <a:lnTo>
                          <a:pt x="5" y="37"/>
                        </a:lnTo>
                        <a:lnTo>
                          <a:pt x="5" y="36"/>
                        </a:lnTo>
                        <a:lnTo>
                          <a:pt x="6" y="34"/>
                        </a:lnTo>
                        <a:lnTo>
                          <a:pt x="6" y="32"/>
                        </a:lnTo>
                        <a:lnTo>
                          <a:pt x="8" y="31"/>
                        </a:lnTo>
                        <a:lnTo>
                          <a:pt x="8" y="29"/>
                        </a:lnTo>
                        <a:lnTo>
                          <a:pt x="6" y="29"/>
                        </a:lnTo>
                        <a:lnTo>
                          <a:pt x="8" y="29"/>
                        </a:lnTo>
                        <a:lnTo>
                          <a:pt x="8" y="27"/>
                        </a:lnTo>
                        <a:lnTo>
                          <a:pt x="5" y="29"/>
                        </a:lnTo>
                        <a:lnTo>
                          <a:pt x="3" y="29"/>
                        </a:lnTo>
                        <a:lnTo>
                          <a:pt x="3" y="27"/>
                        </a:lnTo>
                        <a:lnTo>
                          <a:pt x="3" y="26"/>
                        </a:lnTo>
                        <a:lnTo>
                          <a:pt x="5" y="24"/>
                        </a:lnTo>
                        <a:lnTo>
                          <a:pt x="6" y="24"/>
                        </a:lnTo>
                        <a:lnTo>
                          <a:pt x="5" y="24"/>
                        </a:lnTo>
                        <a:lnTo>
                          <a:pt x="5" y="22"/>
                        </a:lnTo>
                        <a:lnTo>
                          <a:pt x="5" y="20"/>
                        </a:lnTo>
                        <a:lnTo>
                          <a:pt x="5" y="19"/>
                        </a:lnTo>
                        <a:lnTo>
                          <a:pt x="6" y="19"/>
                        </a:lnTo>
                        <a:lnTo>
                          <a:pt x="6" y="17"/>
                        </a:lnTo>
                        <a:lnTo>
                          <a:pt x="8" y="17"/>
                        </a:lnTo>
                        <a:lnTo>
                          <a:pt x="10" y="17"/>
                        </a:lnTo>
                        <a:lnTo>
                          <a:pt x="11" y="15"/>
                        </a:lnTo>
                        <a:lnTo>
                          <a:pt x="13" y="15"/>
                        </a:lnTo>
                        <a:lnTo>
                          <a:pt x="11" y="14"/>
                        </a:lnTo>
                        <a:lnTo>
                          <a:pt x="10" y="14"/>
                        </a:lnTo>
                        <a:lnTo>
                          <a:pt x="10" y="12"/>
                        </a:lnTo>
                        <a:lnTo>
                          <a:pt x="11" y="12"/>
                        </a:lnTo>
                        <a:lnTo>
                          <a:pt x="11" y="10"/>
                        </a:lnTo>
                        <a:lnTo>
                          <a:pt x="11" y="9"/>
                        </a:lnTo>
                        <a:close/>
                      </a:path>
                    </a:pathLst>
                  </a:custGeom>
                  <a:solidFill>
                    <a:srgbClr val="EB1562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07" name="Group 1706">
                  <a:extLst>
                    <a:ext uri="{FF2B5EF4-FFF2-40B4-BE49-F238E27FC236}">
                      <a16:creationId xmlns:a16="http://schemas.microsoft.com/office/drawing/2014/main" id="{FDB47648-A059-4A45-A146-4BA8742E02A1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40" y="489"/>
                  <a:ext cx="5" cy="3"/>
                  <a:chOff x="140" y="489"/>
                  <a:chExt cx="5" cy="3"/>
                </a:xfrm>
              </p:grpSpPr>
              <p:sp>
                <p:nvSpPr>
                  <p:cNvPr id="1729" name="Freeform 103">
                    <a:extLst>
                      <a:ext uri="{FF2B5EF4-FFF2-40B4-BE49-F238E27FC236}">
                        <a16:creationId xmlns:a16="http://schemas.microsoft.com/office/drawing/2014/main" id="{9C7E97B0-41E8-134F-AD7F-7E51F8AE888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0" y="489"/>
                    <a:ext cx="5" cy="3"/>
                  </a:xfrm>
                  <a:custGeom>
                    <a:avLst/>
                    <a:gdLst>
                      <a:gd name="T0" fmla="*/ 5 w 5"/>
                      <a:gd name="T1" fmla="*/ 1 h 3"/>
                      <a:gd name="T2" fmla="*/ 3 w 5"/>
                      <a:gd name="T3" fmla="*/ 3 h 3"/>
                      <a:gd name="T4" fmla="*/ 2 w 5"/>
                      <a:gd name="T5" fmla="*/ 3 h 3"/>
                      <a:gd name="T6" fmla="*/ 0 w 5"/>
                      <a:gd name="T7" fmla="*/ 1 h 3"/>
                      <a:gd name="T8" fmla="*/ 2 w 5"/>
                      <a:gd name="T9" fmla="*/ 0 h 3"/>
                      <a:gd name="T10" fmla="*/ 3 w 5"/>
                      <a:gd name="T11" fmla="*/ 0 h 3"/>
                      <a:gd name="T12" fmla="*/ 5 w 5"/>
                      <a:gd name="T13" fmla="*/ 1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" h="3">
                        <a:moveTo>
                          <a:pt x="5" y="1"/>
                        </a:moveTo>
                        <a:lnTo>
                          <a:pt x="3" y="3"/>
                        </a:lnTo>
                        <a:lnTo>
                          <a:pt x="2" y="3"/>
                        </a:lnTo>
                        <a:lnTo>
                          <a:pt x="0" y="1"/>
                        </a:lnTo>
                        <a:lnTo>
                          <a:pt x="2" y="0"/>
                        </a:lnTo>
                        <a:lnTo>
                          <a:pt x="3" y="0"/>
                        </a:lnTo>
                        <a:lnTo>
                          <a:pt x="5" y="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30" name="Freeform 104">
                    <a:extLst>
                      <a:ext uri="{FF2B5EF4-FFF2-40B4-BE49-F238E27FC236}">
                        <a16:creationId xmlns:a16="http://schemas.microsoft.com/office/drawing/2014/main" id="{4F668DA3-1CE5-AF42-AB38-8543B314E69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0" y="489"/>
                    <a:ext cx="5" cy="3"/>
                  </a:xfrm>
                  <a:custGeom>
                    <a:avLst/>
                    <a:gdLst>
                      <a:gd name="T0" fmla="*/ 5 w 5"/>
                      <a:gd name="T1" fmla="*/ 1 h 3"/>
                      <a:gd name="T2" fmla="*/ 3 w 5"/>
                      <a:gd name="T3" fmla="*/ 3 h 3"/>
                      <a:gd name="T4" fmla="*/ 2 w 5"/>
                      <a:gd name="T5" fmla="*/ 3 h 3"/>
                      <a:gd name="T6" fmla="*/ 0 w 5"/>
                      <a:gd name="T7" fmla="*/ 1 h 3"/>
                      <a:gd name="T8" fmla="*/ 2 w 5"/>
                      <a:gd name="T9" fmla="*/ 0 h 3"/>
                      <a:gd name="T10" fmla="*/ 3 w 5"/>
                      <a:gd name="T11" fmla="*/ 0 h 3"/>
                      <a:gd name="T12" fmla="*/ 5 w 5"/>
                      <a:gd name="T13" fmla="*/ 1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" h="3">
                        <a:moveTo>
                          <a:pt x="5" y="1"/>
                        </a:moveTo>
                        <a:lnTo>
                          <a:pt x="3" y="3"/>
                        </a:lnTo>
                        <a:lnTo>
                          <a:pt x="2" y="3"/>
                        </a:lnTo>
                        <a:lnTo>
                          <a:pt x="0" y="1"/>
                        </a:lnTo>
                        <a:lnTo>
                          <a:pt x="2" y="0"/>
                        </a:lnTo>
                        <a:lnTo>
                          <a:pt x="3" y="0"/>
                        </a:lnTo>
                        <a:lnTo>
                          <a:pt x="5" y="1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08" name="Group 1707">
                  <a:extLst>
                    <a:ext uri="{FF2B5EF4-FFF2-40B4-BE49-F238E27FC236}">
                      <a16:creationId xmlns:a16="http://schemas.microsoft.com/office/drawing/2014/main" id="{525F8905-8F4F-634F-9EA6-9ED448329C51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93" y="433"/>
                  <a:ext cx="5" cy="3"/>
                  <a:chOff x="93" y="433"/>
                  <a:chExt cx="5" cy="3"/>
                </a:xfrm>
              </p:grpSpPr>
              <p:sp>
                <p:nvSpPr>
                  <p:cNvPr id="1727" name="Freeform 101">
                    <a:extLst>
                      <a:ext uri="{FF2B5EF4-FFF2-40B4-BE49-F238E27FC236}">
                        <a16:creationId xmlns:a16="http://schemas.microsoft.com/office/drawing/2014/main" id="{BD59EB38-D997-F545-87C7-D841E7389D7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3" y="433"/>
                    <a:ext cx="5" cy="3"/>
                  </a:xfrm>
                  <a:custGeom>
                    <a:avLst/>
                    <a:gdLst>
                      <a:gd name="T0" fmla="*/ 0 w 5"/>
                      <a:gd name="T1" fmla="*/ 0 h 3"/>
                      <a:gd name="T2" fmla="*/ 2 w 5"/>
                      <a:gd name="T3" fmla="*/ 0 h 3"/>
                      <a:gd name="T4" fmla="*/ 3 w 5"/>
                      <a:gd name="T5" fmla="*/ 2 h 3"/>
                      <a:gd name="T6" fmla="*/ 5 w 5"/>
                      <a:gd name="T7" fmla="*/ 2 h 3"/>
                      <a:gd name="T8" fmla="*/ 3 w 5"/>
                      <a:gd name="T9" fmla="*/ 3 h 3"/>
                      <a:gd name="T10" fmla="*/ 0 w 5"/>
                      <a:gd name="T11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" h="3">
                        <a:moveTo>
                          <a:pt x="0" y="0"/>
                        </a:moveTo>
                        <a:lnTo>
                          <a:pt x="2" y="0"/>
                        </a:lnTo>
                        <a:lnTo>
                          <a:pt x="3" y="2"/>
                        </a:lnTo>
                        <a:lnTo>
                          <a:pt x="5" y="2"/>
                        </a:lnTo>
                        <a:lnTo>
                          <a:pt x="3" y="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28" name="Freeform 102">
                    <a:extLst>
                      <a:ext uri="{FF2B5EF4-FFF2-40B4-BE49-F238E27FC236}">
                        <a16:creationId xmlns:a16="http://schemas.microsoft.com/office/drawing/2014/main" id="{453B4B14-E625-9F4B-BAC1-9FACBD22111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3" y="433"/>
                    <a:ext cx="5" cy="3"/>
                  </a:xfrm>
                  <a:custGeom>
                    <a:avLst/>
                    <a:gdLst>
                      <a:gd name="T0" fmla="*/ 0 w 5"/>
                      <a:gd name="T1" fmla="*/ 0 h 3"/>
                      <a:gd name="T2" fmla="*/ 2 w 5"/>
                      <a:gd name="T3" fmla="*/ 0 h 3"/>
                      <a:gd name="T4" fmla="*/ 3 w 5"/>
                      <a:gd name="T5" fmla="*/ 2 h 3"/>
                      <a:gd name="T6" fmla="*/ 5 w 5"/>
                      <a:gd name="T7" fmla="*/ 2 h 3"/>
                      <a:gd name="T8" fmla="*/ 3 w 5"/>
                      <a:gd name="T9" fmla="*/ 3 h 3"/>
                      <a:gd name="T10" fmla="*/ 0 w 5"/>
                      <a:gd name="T11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" h="3">
                        <a:moveTo>
                          <a:pt x="0" y="0"/>
                        </a:moveTo>
                        <a:lnTo>
                          <a:pt x="2" y="0"/>
                        </a:lnTo>
                        <a:lnTo>
                          <a:pt x="3" y="2"/>
                        </a:lnTo>
                        <a:lnTo>
                          <a:pt x="5" y="2"/>
                        </a:lnTo>
                        <a:lnTo>
                          <a:pt x="3" y="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09" name="Group 1708">
                  <a:extLst>
                    <a:ext uri="{FF2B5EF4-FFF2-40B4-BE49-F238E27FC236}">
                      <a16:creationId xmlns:a16="http://schemas.microsoft.com/office/drawing/2014/main" id="{E0D5828C-9AAF-EA43-82BE-19F378CAB64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79" y="384"/>
                  <a:ext cx="4" cy="5"/>
                  <a:chOff x="79" y="384"/>
                  <a:chExt cx="4" cy="5"/>
                </a:xfrm>
              </p:grpSpPr>
              <p:sp>
                <p:nvSpPr>
                  <p:cNvPr id="1725" name="Freeform 99">
                    <a:extLst>
                      <a:ext uri="{FF2B5EF4-FFF2-40B4-BE49-F238E27FC236}">
                        <a16:creationId xmlns:a16="http://schemas.microsoft.com/office/drawing/2014/main" id="{DB4D540D-CB65-DD44-8628-3696F604717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9" y="384"/>
                    <a:ext cx="4" cy="5"/>
                  </a:xfrm>
                  <a:custGeom>
                    <a:avLst/>
                    <a:gdLst>
                      <a:gd name="T0" fmla="*/ 0 w 4"/>
                      <a:gd name="T1" fmla="*/ 0 h 5"/>
                      <a:gd name="T2" fmla="*/ 2 w 4"/>
                      <a:gd name="T3" fmla="*/ 0 h 5"/>
                      <a:gd name="T4" fmla="*/ 4 w 4"/>
                      <a:gd name="T5" fmla="*/ 0 h 5"/>
                      <a:gd name="T6" fmla="*/ 4 w 4"/>
                      <a:gd name="T7" fmla="*/ 2 h 5"/>
                      <a:gd name="T8" fmla="*/ 4 w 4"/>
                      <a:gd name="T9" fmla="*/ 3 h 5"/>
                      <a:gd name="T10" fmla="*/ 2 w 4"/>
                      <a:gd name="T11" fmla="*/ 5 h 5"/>
                      <a:gd name="T12" fmla="*/ 0 w 4"/>
                      <a:gd name="T13" fmla="*/ 3 h 5"/>
                      <a:gd name="T14" fmla="*/ 0 w 4"/>
                      <a:gd name="T15" fmla="*/ 2 h 5"/>
                      <a:gd name="T16" fmla="*/ 0 w 4"/>
                      <a:gd name="T17" fmla="*/ 0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" h="5">
                        <a:moveTo>
                          <a:pt x="0" y="0"/>
                        </a:moveTo>
                        <a:lnTo>
                          <a:pt x="2" y="0"/>
                        </a:lnTo>
                        <a:lnTo>
                          <a:pt x="4" y="0"/>
                        </a:lnTo>
                        <a:lnTo>
                          <a:pt x="4" y="2"/>
                        </a:lnTo>
                        <a:lnTo>
                          <a:pt x="4" y="3"/>
                        </a:lnTo>
                        <a:lnTo>
                          <a:pt x="2" y="5"/>
                        </a:lnTo>
                        <a:lnTo>
                          <a:pt x="0" y="3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26" name="Freeform 100">
                    <a:extLst>
                      <a:ext uri="{FF2B5EF4-FFF2-40B4-BE49-F238E27FC236}">
                        <a16:creationId xmlns:a16="http://schemas.microsoft.com/office/drawing/2014/main" id="{5AEAD59D-0DDA-394B-978F-AB9597D35D7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9" y="384"/>
                    <a:ext cx="4" cy="5"/>
                  </a:xfrm>
                  <a:custGeom>
                    <a:avLst/>
                    <a:gdLst>
                      <a:gd name="T0" fmla="*/ 0 w 4"/>
                      <a:gd name="T1" fmla="*/ 0 h 5"/>
                      <a:gd name="T2" fmla="*/ 2 w 4"/>
                      <a:gd name="T3" fmla="*/ 0 h 5"/>
                      <a:gd name="T4" fmla="*/ 4 w 4"/>
                      <a:gd name="T5" fmla="*/ 0 h 5"/>
                      <a:gd name="T6" fmla="*/ 4 w 4"/>
                      <a:gd name="T7" fmla="*/ 2 h 5"/>
                      <a:gd name="T8" fmla="*/ 4 w 4"/>
                      <a:gd name="T9" fmla="*/ 3 h 5"/>
                      <a:gd name="T10" fmla="*/ 2 w 4"/>
                      <a:gd name="T11" fmla="*/ 5 h 5"/>
                      <a:gd name="T12" fmla="*/ 0 w 4"/>
                      <a:gd name="T13" fmla="*/ 3 h 5"/>
                      <a:gd name="T14" fmla="*/ 0 w 4"/>
                      <a:gd name="T15" fmla="*/ 2 h 5"/>
                      <a:gd name="T16" fmla="*/ 0 w 4"/>
                      <a:gd name="T17" fmla="*/ 0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" h="5">
                        <a:moveTo>
                          <a:pt x="0" y="0"/>
                        </a:moveTo>
                        <a:lnTo>
                          <a:pt x="2" y="0"/>
                        </a:lnTo>
                        <a:lnTo>
                          <a:pt x="4" y="0"/>
                        </a:lnTo>
                        <a:lnTo>
                          <a:pt x="4" y="2"/>
                        </a:lnTo>
                        <a:lnTo>
                          <a:pt x="4" y="3"/>
                        </a:lnTo>
                        <a:lnTo>
                          <a:pt x="2" y="5"/>
                        </a:lnTo>
                        <a:lnTo>
                          <a:pt x="0" y="3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10" name="Group 1709">
                  <a:extLst>
                    <a:ext uri="{FF2B5EF4-FFF2-40B4-BE49-F238E27FC236}">
                      <a16:creationId xmlns:a16="http://schemas.microsoft.com/office/drawing/2014/main" id="{7D38EB4A-2DD8-A24A-B9C4-542A22AC5660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61" y="379"/>
                  <a:ext cx="7" cy="7"/>
                  <a:chOff x="61" y="379"/>
                  <a:chExt cx="7" cy="7"/>
                </a:xfrm>
              </p:grpSpPr>
              <p:sp>
                <p:nvSpPr>
                  <p:cNvPr id="1723" name="Freeform 97">
                    <a:extLst>
                      <a:ext uri="{FF2B5EF4-FFF2-40B4-BE49-F238E27FC236}">
                        <a16:creationId xmlns:a16="http://schemas.microsoft.com/office/drawing/2014/main" id="{EF435F44-8AD4-5A43-901F-D2AAE82E742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" y="379"/>
                    <a:ext cx="7" cy="7"/>
                  </a:xfrm>
                  <a:custGeom>
                    <a:avLst/>
                    <a:gdLst>
                      <a:gd name="T0" fmla="*/ 5 w 7"/>
                      <a:gd name="T1" fmla="*/ 0 h 7"/>
                      <a:gd name="T2" fmla="*/ 5 w 7"/>
                      <a:gd name="T3" fmla="*/ 2 h 7"/>
                      <a:gd name="T4" fmla="*/ 7 w 7"/>
                      <a:gd name="T5" fmla="*/ 3 h 7"/>
                      <a:gd name="T6" fmla="*/ 7 w 7"/>
                      <a:gd name="T7" fmla="*/ 5 h 7"/>
                      <a:gd name="T8" fmla="*/ 3 w 7"/>
                      <a:gd name="T9" fmla="*/ 7 h 7"/>
                      <a:gd name="T10" fmla="*/ 3 w 7"/>
                      <a:gd name="T11" fmla="*/ 5 h 7"/>
                      <a:gd name="T12" fmla="*/ 3 w 7"/>
                      <a:gd name="T13" fmla="*/ 3 h 7"/>
                      <a:gd name="T14" fmla="*/ 2 w 7"/>
                      <a:gd name="T15" fmla="*/ 3 h 7"/>
                      <a:gd name="T16" fmla="*/ 0 w 7"/>
                      <a:gd name="T17" fmla="*/ 5 h 7"/>
                      <a:gd name="T18" fmla="*/ 0 w 7"/>
                      <a:gd name="T19" fmla="*/ 3 h 7"/>
                      <a:gd name="T20" fmla="*/ 2 w 7"/>
                      <a:gd name="T21" fmla="*/ 2 h 7"/>
                      <a:gd name="T22" fmla="*/ 3 w 7"/>
                      <a:gd name="T23" fmla="*/ 2 h 7"/>
                      <a:gd name="T24" fmla="*/ 5 w 7"/>
                      <a:gd name="T25" fmla="*/ 0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7" h="7">
                        <a:moveTo>
                          <a:pt x="5" y="0"/>
                        </a:moveTo>
                        <a:lnTo>
                          <a:pt x="5" y="2"/>
                        </a:lnTo>
                        <a:lnTo>
                          <a:pt x="7" y="3"/>
                        </a:lnTo>
                        <a:lnTo>
                          <a:pt x="7" y="5"/>
                        </a:lnTo>
                        <a:lnTo>
                          <a:pt x="3" y="7"/>
                        </a:lnTo>
                        <a:lnTo>
                          <a:pt x="3" y="5"/>
                        </a:lnTo>
                        <a:lnTo>
                          <a:pt x="3" y="3"/>
                        </a:lnTo>
                        <a:lnTo>
                          <a:pt x="2" y="3"/>
                        </a:ln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2" y="2"/>
                        </a:lnTo>
                        <a:lnTo>
                          <a:pt x="3" y="2"/>
                        </a:lnTo>
                        <a:lnTo>
                          <a:pt x="5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24" name="Freeform 98">
                    <a:extLst>
                      <a:ext uri="{FF2B5EF4-FFF2-40B4-BE49-F238E27FC236}">
                        <a16:creationId xmlns:a16="http://schemas.microsoft.com/office/drawing/2014/main" id="{6784F599-9C1C-264F-B954-484D563655D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" y="379"/>
                    <a:ext cx="7" cy="7"/>
                  </a:xfrm>
                  <a:custGeom>
                    <a:avLst/>
                    <a:gdLst>
                      <a:gd name="T0" fmla="*/ 5 w 7"/>
                      <a:gd name="T1" fmla="*/ 0 h 7"/>
                      <a:gd name="T2" fmla="*/ 5 w 7"/>
                      <a:gd name="T3" fmla="*/ 2 h 7"/>
                      <a:gd name="T4" fmla="*/ 7 w 7"/>
                      <a:gd name="T5" fmla="*/ 3 h 7"/>
                      <a:gd name="T6" fmla="*/ 7 w 7"/>
                      <a:gd name="T7" fmla="*/ 5 h 7"/>
                      <a:gd name="T8" fmla="*/ 3 w 7"/>
                      <a:gd name="T9" fmla="*/ 7 h 7"/>
                      <a:gd name="T10" fmla="*/ 3 w 7"/>
                      <a:gd name="T11" fmla="*/ 5 h 7"/>
                      <a:gd name="T12" fmla="*/ 3 w 7"/>
                      <a:gd name="T13" fmla="*/ 3 h 7"/>
                      <a:gd name="T14" fmla="*/ 2 w 7"/>
                      <a:gd name="T15" fmla="*/ 3 h 7"/>
                      <a:gd name="T16" fmla="*/ 0 w 7"/>
                      <a:gd name="T17" fmla="*/ 5 h 7"/>
                      <a:gd name="T18" fmla="*/ 0 w 7"/>
                      <a:gd name="T19" fmla="*/ 3 h 7"/>
                      <a:gd name="T20" fmla="*/ 2 w 7"/>
                      <a:gd name="T21" fmla="*/ 2 h 7"/>
                      <a:gd name="T22" fmla="*/ 3 w 7"/>
                      <a:gd name="T23" fmla="*/ 2 h 7"/>
                      <a:gd name="T24" fmla="*/ 5 w 7"/>
                      <a:gd name="T25" fmla="*/ 0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7" h="7">
                        <a:moveTo>
                          <a:pt x="5" y="0"/>
                        </a:moveTo>
                        <a:lnTo>
                          <a:pt x="5" y="2"/>
                        </a:lnTo>
                        <a:lnTo>
                          <a:pt x="7" y="3"/>
                        </a:lnTo>
                        <a:lnTo>
                          <a:pt x="7" y="5"/>
                        </a:lnTo>
                        <a:lnTo>
                          <a:pt x="3" y="7"/>
                        </a:lnTo>
                        <a:lnTo>
                          <a:pt x="3" y="5"/>
                        </a:lnTo>
                        <a:lnTo>
                          <a:pt x="3" y="3"/>
                        </a:lnTo>
                        <a:lnTo>
                          <a:pt x="2" y="3"/>
                        </a:ln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2" y="2"/>
                        </a:lnTo>
                        <a:lnTo>
                          <a:pt x="3" y="2"/>
                        </a:lnTo>
                        <a:lnTo>
                          <a:pt x="5" y="0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11" name="Group 1710">
                  <a:extLst>
                    <a:ext uri="{FF2B5EF4-FFF2-40B4-BE49-F238E27FC236}">
                      <a16:creationId xmlns:a16="http://schemas.microsoft.com/office/drawing/2014/main" id="{0254EDE0-ADEA-2749-A337-EBDBE640A76C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68" y="374"/>
                  <a:ext cx="5" cy="7"/>
                  <a:chOff x="68" y="374"/>
                  <a:chExt cx="5" cy="7"/>
                </a:xfrm>
              </p:grpSpPr>
              <p:sp>
                <p:nvSpPr>
                  <p:cNvPr id="1721" name="Freeform 95">
                    <a:extLst>
                      <a:ext uri="{FF2B5EF4-FFF2-40B4-BE49-F238E27FC236}">
                        <a16:creationId xmlns:a16="http://schemas.microsoft.com/office/drawing/2014/main" id="{B40CEC20-D028-F24D-9EED-92F3E627F4B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8" y="374"/>
                    <a:ext cx="5" cy="7"/>
                  </a:xfrm>
                  <a:custGeom>
                    <a:avLst/>
                    <a:gdLst>
                      <a:gd name="T0" fmla="*/ 5 w 5"/>
                      <a:gd name="T1" fmla="*/ 2 h 7"/>
                      <a:gd name="T2" fmla="*/ 5 w 5"/>
                      <a:gd name="T3" fmla="*/ 3 h 7"/>
                      <a:gd name="T4" fmla="*/ 3 w 5"/>
                      <a:gd name="T5" fmla="*/ 5 h 7"/>
                      <a:gd name="T6" fmla="*/ 1 w 5"/>
                      <a:gd name="T7" fmla="*/ 7 h 7"/>
                      <a:gd name="T8" fmla="*/ 0 w 5"/>
                      <a:gd name="T9" fmla="*/ 7 h 7"/>
                      <a:gd name="T10" fmla="*/ 0 w 5"/>
                      <a:gd name="T11" fmla="*/ 5 h 7"/>
                      <a:gd name="T12" fmla="*/ 1 w 5"/>
                      <a:gd name="T13" fmla="*/ 5 h 7"/>
                      <a:gd name="T14" fmla="*/ 1 w 5"/>
                      <a:gd name="T15" fmla="*/ 3 h 7"/>
                      <a:gd name="T16" fmla="*/ 3 w 5"/>
                      <a:gd name="T17" fmla="*/ 2 h 7"/>
                      <a:gd name="T18" fmla="*/ 5 w 5"/>
                      <a:gd name="T19" fmla="*/ 0 h 7"/>
                      <a:gd name="T20" fmla="*/ 5 w 5"/>
                      <a:gd name="T21" fmla="*/ 2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5" h="7">
                        <a:moveTo>
                          <a:pt x="5" y="2"/>
                        </a:moveTo>
                        <a:lnTo>
                          <a:pt x="5" y="3"/>
                        </a:lnTo>
                        <a:lnTo>
                          <a:pt x="3" y="5"/>
                        </a:lnTo>
                        <a:lnTo>
                          <a:pt x="1" y="7"/>
                        </a:lnTo>
                        <a:lnTo>
                          <a:pt x="0" y="7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3" y="2"/>
                        </a:lnTo>
                        <a:lnTo>
                          <a:pt x="5" y="0"/>
                        </a:lnTo>
                        <a:lnTo>
                          <a:pt x="5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22" name="Freeform 96">
                    <a:extLst>
                      <a:ext uri="{FF2B5EF4-FFF2-40B4-BE49-F238E27FC236}">
                        <a16:creationId xmlns:a16="http://schemas.microsoft.com/office/drawing/2014/main" id="{FD2A5CE0-112C-E34A-AF72-B9443419850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8" y="374"/>
                    <a:ext cx="5" cy="7"/>
                  </a:xfrm>
                  <a:custGeom>
                    <a:avLst/>
                    <a:gdLst>
                      <a:gd name="T0" fmla="*/ 5 w 5"/>
                      <a:gd name="T1" fmla="*/ 2 h 7"/>
                      <a:gd name="T2" fmla="*/ 5 w 5"/>
                      <a:gd name="T3" fmla="*/ 3 h 7"/>
                      <a:gd name="T4" fmla="*/ 3 w 5"/>
                      <a:gd name="T5" fmla="*/ 5 h 7"/>
                      <a:gd name="T6" fmla="*/ 1 w 5"/>
                      <a:gd name="T7" fmla="*/ 7 h 7"/>
                      <a:gd name="T8" fmla="*/ 0 w 5"/>
                      <a:gd name="T9" fmla="*/ 7 h 7"/>
                      <a:gd name="T10" fmla="*/ 0 w 5"/>
                      <a:gd name="T11" fmla="*/ 5 h 7"/>
                      <a:gd name="T12" fmla="*/ 1 w 5"/>
                      <a:gd name="T13" fmla="*/ 5 h 7"/>
                      <a:gd name="T14" fmla="*/ 1 w 5"/>
                      <a:gd name="T15" fmla="*/ 3 h 7"/>
                      <a:gd name="T16" fmla="*/ 3 w 5"/>
                      <a:gd name="T17" fmla="*/ 2 h 7"/>
                      <a:gd name="T18" fmla="*/ 5 w 5"/>
                      <a:gd name="T19" fmla="*/ 0 h 7"/>
                      <a:gd name="T20" fmla="*/ 5 w 5"/>
                      <a:gd name="T21" fmla="*/ 2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5" h="7">
                        <a:moveTo>
                          <a:pt x="5" y="2"/>
                        </a:moveTo>
                        <a:lnTo>
                          <a:pt x="5" y="3"/>
                        </a:lnTo>
                        <a:lnTo>
                          <a:pt x="3" y="5"/>
                        </a:lnTo>
                        <a:lnTo>
                          <a:pt x="1" y="7"/>
                        </a:lnTo>
                        <a:lnTo>
                          <a:pt x="0" y="7"/>
                        </a:lnTo>
                        <a:lnTo>
                          <a:pt x="0" y="5"/>
                        </a:lnTo>
                        <a:lnTo>
                          <a:pt x="1" y="5"/>
                        </a:lnTo>
                        <a:lnTo>
                          <a:pt x="1" y="3"/>
                        </a:lnTo>
                        <a:lnTo>
                          <a:pt x="3" y="2"/>
                        </a:lnTo>
                        <a:lnTo>
                          <a:pt x="5" y="0"/>
                        </a:lnTo>
                        <a:lnTo>
                          <a:pt x="5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12" name="Group 1711">
                  <a:extLst>
                    <a:ext uri="{FF2B5EF4-FFF2-40B4-BE49-F238E27FC236}">
                      <a16:creationId xmlns:a16="http://schemas.microsoft.com/office/drawing/2014/main" id="{85CEEFD3-3980-2742-8C51-37CBD3980642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63" y="364"/>
                  <a:ext cx="10" cy="7"/>
                  <a:chOff x="63" y="364"/>
                  <a:chExt cx="10" cy="7"/>
                </a:xfrm>
              </p:grpSpPr>
              <p:sp>
                <p:nvSpPr>
                  <p:cNvPr id="1719" name="Freeform 93">
                    <a:extLst>
                      <a:ext uri="{FF2B5EF4-FFF2-40B4-BE49-F238E27FC236}">
                        <a16:creationId xmlns:a16="http://schemas.microsoft.com/office/drawing/2014/main" id="{AD8683DB-9397-6345-8CB6-5756C7B7822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3" y="364"/>
                    <a:ext cx="10" cy="7"/>
                  </a:xfrm>
                  <a:custGeom>
                    <a:avLst/>
                    <a:gdLst>
                      <a:gd name="T0" fmla="*/ 1 w 10"/>
                      <a:gd name="T1" fmla="*/ 7 h 7"/>
                      <a:gd name="T2" fmla="*/ 3 w 10"/>
                      <a:gd name="T3" fmla="*/ 7 h 7"/>
                      <a:gd name="T4" fmla="*/ 3 w 10"/>
                      <a:gd name="T5" fmla="*/ 5 h 7"/>
                      <a:gd name="T6" fmla="*/ 5 w 10"/>
                      <a:gd name="T7" fmla="*/ 5 h 7"/>
                      <a:gd name="T8" fmla="*/ 3 w 10"/>
                      <a:gd name="T9" fmla="*/ 5 h 7"/>
                      <a:gd name="T10" fmla="*/ 3 w 10"/>
                      <a:gd name="T11" fmla="*/ 3 h 7"/>
                      <a:gd name="T12" fmla="*/ 5 w 10"/>
                      <a:gd name="T13" fmla="*/ 3 h 7"/>
                      <a:gd name="T14" fmla="*/ 3 w 10"/>
                      <a:gd name="T15" fmla="*/ 1 h 7"/>
                      <a:gd name="T16" fmla="*/ 1 w 10"/>
                      <a:gd name="T17" fmla="*/ 1 h 7"/>
                      <a:gd name="T18" fmla="*/ 1 w 10"/>
                      <a:gd name="T19" fmla="*/ 0 h 7"/>
                      <a:gd name="T20" fmla="*/ 3 w 10"/>
                      <a:gd name="T21" fmla="*/ 0 h 7"/>
                      <a:gd name="T22" fmla="*/ 5 w 10"/>
                      <a:gd name="T23" fmla="*/ 0 h 7"/>
                      <a:gd name="T24" fmla="*/ 6 w 10"/>
                      <a:gd name="T25" fmla="*/ 1 h 7"/>
                      <a:gd name="T26" fmla="*/ 8 w 10"/>
                      <a:gd name="T27" fmla="*/ 3 h 7"/>
                      <a:gd name="T28" fmla="*/ 10 w 10"/>
                      <a:gd name="T29" fmla="*/ 3 h 7"/>
                      <a:gd name="T30" fmla="*/ 10 w 10"/>
                      <a:gd name="T31" fmla="*/ 5 h 7"/>
                      <a:gd name="T32" fmla="*/ 8 w 10"/>
                      <a:gd name="T33" fmla="*/ 5 h 7"/>
                      <a:gd name="T34" fmla="*/ 6 w 10"/>
                      <a:gd name="T35" fmla="*/ 5 h 7"/>
                      <a:gd name="T36" fmla="*/ 6 w 10"/>
                      <a:gd name="T37" fmla="*/ 7 h 7"/>
                      <a:gd name="T38" fmla="*/ 5 w 10"/>
                      <a:gd name="T39" fmla="*/ 7 h 7"/>
                      <a:gd name="T40" fmla="*/ 1 w 10"/>
                      <a:gd name="T41" fmla="*/ 7 h 7"/>
                      <a:gd name="T42" fmla="*/ 0 w 10"/>
                      <a:gd name="T43" fmla="*/ 7 h 7"/>
                      <a:gd name="T44" fmla="*/ 0 w 10"/>
                      <a:gd name="T45" fmla="*/ 5 h 7"/>
                      <a:gd name="T46" fmla="*/ 1 w 10"/>
                      <a:gd name="T47" fmla="*/ 7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0" h="7">
                        <a:moveTo>
                          <a:pt x="1" y="7"/>
                        </a:moveTo>
                        <a:lnTo>
                          <a:pt x="3" y="7"/>
                        </a:lnTo>
                        <a:lnTo>
                          <a:pt x="3" y="5"/>
                        </a:lnTo>
                        <a:lnTo>
                          <a:pt x="5" y="5"/>
                        </a:lnTo>
                        <a:lnTo>
                          <a:pt x="3" y="5"/>
                        </a:lnTo>
                        <a:lnTo>
                          <a:pt x="3" y="3"/>
                        </a:lnTo>
                        <a:lnTo>
                          <a:pt x="5" y="3"/>
                        </a:lnTo>
                        <a:lnTo>
                          <a:pt x="3" y="1"/>
                        </a:lnTo>
                        <a:lnTo>
                          <a:pt x="1" y="1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5" y="0"/>
                        </a:lnTo>
                        <a:lnTo>
                          <a:pt x="6" y="1"/>
                        </a:lnTo>
                        <a:lnTo>
                          <a:pt x="8" y="3"/>
                        </a:lnTo>
                        <a:lnTo>
                          <a:pt x="10" y="3"/>
                        </a:lnTo>
                        <a:lnTo>
                          <a:pt x="10" y="5"/>
                        </a:lnTo>
                        <a:lnTo>
                          <a:pt x="8" y="5"/>
                        </a:lnTo>
                        <a:lnTo>
                          <a:pt x="6" y="5"/>
                        </a:lnTo>
                        <a:lnTo>
                          <a:pt x="6" y="7"/>
                        </a:lnTo>
                        <a:lnTo>
                          <a:pt x="5" y="7"/>
                        </a:lnTo>
                        <a:lnTo>
                          <a:pt x="1" y="7"/>
                        </a:lnTo>
                        <a:lnTo>
                          <a:pt x="0" y="7"/>
                        </a:lnTo>
                        <a:lnTo>
                          <a:pt x="0" y="5"/>
                        </a:lnTo>
                        <a:lnTo>
                          <a:pt x="1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20" name="Freeform 94">
                    <a:extLst>
                      <a:ext uri="{FF2B5EF4-FFF2-40B4-BE49-F238E27FC236}">
                        <a16:creationId xmlns:a16="http://schemas.microsoft.com/office/drawing/2014/main" id="{2103C65B-DB73-2F45-AA39-69B1E841AD9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3" y="364"/>
                    <a:ext cx="10" cy="7"/>
                  </a:xfrm>
                  <a:custGeom>
                    <a:avLst/>
                    <a:gdLst>
                      <a:gd name="T0" fmla="*/ 1 w 10"/>
                      <a:gd name="T1" fmla="*/ 7 h 7"/>
                      <a:gd name="T2" fmla="*/ 3 w 10"/>
                      <a:gd name="T3" fmla="*/ 7 h 7"/>
                      <a:gd name="T4" fmla="*/ 3 w 10"/>
                      <a:gd name="T5" fmla="*/ 5 h 7"/>
                      <a:gd name="T6" fmla="*/ 5 w 10"/>
                      <a:gd name="T7" fmla="*/ 5 h 7"/>
                      <a:gd name="T8" fmla="*/ 3 w 10"/>
                      <a:gd name="T9" fmla="*/ 5 h 7"/>
                      <a:gd name="T10" fmla="*/ 3 w 10"/>
                      <a:gd name="T11" fmla="*/ 3 h 7"/>
                      <a:gd name="T12" fmla="*/ 5 w 10"/>
                      <a:gd name="T13" fmla="*/ 3 h 7"/>
                      <a:gd name="T14" fmla="*/ 3 w 10"/>
                      <a:gd name="T15" fmla="*/ 1 h 7"/>
                      <a:gd name="T16" fmla="*/ 1 w 10"/>
                      <a:gd name="T17" fmla="*/ 1 h 7"/>
                      <a:gd name="T18" fmla="*/ 1 w 10"/>
                      <a:gd name="T19" fmla="*/ 0 h 7"/>
                      <a:gd name="T20" fmla="*/ 3 w 10"/>
                      <a:gd name="T21" fmla="*/ 0 h 7"/>
                      <a:gd name="T22" fmla="*/ 5 w 10"/>
                      <a:gd name="T23" fmla="*/ 0 h 7"/>
                      <a:gd name="T24" fmla="*/ 6 w 10"/>
                      <a:gd name="T25" fmla="*/ 1 h 7"/>
                      <a:gd name="T26" fmla="*/ 8 w 10"/>
                      <a:gd name="T27" fmla="*/ 3 h 7"/>
                      <a:gd name="T28" fmla="*/ 10 w 10"/>
                      <a:gd name="T29" fmla="*/ 3 h 7"/>
                      <a:gd name="T30" fmla="*/ 10 w 10"/>
                      <a:gd name="T31" fmla="*/ 5 h 7"/>
                      <a:gd name="T32" fmla="*/ 8 w 10"/>
                      <a:gd name="T33" fmla="*/ 5 h 7"/>
                      <a:gd name="T34" fmla="*/ 6 w 10"/>
                      <a:gd name="T35" fmla="*/ 5 h 7"/>
                      <a:gd name="T36" fmla="*/ 6 w 10"/>
                      <a:gd name="T37" fmla="*/ 7 h 7"/>
                      <a:gd name="T38" fmla="*/ 5 w 10"/>
                      <a:gd name="T39" fmla="*/ 7 h 7"/>
                      <a:gd name="T40" fmla="*/ 1 w 10"/>
                      <a:gd name="T41" fmla="*/ 7 h 7"/>
                      <a:gd name="T42" fmla="*/ 0 w 10"/>
                      <a:gd name="T43" fmla="*/ 7 h 7"/>
                      <a:gd name="T44" fmla="*/ 0 w 10"/>
                      <a:gd name="T45" fmla="*/ 5 h 7"/>
                      <a:gd name="T46" fmla="*/ 1 w 10"/>
                      <a:gd name="T47" fmla="*/ 7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0" h="7">
                        <a:moveTo>
                          <a:pt x="1" y="7"/>
                        </a:moveTo>
                        <a:lnTo>
                          <a:pt x="3" y="7"/>
                        </a:lnTo>
                        <a:lnTo>
                          <a:pt x="3" y="5"/>
                        </a:lnTo>
                        <a:lnTo>
                          <a:pt x="5" y="5"/>
                        </a:lnTo>
                        <a:lnTo>
                          <a:pt x="3" y="5"/>
                        </a:lnTo>
                        <a:lnTo>
                          <a:pt x="3" y="3"/>
                        </a:lnTo>
                        <a:lnTo>
                          <a:pt x="5" y="3"/>
                        </a:lnTo>
                        <a:lnTo>
                          <a:pt x="3" y="1"/>
                        </a:lnTo>
                        <a:lnTo>
                          <a:pt x="1" y="1"/>
                        </a:lnTo>
                        <a:lnTo>
                          <a:pt x="1" y="0"/>
                        </a:lnTo>
                        <a:lnTo>
                          <a:pt x="3" y="0"/>
                        </a:lnTo>
                        <a:lnTo>
                          <a:pt x="5" y="0"/>
                        </a:lnTo>
                        <a:lnTo>
                          <a:pt x="6" y="1"/>
                        </a:lnTo>
                        <a:lnTo>
                          <a:pt x="8" y="3"/>
                        </a:lnTo>
                        <a:lnTo>
                          <a:pt x="10" y="3"/>
                        </a:lnTo>
                        <a:lnTo>
                          <a:pt x="10" y="5"/>
                        </a:lnTo>
                        <a:lnTo>
                          <a:pt x="8" y="5"/>
                        </a:lnTo>
                        <a:lnTo>
                          <a:pt x="6" y="5"/>
                        </a:lnTo>
                        <a:lnTo>
                          <a:pt x="6" y="7"/>
                        </a:lnTo>
                        <a:lnTo>
                          <a:pt x="5" y="7"/>
                        </a:lnTo>
                        <a:lnTo>
                          <a:pt x="1" y="7"/>
                        </a:lnTo>
                        <a:lnTo>
                          <a:pt x="0" y="7"/>
                        </a:lnTo>
                        <a:lnTo>
                          <a:pt x="0" y="5"/>
                        </a:lnTo>
                        <a:lnTo>
                          <a:pt x="1" y="7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13" name="Group 1712">
                  <a:extLst>
                    <a:ext uri="{FF2B5EF4-FFF2-40B4-BE49-F238E27FC236}">
                      <a16:creationId xmlns:a16="http://schemas.microsoft.com/office/drawing/2014/main" id="{D67FE13F-5EE0-EE44-88C9-F8F9C7F336E0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7" y="338"/>
                  <a:ext cx="16" cy="16"/>
                  <a:chOff x="57" y="338"/>
                  <a:chExt cx="16" cy="16"/>
                </a:xfrm>
              </p:grpSpPr>
              <p:sp>
                <p:nvSpPr>
                  <p:cNvPr id="1717" name="Freeform 91">
                    <a:extLst>
                      <a:ext uri="{FF2B5EF4-FFF2-40B4-BE49-F238E27FC236}">
                        <a16:creationId xmlns:a16="http://schemas.microsoft.com/office/drawing/2014/main" id="{EDAACD22-3A83-8F40-AD4C-D49BD838A9A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7" y="338"/>
                    <a:ext cx="16" cy="16"/>
                  </a:xfrm>
                  <a:custGeom>
                    <a:avLst/>
                    <a:gdLst>
                      <a:gd name="T0" fmla="*/ 7 w 16"/>
                      <a:gd name="T1" fmla="*/ 2 h 16"/>
                      <a:gd name="T2" fmla="*/ 9 w 16"/>
                      <a:gd name="T3" fmla="*/ 2 h 16"/>
                      <a:gd name="T4" fmla="*/ 9 w 16"/>
                      <a:gd name="T5" fmla="*/ 4 h 16"/>
                      <a:gd name="T6" fmla="*/ 9 w 16"/>
                      <a:gd name="T7" fmla="*/ 6 h 16"/>
                      <a:gd name="T8" fmla="*/ 11 w 16"/>
                      <a:gd name="T9" fmla="*/ 7 h 16"/>
                      <a:gd name="T10" fmla="*/ 11 w 16"/>
                      <a:gd name="T11" fmla="*/ 11 h 16"/>
                      <a:gd name="T12" fmla="*/ 12 w 16"/>
                      <a:gd name="T13" fmla="*/ 11 h 16"/>
                      <a:gd name="T14" fmla="*/ 14 w 16"/>
                      <a:gd name="T15" fmla="*/ 11 h 16"/>
                      <a:gd name="T16" fmla="*/ 16 w 16"/>
                      <a:gd name="T17" fmla="*/ 11 h 16"/>
                      <a:gd name="T18" fmla="*/ 16 w 16"/>
                      <a:gd name="T19" fmla="*/ 12 h 16"/>
                      <a:gd name="T20" fmla="*/ 14 w 16"/>
                      <a:gd name="T21" fmla="*/ 14 h 16"/>
                      <a:gd name="T22" fmla="*/ 12 w 16"/>
                      <a:gd name="T23" fmla="*/ 16 h 16"/>
                      <a:gd name="T24" fmla="*/ 12 w 16"/>
                      <a:gd name="T25" fmla="*/ 14 h 16"/>
                      <a:gd name="T26" fmla="*/ 12 w 16"/>
                      <a:gd name="T27" fmla="*/ 12 h 16"/>
                      <a:gd name="T28" fmla="*/ 9 w 16"/>
                      <a:gd name="T29" fmla="*/ 14 h 16"/>
                      <a:gd name="T30" fmla="*/ 7 w 16"/>
                      <a:gd name="T31" fmla="*/ 14 h 16"/>
                      <a:gd name="T32" fmla="*/ 7 w 16"/>
                      <a:gd name="T33" fmla="*/ 12 h 16"/>
                      <a:gd name="T34" fmla="*/ 6 w 16"/>
                      <a:gd name="T35" fmla="*/ 11 h 16"/>
                      <a:gd name="T36" fmla="*/ 4 w 16"/>
                      <a:gd name="T37" fmla="*/ 9 h 16"/>
                      <a:gd name="T38" fmla="*/ 2 w 16"/>
                      <a:gd name="T39" fmla="*/ 9 h 16"/>
                      <a:gd name="T40" fmla="*/ 0 w 16"/>
                      <a:gd name="T41" fmla="*/ 7 h 16"/>
                      <a:gd name="T42" fmla="*/ 0 w 16"/>
                      <a:gd name="T43" fmla="*/ 6 h 16"/>
                      <a:gd name="T44" fmla="*/ 2 w 16"/>
                      <a:gd name="T45" fmla="*/ 6 h 16"/>
                      <a:gd name="T46" fmla="*/ 2 w 16"/>
                      <a:gd name="T47" fmla="*/ 4 h 16"/>
                      <a:gd name="T48" fmla="*/ 6 w 16"/>
                      <a:gd name="T49" fmla="*/ 6 h 16"/>
                      <a:gd name="T50" fmla="*/ 6 w 16"/>
                      <a:gd name="T51" fmla="*/ 2 h 16"/>
                      <a:gd name="T52" fmla="*/ 6 w 16"/>
                      <a:gd name="T53" fmla="*/ 0 h 16"/>
                      <a:gd name="T54" fmla="*/ 7 w 16"/>
                      <a:gd name="T55" fmla="*/ 0 h 16"/>
                      <a:gd name="T56" fmla="*/ 7 w 16"/>
                      <a:gd name="T57" fmla="*/ 2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16" h="16">
                        <a:moveTo>
                          <a:pt x="7" y="2"/>
                        </a:moveTo>
                        <a:lnTo>
                          <a:pt x="9" y="2"/>
                        </a:lnTo>
                        <a:lnTo>
                          <a:pt x="9" y="4"/>
                        </a:lnTo>
                        <a:lnTo>
                          <a:pt x="9" y="6"/>
                        </a:lnTo>
                        <a:lnTo>
                          <a:pt x="11" y="7"/>
                        </a:lnTo>
                        <a:lnTo>
                          <a:pt x="11" y="11"/>
                        </a:lnTo>
                        <a:lnTo>
                          <a:pt x="12" y="11"/>
                        </a:lnTo>
                        <a:lnTo>
                          <a:pt x="14" y="11"/>
                        </a:lnTo>
                        <a:lnTo>
                          <a:pt x="16" y="11"/>
                        </a:lnTo>
                        <a:lnTo>
                          <a:pt x="16" y="12"/>
                        </a:lnTo>
                        <a:lnTo>
                          <a:pt x="14" y="14"/>
                        </a:lnTo>
                        <a:lnTo>
                          <a:pt x="12" y="16"/>
                        </a:lnTo>
                        <a:lnTo>
                          <a:pt x="12" y="14"/>
                        </a:lnTo>
                        <a:lnTo>
                          <a:pt x="12" y="12"/>
                        </a:lnTo>
                        <a:lnTo>
                          <a:pt x="9" y="14"/>
                        </a:lnTo>
                        <a:lnTo>
                          <a:pt x="7" y="14"/>
                        </a:lnTo>
                        <a:lnTo>
                          <a:pt x="7" y="12"/>
                        </a:lnTo>
                        <a:lnTo>
                          <a:pt x="6" y="11"/>
                        </a:lnTo>
                        <a:lnTo>
                          <a:pt x="4" y="9"/>
                        </a:lnTo>
                        <a:lnTo>
                          <a:pt x="2" y="9"/>
                        </a:lnTo>
                        <a:lnTo>
                          <a:pt x="0" y="7"/>
                        </a:lnTo>
                        <a:lnTo>
                          <a:pt x="0" y="6"/>
                        </a:lnTo>
                        <a:lnTo>
                          <a:pt x="2" y="6"/>
                        </a:lnTo>
                        <a:lnTo>
                          <a:pt x="2" y="4"/>
                        </a:lnTo>
                        <a:lnTo>
                          <a:pt x="6" y="6"/>
                        </a:lnTo>
                        <a:lnTo>
                          <a:pt x="6" y="2"/>
                        </a:lnTo>
                        <a:lnTo>
                          <a:pt x="6" y="0"/>
                        </a:lnTo>
                        <a:lnTo>
                          <a:pt x="7" y="0"/>
                        </a:lnTo>
                        <a:lnTo>
                          <a:pt x="7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18" name="Freeform 92">
                    <a:extLst>
                      <a:ext uri="{FF2B5EF4-FFF2-40B4-BE49-F238E27FC236}">
                        <a16:creationId xmlns:a16="http://schemas.microsoft.com/office/drawing/2014/main" id="{394E8AF7-D2FB-FF4D-8C36-17219370151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7" y="338"/>
                    <a:ext cx="16" cy="16"/>
                  </a:xfrm>
                  <a:custGeom>
                    <a:avLst/>
                    <a:gdLst>
                      <a:gd name="T0" fmla="*/ 7 w 16"/>
                      <a:gd name="T1" fmla="*/ 2 h 16"/>
                      <a:gd name="T2" fmla="*/ 9 w 16"/>
                      <a:gd name="T3" fmla="*/ 2 h 16"/>
                      <a:gd name="T4" fmla="*/ 9 w 16"/>
                      <a:gd name="T5" fmla="*/ 4 h 16"/>
                      <a:gd name="T6" fmla="*/ 9 w 16"/>
                      <a:gd name="T7" fmla="*/ 6 h 16"/>
                      <a:gd name="T8" fmla="*/ 11 w 16"/>
                      <a:gd name="T9" fmla="*/ 7 h 16"/>
                      <a:gd name="T10" fmla="*/ 11 w 16"/>
                      <a:gd name="T11" fmla="*/ 11 h 16"/>
                      <a:gd name="T12" fmla="*/ 12 w 16"/>
                      <a:gd name="T13" fmla="*/ 11 h 16"/>
                      <a:gd name="T14" fmla="*/ 14 w 16"/>
                      <a:gd name="T15" fmla="*/ 11 h 16"/>
                      <a:gd name="T16" fmla="*/ 16 w 16"/>
                      <a:gd name="T17" fmla="*/ 11 h 16"/>
                      <a:gd name="T18" fmla="*/ 16 w 16"/>
                      <a:gd name="T19" fmla="*/ 12 h 16"/>
                      <a:gd name="T20" fmla="*/ 14 w 16"/>
                      <a:gd name="T21" fmla="*/ 14 h 16"/>
                      <a:gd name="T22" fmla="*/ 12 w 16"/>
                      <a:gd name="T23" fmla="*/ 16 h 16"/>
                      <a:gd name="T24" fmla="*/ 12 w 16"/>
                      <a:gd name="T25" fmla="*/ 14 h 16"/>
                      <a:gd name="T26" fmla="*/ 12 w 16"/>
                      <a:gd name="T27" fmla="*/ 12 h 16"/>
                      <a:gd name="T28" fmla="*/ 9 w 16"/>
                      <a:gd name="T29" fmla="*/ 14 h 16"/>
                      <a:gd name="T30" fmla="*/ 7 w 16"/>
                      <a:gd name="T31" fmla="*/ 14 h 16"/>
                      <a:gd name="T32" fmla="*/ 7 w 16"/>
                      <a:gd name="T33" fmla="*/ 12 h 16"/>
                      <a:gd name="T34" fmla="*/ 6 w 16"/>
                      <a:gd name="T35" fmla="*/ 11 h 16"/>
                      <a:gd name="T36" fmla="*/ 4 w 16"/>
                      <a:gd name="T37" fmla="*/ 9 h 16"/>
                      <a:gd name="T38" fmla="*/ 2 w 16"/>
                      <a:gd name="T39" fmla="*/ 9 h 16"/>
                      <a:gd name="T40" fmla="*/ 0 w 16"/>
                      <a:gd name="T41" fmla="*/ 7 h 16"/>
                      <a:gd name="T42" fmla="*/ 0 w 16"/>
                      <a:gd name="T43" fmla="*/ 6 h 16"/>
                      <a:gd name="T44" fmla="*/ 2 w 16"/>
                      <a:gd name="T45" fmla="*/ 6 h 16"/>
                      <a:gd name="T46" fmla="*/ 2 w 16"/>
                      <a:gd name="T47" fmla="*/ 4 h 16"/>
                      <a:gd name="T48" fmla="*/ 6 w 16"/>
                      <a:gd name="T49" fmla="*/ 6 h 16"/>
                      <a:gd name="T50" fmla="*/ 6 w 16"/>
                      <a:gd name="T51" fmla="*/ 2 h 16"/>
                      <a:gd name="T52" fmla="*/ 6 w 16"/>
                      <a:gd name="T53" fmla="*/ 0 h 16"/>
                      <a:gd name="T54" fmla="*/ 7 w 16"/>
                      <a:gd name="T55" fmla="*/ 0 h 16"/>
                      <a:gd name="T56" fmla="*/ 7 w 16"/>
                      <a:gd name="T57" fmla="*/ 2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16" h="16">
                        <a:moveTo>
                          <a:pt x="7" y="2"/>
                        </a:moveTo>
                        <a:lnTo>
                          <a:pt x="9" y="2"/>
                        </a:lnTo>
                        <a:lnTo>
                          <a:pt x="9" y="4"/>
                        </a:lnTo>
                        <a:lnTo>
                          <a:pt x="9" y="6"/>
                        </a:lnTo>
                        <a:lnTo>
                          <a:pt x="11" y="7"/>
                        </a:lnTo>
                        <a:lnTo>
                          <a:pt x="11" y="11"/>
                        </a:lnTo>
                        <a:lnTo>
                          <a:pt x="12" y="11"/>
                        </a:lnTo>
                        <a:lnTo>
                          <a:pt x="14" y="11"/>
                        </a:lnTo>
                        <a:lnTo>
                          <a:pt x="16" y="11"/>
                        </a:lnTo>
                        <a:lnTo>
                          <a:pt x="16" y="12"/>
                        </a:lnTo>
                        <a:lnTo>
                          <a:pt x="14" y="14"/>
                        </a:lnTo>
                        <a:lnTo>
                          <a:pt x="12" y="16"/>
                        </a:lnTo>
                        <a:lnTo>
                          <a:pt x="12" y="14"/>
                        </a:lnTo>
                        <a:lnTo>
                          <a:pt x="12" y="12"/>
                        </a:lnTo>
                        <a:lnTo>
                          <a:pt x="9" y="14"/>
                        </a:lnTo>
                        <a:lnTo>
                          <a:pt x="7" y="14"/>
                        </a:lnTo>
                        <a:lnTo>
                          <a:pt x="7" y="12"/>
                        </a:lnTo>
                        <a:lnTo>
                          <a:pt x="6" y="11"/>
                        </a:lnTo>
                        <a:lnTo>
                          <a:pt x="4" y="9"/>
                        </a:lnTo>
                        <a:lnTo>
                          <a:pt x="2" y="9"/>
                        </a:lnTo>
                        <a:lnTo>
                          <a:pt x="0" y="7"/>
                        </a:lnTo>
                        <a:lnTo>
                          <a:pt x="0" y="6"/>
                        </a:lnTo>
                        <a:lnTo>
                          <a:pt x="2" y="6"/>
                        </a:lnTo>
                        <a:lnTo>
                          <a:pt x="2" y="4"/>
                        </a:lnTo>
                        <a:lnTo>
                          <a:pt x="6" y="6"/>
                        </a:lnTo>
                        <a:lnTo>
                          <a:pt x="6" y="2"/>
                        </a:lnTo>
                        <a:lnTo>
                          <a:pt x="6" y="0"/>
                        </a:lnTo>
                        <a:lnTo>
                          <a:pt x="7" y="0"/>
                        </a:lnTo>
                        <a:lnTo>
                          <a:pt x="7" y="2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14" name="Group 1713">
                  <a:extLst>
                    <a:ext uri="{FF2B5EF4-FFF2-40B4-BE49-F238E27FC236}">
                      <a16:creationId xmlns:a16="http://schemas.microsoft.com/office/drawing/2014/main" id="{FDF7E89E-06E7-F049-B966-53D2D9F0C3D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6" y="391"/>
                  <a:ext cx="40" cy="28"/>
                  <a:chOff x="36" y="391"/>
                  <a:chExt cx="40" cy="28"/>
                </a:xfrm>
              </p:grpSpPr>
              <p:sp>
                <p:nvSpPr>
                  <p:cNvPr id="1715" name="Freeform 89">
                    <a:extLst>
                      <a:ext uri="{FF2B5EF4-FFF2-40B4-BE49-F238E27FC236}">
                        <a16:creationId xmlns:a16="http://schemas.microsoft.com/office/drawing/2014/main" id="{2AFABD2A-74AD-9642-904A-29ABFA4B375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" y="391"/>
                    <a:ext cx="40" cy="28"/>
                  </a:xfrm>
                  <a:custGeom>
                    <a:avLst/>
                    <a:gdLst>
                      <a:gd name="T0" fmla="*/ 30 w 40"/>
                      <a:gd name="T1" fmla="*/ 28 h 28"/>
                      <a:gd name="T2" fmla="*/ 28 w 40"/>
                      <a:gd name="T3" fmla="*/ 28 h 28"/>
                      <a:gd name="T4" fmla="*/ 28 w 40"/>
                      <a:gd name="T5" fmla="*/ 25 h 28"/>
                      <a:gd name="T6" fmla="*/ 28 w 40"/>
                      <a:gd name="T7" fmla="*/ 23 h 28"/>
                      <a:gd name="T8" fmla="*/ 27 w 40"/>
                      <a:gd name="T9" fmla="*/ 22 h 28"/>
                      <a:gd name="T10" fmla="*/ 25 w 40"/>
                      <a:gd name="T11" fmla="*/ 20 h 28"/>
                      <a:gd name="T12" fmla="*/ 21 w 40"/>
                      <a:gd name="T13" fmla="*/ 20 h 28"/>
                      <a:gd name="T14" fmla="*/ 18 w 40"/>
                      <a:gd name="T15" fmla="*/ 22 h 28"/>
                      <a:gd name="T16" fmla="*/ 15 w 40"/>
                      <a:gd name="T17" fmla="*/ 22 h 28"/>
                      <a:gd name="T18" fmla="*/ 13 w 40"/>
                      <a:gd name="T19" fmla="*/ 23 h 28"/>
                      <a:gd name="T20" fmla="*/ 10 w 40"/>
                      <a:gd name="T21" fmla="*/ 27 h 28"/>
                      <a:gd name="T22" fmla="*/ 6 w 40"/>
                      <a:gd name="T23" fmla="*/ 25 h 28"/>
                      <a:gd name="T24" fmla="*/ 5 w 40"/>
                      <a:gd name="T25" fmla="*/ 22 h 28"/>
                      <a:gd name="T26" fmla="*/ 0 w 40"/>
                      <a:gd name="T27" fmla="*/ 18 h 28"/>
                      <a:gd name="T28" fmla="*/ 3 w 40"/>
                      <a:gd name="T29" fmla="*/ 17 h 28"/>
                      <a:gd name="T30" fmla="*/ 3 w 40"/>
                      <a:gd name="T31" fmla="*/ 13 h 28"/>
                      <a:gd name="T32" fmla="*/ 6 w 40"/>
                      <a:gd name="T33" fmla="*/ 13 h 28"/>
                      <a:gd name="T34" fmla="*/ 8 w 40"/>
                      <a:gd name="T35" fmla="*/ 12 h 28"/>
                      <a:gd name="T36" fmla="*/ 8 w 40"/>
                      <a:gd name="T37" fmla="*/ 8 h 28"/>
                      <a:gd name="T38" fmla="*/ 10 w 40"/>
                      <a:gd name="T39" fmla="*/ 8 h 28"/>
                      <a:gd name="T40" fmla="*/ 10 w 40"/>
                      <a:gd name="T41" fmla="*/ 6 h 28"/>
                      <a:gd name="T42" fmla="*/ 10 w 40"/>
                      <a:gd name="T43" fmla="*/ 5 h 28"/>
                      <a:gd name="T44" fmla="*/ 10 w 40"/>
                      <a:gd name="T45" fmla="*/ 3 h 28"/>
                      <a:gd name="T46" fmla="*/ 10 w 40"/>
                      <a:gd name="T47" fmla="*/ 1 h 28"/>
                      <a:gd name="T48" fmla="*/ 11 w 40"/>
                      <a:gd name="T49" fmla="*/ 1 h 28"/>
                      <a:gd name="T50" fmla="*/ 11 w 40"/>
                      <a:gd name="T51" fmla="*/ 0 h 28"/>
                      <a:gd name="T52" fmla="*/ 13 w 40"/>
                      <a:gd name="T53" fmla="*/ 0 h 28"/>
                      <a:gd name="T54" fmla="*/ 15 w 40"/>
                      <a:gd name="T55" fmla="*/ 1 h 28"/>
                      <a:gd name="T56" fmla="*/ 16 w 40"/>
                      <a:gd name="T57" fmla="*/ 1 h 28"/>
                      <a:gd name="T58" fmla="*/ 16 w 40"/>
                      <a:gd name="T59" fmla="*/ 3 h 28"/>
                      <a:gd name="T60" fmla="*/ 15 w 40"/>
                      <a:gd name="T61" fmla="*/ 5 h 28"/>
                      <a:gd name="T62" fmla="*/ 15 w 40"/>
                      <a:gd name="T63" fmla="*/ 6 h 28"/>
                      <a:gd name="T64" fmla="*/ 16 w 40"/>
                      <a:gd name="T65" fmla="*/ 6 h 28"/>
                      <a:gd name="T66" fmla="*/ 18 w 40"/>
                      <a:gd name="T67" fmla="*/ 5 h 28"/>
                      <a:gd name="T68" fmla="*/ 21 w 40"/>
                      <a:gd name="T69" fmla="*/ 3 h 28"/>
                      <a:gd name="T70" fmla="*/ 25 w 40"/>
                      <a:gd name="T71" fmla="*/ 3 h 28"/>
                      <a:gd name="T72" fmla="*/ 27 w 40"/>
                      <a:gd name="T73" fmla="*/ 3 h 28"/>
                      <a:gd name="T74" fmla="*/ 30 w 40"/>
                      <a:gd name="T75" fmla="*/ 3 h 28"/>
                      <a:gd name="T76" fmla="*/ 32 w 40"/>
                      <a:gd name="T77" fmla="*/ 6 h 28"/>
                      <a:gd name="T78" fmla="*/ 35 w 40"/>
                      <a:gd name="T79" fmla="*/ 10 h 28"/>
                      <a:gd name="T80" fmla="*/ 35 w 40"/>
                      <a:gd name="T81" fmla="*/ 13 h 28"/>
                      <a:gd name="T82" fmla="*/ 33 w 40"/>
                      <a:gd name="T83" fmla="*/ 15 h 28"/>
                      <a:gd name="T84" fmla="*/ 38 w 40"/>
                      <a:gd name="T85" fmla="*/ 15 h 28"/>
                      <a:gd name="T86" fmla="*/ 40 w 40"/>
                      <a:gd name="T87" fmla="*/ 18 h 28"/>
                      <a:gd name="T88" fmla="*/ 40 w 40"/>
                      <a:gd name="T89" fmla="*/ 22 h 28"/>
                      <a:gd name="T90" fmla="*/ 38 w 40"/>
                      <a:gd name="T91" fmla="*/ 18 h 28"/>
                      <a:gd name="T92" fmla="*/ 38 w 40"/>
                      <a:gd name="T93" fmla="*/ 20 h 28"/>
                      <a:gd name="T94" fmla="*/ 40 w 40"/>
                      <a:gd name="T95" fmla="*/ 22 h 28"/>
                      <a:gd name="T96" fmla="*/ 40 w 40"/>
                      <a:gd name="T97" fmla="*/ 23 h 28"/>
                      <a:gd name="T98" fmla="*/ 38 w 40"/>
                      <a:gd name="T99" fmla="*/ 23 h 28"/>
                      <a:gd name="T100" fmla="*/ 35 w 40"/>
                      <a:gd name="T101" fmla="*/ 25 h 28"/>
                      <a:gd name="T102" fmla="*/ 33 w 40"/>
                      <a:gd name="T103" fmla="*/ 27 h 28"/>
                      <a:gd name="T104" fmla="*/ 32 w 40"/>
                      <a:gd name="T105" fmla="*/ 28 h 28"/>
                      <a:gd name="T106" fmla="*/ 30 w 40"/>
                      <a:gd name="T107" fmla="*/ 28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40" h="28">
                        <a:moveTo>
                          <a:pt x="30" y="28"/>
                        </a:moveTo>
                        <a:lnTo>
                          <a:pt x="28" y="28"/>
                        </a:lnTo>
                        <a:lnTo>
                          <a:pt x="28" y="25"/>
                        </a:lnTo>
                        <a:lnTo>
                          <a:pt x="28" y="23"/>
                        </a:lnTo>
                        <a:lnTo>
                          <a:pt x="27" y="22"/>
                        </a:lnTo>
                        <a:lnTo>
                          <a:pt x="25" y="20"/>
                        </a:lnTo>
                        <a:lnTo>
                          <a:pt x="21" y="20"/>
                        </a:lnTo>
                        <a:lnTo>
                          <a:pt x="18" y="22"/>
                        </a:lnTo>
                        <a:lnTo>
                          <a:pt x="15" y="22"/>
                        </a:lnTo>
                        <a:lnTo>
                          <a:pt x="13" y="23"/>
                        </a:lnTo>
                        <a:lnTo>
                          <a:pt x="10" y="27"/>
                        </a:lnTo>
                        <a:lnTo>
                          <a:pt x="6" y="25"/>
                        </a:lnTo>
                        <a:lnTo>
                          <a:pt x="5" y="22"/>
                        </a:lnTo>
                        <a:lnTo>
                          <a:pt x="0" y="18"/>
                        </a:lnTo>
                        <a:lnTo>
                          <a:pt x="3" y="17"/>
                        </a:lnTo>
                        <a:lnTo>
                          <a:pt x="3" y="13"/>
                        </a:lnTo>
                        <a:lnTo>
                          <a:pt x="6" y="13"/>
                        </a:lnTo>
                        <a:lnTo>
                          <a:pt x="8" y="12"/>
                        </a:lnTo>
                        <a:lnTo>
                          <a:pt x="8" y="8"/>
                        </a:lnTo>
                        <a:lnTo>
                          <a:pt x="10" y="8"/>
                        </a:lnTo>
                        <a:lnTo>
                          <a:pt x="10" y="6"/>
                        </a:lnTo>
                        <a:lnTo>
                          <a:pt x="10" y="5"/>
                        </a:lnTo>
                        <a:lnTo>
                          <a:pt x="10" y="3"/>
                        </a:lnTo>
                        <a:lnTo>
                          <a:pt x="10" y="1"/>
                        </a:lnTo>
                        <a:lnTo>
                          <a:pt x="11" y="1"/>
                        </a:lnTo>
                        <a:lnTo>
                          <a:pt x="11" y="0"/>
                        </a:lnTo>
                        <a:lnTo>
                          <a:pt x="13" y="0"/>
                        </a:lnTo>
                        <a:lnTo>
                          <a:pt x="15" y="1"/>
                        </a:lnTo>
                        <a:lnTo>
                          <a:pt x="16" y="1"/>
                        </a:lnTo>
                        <a:lnTo>
                          <a:pt x="16" y="3"/>
                        </a:lnTo>
                        <a:lnTo>
                          <a:pt x="15" y="5"/>
                        </a:lnTo>
                        <a:lnTo>
                          <a:pt x="15" y="6"/>
                        </a:lnTo>
                        <a:lnTo>
                          <a:pt x="16" y="6"/>
                        </a:lnTo>
                        <a:lnTo>
                          <a:pt x="18" y="5"/>
                        </a:lnTo>
                        <a:lnTo>
                          <a:pt x="21" y="3"/>
                        </a:lnTo>
                        <a:lnTo>
                          <a:pt x="25" y="3"/>
                        </a:lnTo>
                        <a:lnTo>
                          <a:pt x="27" y="3"/>
                        </a:lnTo>
                        <a:lnTo>
                          <a:pt x="30" y="3"/>
                        </a:lnTo>
                        <a:lnTo>
                          <a:pt x="32" y="6"/>
                        </a:lnTo>
                        <a:lnTo>
                          <a:pt x="35" y="10"/>
                        </a:lnTo>
                        <a:lnTo>
                          <a:pt x="35" y="13"/>
                        </a:lnTo>
                        <a:lnTo>
                          <a:pt x="33" y="15"/>
                        </a:lnTo>
                        <a:lnTo>
                          <a:pt x="38" y="15"/>
                        </a:lnTo>
                        <a:lnTo>
                          <a:pt x="40" y="18"/>
                        </a:lnTo>
                        <a:lnTo>
                          <a:pt x="40" y="22"/>
                        </a:lnTo>
                        <a:lnTo>
                          <a:pt x="38" y="18"/>
                        </a:lnTo>
                        <a:lnTo>
                          <a:pt x="38" y="20"/>
                        </a:lnTo>
                        <a:lnTo>
                          <a:pt x="40" y="22"/>
                        </a:lnTo>
                        <a:lnTo>
                          <a:pt x="40" y="23"/>
                        </a:lnTo>
                        <a:lnTo>
                          <a:pt x="38" y="23"/>
                        </a:lnTo>
                        <a:lnTo>
                          <a:pt x="35" y="25"/>
                        </a:lnTo>
                        <a:lnTo>
                          <a:pt x="33" y="27"/>
                        </a:lnTo>
                        <a:lnTo>
                          <a:pt x="32" y="28"/>
                        </a:lnTo>
                        <a:lnTo>
                          <a:pt x="30" y="28"/>
                        </a:lnTo>
                        <a:close/>
                      </a:path>
                    </a:pathLst>
                  </a:custGeom>
                  <a:solidFill>
                    <a:srgbClr val="D4DBE4"/>
                  </a:solidFill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16" name="Freeform 90">
                    <a:extLst>
                      <a:ext uri="{FF2B5EF4-FFF2-40B4-BE49-F238E27FC236}">
                        <a16:creationId xmlns:a16="http://schemas.microsoft.com/office/drawing/2014/main" id="{426378A2-5935-F945-AE3C-3ED52FFE352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" y="391"/>
                    <a:ext cx="40" cy="28"/>
                  </a:xfrm>
                  <a:custGeom>
                    <a:avLst/>
                    <a:gdLst>
                      <a:gd name="T0" fmla="*/ 30 w 40"/>
                      <a:gd name="T1" fmla="*/ 28 h 28"/>
                      <a:gd name="T2" fmla="*/ 28 w 40"/>
                      <a:gd name="T3" fmla="*/ 28 h 28"/>
                      <a:gd name="T4" fmla="*/ 28 w 40"/>
                      <a:gd name="T5" fmla="*/ 25 h 28"/>
                      <a:gd name="T6" fmla="*/ 28 w 40"/>
                      <a:gd name="T7" fmla="*/ 23 h 28"/>
                      <a:gd name="T8" fmla="*/ 27 w 40"/>
                      <a:gd name="T9" fmla="*/ 22 h 28"/>
                      <a:gd name="T10" fmla="*/ 25 w 40"/>
                      <a:gd name="T11" fmla="*/ 20 h 28"/>
                      <a:gd name="T12" fmla="*/ 21 w 40"/>
                      <a:gd name="T13" fmla="*/ 20 h 28"/>
                      <a:gd name="T14" fmla="*/ 18 w 40"/>
                      <a:gd name="T15" fmla="*/ 22 h 28"/>
                      <a:gd name="T16" fmla="*/ 15 w 40"/>
                      <a:gd name="T17" fmla="*/ 22 h 28"/>
                      <a:gd name="T18" fmla="*/ 13 w 40"/>
                      <a:gd name="T19" fmla="*/ 23 h 28"/>
                      <a:gd name="T20" fmla="*/ 10 w 40"/>
                      <a:gd name="T21" fmla="*/ 27 h 28"/>
                      <a:gd name="T22" fmla="*/ 6 w 40"/>
                      <a:gd name="T23" fmla="*/ 25 h 28"/>
                      <a:gd name="T24" fmla="*/ 5 w 40"/>
                      <a:gd name="T25" fmla="*/ 22 h 28"/>
                      <a:gd name="T26" fmla="*/ 0 w 40"/>
                      <a:gd name="T27" fmla="*/ 18 h 28"/>
                      <a:gd name="T28" fmla="*/ 3 w 40"/>
                      <a:gd name="T29" fmla="*/ 17 h 28"/>
                      <a:gd name="T30" fmla="*/ 3 w 40"/>
                      <a:gd name="T31" fmla="*/ 13 h 28"/>
                      <a:gd name="T32" fmla="*/ 6 w 40"/>
                      <a:gd name="T33" fmla="*/ 13 h 28"/>
                      <a:gd name="T34" fmla="*/ 8 w 40"/>
                      <a:gd name="T35" fmla="*/ 12 h 28"/>
                      <a:gd name="T36" fmla="*/ 8 w 40"/>
                      <a:gd name="T37" fmla="*/ 8 h 28"/>
                      <a:gd name="T38" fmla="*/ 10 w 40"/>
                      <a:gd name="T39" fmla="*/ 8 h 28"/>
                      <a:gd name="T40" fmla="*/ 10 w 40"/>
                      <a:gd name="T41" fmla="*/ 6 h 28"/>
                      <a:gd name="T42" fmla="*/ 10 w 40"/>
                      <a:gd name="T43" fmla="*/ 5 h 28"/>
                      <a:gd name="T44" fmla="*/ 10 w 40"/>
                      <a:gd name="T45" fmla="*/ 3 h 28"/>
                      <a:gd name="T46" fmla="*/ 10 w 40"/>
                      <a:gd name="T47" fmla="*/ 1 h 28"/>
                      <a:gd name="T48" fmla="*/ 11 w 40"/>
                      <a:gd name="T49" fmla="*/ 1 h 28"/>
                      <a:gd name="T50" fmla="*/ 11 w 40"/>
                      <a:gd name="T51" fmla="*/ 0 h 28"/>
                      <a:gd name="T52" fmla="*/ 13 w 40"/>
                      <a:gd name="T53" fmla="*/ 0 h 28"/>
                      <a:gd name="T54" fmla="*/ 15 w 40"/>
                      <a:gd name="T55" fmla="*/ 1 h 28"/>
                      <a:gd name="T56" fmla="*/ 16 w 40"/>
                      <a:gd name="T57" fmla="*/ 1 h 28"/>
                      <a:gd name="T58" fmla="*/ 16 w 40"/>
                      <a:gd name="T59" fmla="*/ 3 h 28"/>
                      <a:gd name="T60" fmla="*/ 15 w 40"/>
                      <a:gd name="T61" fmla="*/ 5 h 28"/>
                      <a:gd name="T62" fmla="*/ 15 w 40"/>
                      <a:gd name="T63" fmla="*/ 6 h 28"/>
                      <a:gd name="T64" fmla="*/ 16 w 40"/>
                      <a:gd name="T65" fmla="*/ 6 h 28"/>
                      <a:gd name="T66" fmla="*/ 18 w 40"/>
                      <a:gd name="T67" fmla="*/ 5 h 28"/>
                      <a:gd name="T68" fmla="*/ 21 w 40"/>
                      <a:gd name="T69" fmla="*/ 3 h 28"/>
                      <a:gd name="T70" fmla="*/ 25 w 40"/>
                      <a:gd name="T71" fmla="*/ 3 h 28"/>
                      <a:gd name="T72" fmla="*/ 27 w 40"/>
                      <a:gd name="T73" fmla="*/ 3 h 28"/>
                      <a:gd name="T74" fmla="*/ 30 w 40"/>
                      <a:gd name="T75" fmla="*/ 3 h 28"/>
                      <a:gd name="T76" fmla="*/ 32 w 40"/>
                      <a:gd name="T77" fmla="*/ 6 h 28"/>
                      <a:gd name="T78" fmla="*/ 35 w 40"/>
                      <a:gd name="T79" fmla="*/ 10 h 28"/>
                      <a:gd name="T80" fmla="*/ 35 w 40"/>
                      <a:gd name="T81" fmla="*/ 13 h 28"/>
                      <a:gd name="T82" fmla="*/ 33 w 40"/>
                      <a:gd name="T83" fmla="*/ 15 h 28"/>
                      <a:gd name="T84" fmla="*/ 38 w 40"/>
                      <a:gd name="T85" fmla="*/ 15 h 28"/>
                      <a:gd name="T86" fmla="*/ 40 w 40"/>
                      <a:gd name="T87" fmla="*/ 18 h 28"/>
                      <a:gd name="T88" fmla="*/ 40 w 40"/>
                      <a:gd name="T89" fmla="*/ 22 h 28"/>
                      <a:gd name="T90" fmla="*/ 38 w 40"/>
                      <a:gd name="T91" fmla="*/ 18 h 28"/>
                      <a:gd name="T92" fmla="*/ 38 w 40"/>
                      <a:gd name="T93" fmla="*/ 20 h 28"/>
                      <a:gd name="T94" fmla="*/ 40 w 40"/>
                      <a:gd name="T95" fmla="*/ 22 h 28"/>
                      <a:gd name="T96" fmla="*/ 40 w 40"/>
                      <a:gd name="T97" fmla="*/ 23 h 28"/>
                      <a:gd name="T98" fmla="*/ 38 w 40"/>
                      <a:gd name="T99" fmla="*/ 23 h 28"/>
                      <a:gd name="T100" fmla="*/ 35 w 40"/>
                      <a:gd name="T101" fmla="*/ 25 h 28"/>
                      <a:gd name="T102" fmla="*/ 33 w 40"/>
                      <a:gd name="T103" fmla="*/ 27 h 28"/>
                      <a:gd name="T104" fmla="*/ 32 w 40"/>
                      <a:gd name="T105" fmla="*/ 28 h 28"/>
                      <a:gd name="T106" fmla="*/ 30 w 40"/>
                      <a:gd name="T107" fmla="*/ 28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40" h="28">
                        <a:moveTo>
                          <a:pt x="30" y="28"/>
                        </a:moveTo>
                        <a:lnTo>
                          <a:pt x="28" y="28"/>
                        </a:lnTo>
                        <a:lnTo>
                          <a:pt x="28" y="25"/>
                        </a:lnTo>
                        <a:lnTo>
                          <a:pt x="28" y="23"/>
                        </a:lnTo>
                        <a:lnTo>
                          <a:pt x="27" y="22"/>
                        </a:lnTo>
                        <a:lnTo>
                          <a:pt x="25" y="20"/>
                        </a:lnTo>
                        <a:lnTo>
                          <a:pt x="21" y="20"/>
                        </a:lnTo>
                        <a:lnTo>
                          <a:pt x="18" y="22"/>
                        </a:lnTo>
                        <a:lnTo>
                          <a:pt x="15" y="22"/>
                        </a:lnTo>
                        <a:lnTo>
                          <a:pt x="13" y="23"/>
                        </a:lnTo>
                        <a:lnTo>
                          <a:pt x="10" y="27"/>
                        </a:lnTo>
                        <a:lnTo>
                          <a:pt x="6" y="25"/>
                        </a:lnTo>
                        <a:lnTo>
                          <a:pt x="5" y="22"/>
                        </a:lnTo>
                        <a:lnTo>
                          <a:pt x="0" y="18"/>
                        </a:lnTo>
                        <a:lnTo>
                          <a:pt x="3" y="17"/>
                        </a:lnTo>
                        <a:lnTo>
                          <a:pt x="3" y="13"/>
                        </a:lnTo>
                        <a:lnTo>
                          <a:pt x="6" y="13"/>
                        </a:lnTo>
                        <a:lnTo>
                          <a:pt x="8" y="12"/>
                        </a:lnTo>
                        <a:lnTo>
                          <a:pt x="8" y="8"/>
                        </a:lnTo>
                        <a:lnTo>
                          <a:pt x="10" y="8"/>
                        </a:lnTo>
                        <a:lnTo>
                          <a:pt x="10" y="6"/>
                        </a:lnTo>
                        <a:lnTo>
                          <a:pt x="10" y="5"/>
                        </a:lnTo>
                        <a:lnTo>
                          <a:pt x="10" y="3"/>
                        </a:lnTo>
                        <a:lnTo>
                          <a:pt x="10" y="1"/>
                        </a:lnTo>
                        <a:lnTo>
                          <a:pt x="11" y="1"/>
                        </a:lnTo>
                        <a:lnTo>
                          <a:pt x="11" y="0"/>
                        </a:lnTo>
                        <a:lnTo>
                          <a:pt x="13" y="0"/>
                        </a:lnTo>
                        <a:lnTo>
                          <a:pt x="15" y="1"/>
                        </a:lnTo>
                        <a:lnTo>
                          <a:pt x="16" y="1"/>
                        </a:lnTo>
                        <a:lnTo>
                          <a:pt x="16" y="3"/>
                        </a:lnTo>
                        <a:lnTo>
                          <a:pt x="15" y="5"/>
                        </a:lnTo>
                        <a:lnTo>
                          <a:pt x="15" y="6"/>
                        </a:lnTo>
                        <a:lnTo>
                          <a:pt x="16" y="6"/>
                        </a:lnTo>
                        <a:lnTo>
                          <a:pt x="18" y="5"/>
                        </a:lnTo>
                        <a:lnTo>
                          <a:pt x="21" y="3"/>
                        </a:lnTo>
                        <a:lnTo>
                          <a:pt x="25" y="3"/>
                        </a:lnTo>
                        <a:lnTo>
                          <a:pt x="27" y="3"/>
                        </a:lnTo>
                        <a:lnTo>
                          <a:pt x="30" y="3"/>
                        </a:lnTo>
                        <a:lnTo>
                          <a:pt x="32" y="6"/>
                        </a:lnTo>
                        <a:lnTo>
                          <a:pt x="35" y="10"/>
                        </a:lnTo>
                        <a:lnTo>
                          <a:pt x="35" y="13"/>
                        </a:lnTo>
                        <a:lnTo>
                          <a:pt x="33" y="15"/>
                        </a:lnTo>
                        <a:lnTo>
                          <a:pt x="38" y="15"/>
                        </a:lnTo>
                        <a:lnTo>
                          <a:pt x="40" y="18"/>
                        </a:lnTo>
                        <a:lnTo>
                          <a:pt x="40" y="22"/>
                        </a:lnTo>
                        <a:lnTo>
                          <a:pt x="38" y="18"/>
                        </a:lnTo>
                        <a:lnTo>
                          <a:pt x="38" y="20"/>
                        </a:lnTo>
                        <a:lnTo>
                          <a:pt x="40" y="22"/>
                        </a:lnTo>
                        <a:lnTo>
                          <a:pt x="40" y="23"/>
                        </a:lnTo>
                        <a:lnTo>
                          <a:pt x="38" y="23"/>
                        </a:lnTo>
                        <a:lnTo>
                          <a:pt x="35" y="25"/>
                        </a:lnTo>
                        <a:lnTo>
                          <a:pt x="33" y="27"/>
                        </a:lnTo>
                        <a:lnTo>
                          <a:pt x="32" y="28"/>
                        </a:lnTo>
                        <a:lnTo>
                          <a:pt x="30" y="28"/>
                        </a:lnTo>
                        <a:close/>
                      </a:path>
                    </a:pathLst>
                  </a:custGeom>
                  <a:solidFill>
                    <a:srgbClr val="EB1562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672" name="Group 1671">
                <a:extLst>
                  <a:ext uri="{FF2B5EF4-FFF2-40B4-BE49-F238E27FC236}">
                    <a16:creationId xmlns:a16="http://schemas.microsoft.com/office/drawing/2014/main" id="{FD187F07-D544-FE4C-8353-91C312622F6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50" y="578"/>
                <a:ext cx="68" cy="84"/>
                <a:chOff x="450" y="578"/>
                <a:chExt cx="68" cy="84"/>
              </a:xfrm>
            </p:grpSpPr>
            <p:sp>
              <p:nvSpPr>
                <p:cNvPr id="1699" name="Freeform 73">
                  <a:extLst>
                    <a:ext uri="{FF2B5EF4-FFF2-40B4-BE49-F238E27FC236}">
                      <a16:creationId xmlns:a16="http://schemas.microsoft.com/office/drawing/2014/main" id="{CA487CF0-BC51-3C4E-A2C6-A66C94A646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0" y="578"/>
                  <a:ext cx="68" cy="84"/>
                </a:xfrm>
                <a:custGeom>
                  <a:avLst/>
                  <a:gdLst>
                    <a:gd name="T0" fmla="*/ 64 w 68"/>
                    <a:gd name="T1" fmla="*/ 64 h 84"/>
                    <a:gd name="T2" fmla="*/ 63 w 68"/>
                    <a:gd name="T3" fmla="*/ 55 h 84"/>
                    <a:gd name="T4" fmla="*/ 59 w 68"/>
                    <a:gd name="T5" fmla="*/ 47 h 84"/>
                    <a:gd name="T6" fmla="*/ 66 w 68"/>
                    <a:gd name="T7" fmla="*/ 40 h 84"/>
                    <a:gd name="T8" fmla="*/ 61 w 68"/>
                    <a:gd name="T9" fmla="*/ 35 h 84"/>
                    <a:gd name="T10" fmla="*/ 61 w 68"/>
                    <a:gd name="T11" fmla="*/ 30 h 84"/>
                    <a:gd name="T12" fmla="*/ 54 w 68"/>
                    <a:gd name="T13" fmla="*/ 30 h 84"/>
                    <a:gd name="T14" fmla="*/ 46 w 68"/>
                    <a:gd name="T15" fmla="*/ 27 h 84"/>
                    <a:gd name="T16" fmla="*/ 44 w 68"/>
                    <a:gd name="T17" fmla="*/ 20 h 84"/>
                    <a:gd name="T18" fmla="*/ 39 w 68"/>
                    <a:gd name="T19" fmla="*/ 18 h 84"/>
                    <a:gd name="T20" fmla="*/ 36 w 68"/>
                    <a:gd name="T21" fmla="*/ 10 h 84"/>
                    <a:gd name="T22" fmla="*/ 31 w 68"/>
                    <a:gd name="T23" fmla="*/ 5 h 84"/>
                    <a:gd name="T24" fmla="*/ 26 w 68"/>
                    <a:gd name="T25" fmla="*/ 2 h 84"/>
                    <a:gd name="T26" fmla="*/ 21 w 68"/>
                    <a:gd name="T27" fmla="*/ 2 h 84"/>
                    <a:gd name="T28" fmla="*/ 12 w 68"/>
                    <a:gd name="T29" fmla="*/ 3 h 84"/>
                    <a:gd name="T30" fmla="*/ 7 w 68"/>
                    <a:gd name="T31" fmla="*/ 5 h 84"/>
                    <a:gd name="T32" fmla="*/ 7 w 68"/>
                    <a:gd name="T33" fmla="*/ 10 h 84"/>
                    <a:gd name="T34" fmla="*/ 5 w 68"/>
                    <a:gd name="T35" fmla="*/ 13 h 84"/>
                    <a:gd name="T36" fmla="*/ 9 w 68"/>
                    <a:gd name="T37" fmla="*/ 15 h 84"/>
                    <a:gd name="T38" fmla="*/ 7 w 68"/>
                    <a:gd name="T39" fmla="*/ 18 h 84"/>
                    <a:gd name="T40" fmla="*/ 14 w 68"/>
                    <a:gd name="T41" fmla="*/ 20 h 84"/>
                    <a:gd name="T42" fmla="*/ 14 w 68"/>
                    <a:gd name="T43" fmla="*/ 20 h 84"/>
                    <a:gd name="T44" fmla="*/ 12 w 68"/>
                    <a:gd name="T45" fmla="*/ 22 h 84"/>
                    <a:gd name="T46" fmla="*/ 10 w 68"/>
                    <a:gd name="T47" fmla="*/ 22 h 84"/>
                    <a:gd name="T48" fmla="*/ 9 w 68"/>
                    <a:gd name="T49" fmla="*/ 23 h 84"/>
                    <a:gd name="T50" fmla="*/ 12 w 68"/>
                    <a:gd name="T51" fmla="*/ 25 h 84"/>
                    <a:gd name="T52" fmla="*/ 9 w 68"/>
                    <a:gd name="T53" fmla="*/ 30 h 84"/>
                    <a:gd name="T54" fmla="*/ 9 w 68"/>
                    <a:gd name="T55" fmla="*/ 35 h 84"/>
                    <a:gd name="T56" fmla="*/ 12 w 68"/>
                    <a:gd name="T57" fmla="*/ 39 h 84"/>
                    <a:gd name="T58" fmla="*/ 15 w 68"/>
                    <a:gd name="T59" fmla="*/ 42 h 84"/>
                    <a:gd name="T60" fmla="*/ 17 w 68"/>
                    <a:gd name="T61" fmla="*/ 44 h 84"/>
                    <a:gd name="T62" fmla="*/ 14 w 68"/>
                    <a:gd name="T63" fmla="*/ 45 h 84"/>
                    <a:gd name="T64" fmla="*/ 12 w 68"/>
                    <a:gd name="T65" fmla="*/ 44 h 84"/>
                    <a:gd name="T66" fmla="*/ 10 w 68"/>
                    <a:gd name="T67" fmla="*/ 45 h 84"/>
                    <a:gd name="T68" fmla="*/ 12 w 68"/>
                    <a:gd name="T69" fmla="*/ 49 h 84"/>
                    <a:gd name="T70" fmla="*/ 12 w 68"/>
                    <a:gd name="T71" fmla="*/ 52 h 84"/>
                    <a:gd name="T72" fmla="*/ 9 w 68"/>
                    <a:gd name="T73" fmla="*/ 52 h 84"/>
                    <a:gd name="T74" fmla="*/ 7 w 68"/>
                    <a:gd name="T75" fmla="*/ 54 h 84"/>
                    <a:gd name="T76" fmla="*/ 9 w 68"/>
                    <a:gd name="T77" fmla="*/ 55 h 84"/>
                    <a:gd name="T78" fmla="*/ 7 w 68"/>
                    <a:gd name="T79" fmla="*/ 57 h 84"/>
                    <a:gd name="T80" fmla="*/ 4 w 68"/>
                    <a:gd name="T81" fmla="*/ 57 h 84"/>
                    <a:gd name="T82" fmla="*/ 4 w 68"/>
                    <a:gd name="T83" fmla="*/ 61 h 84"/>
                    <a:gd name="T84" fmla="*/ 2 w 68"/>
                    <a:gd name="T85" fmla="*/ 62 h 84"/>
                    <a:gd name="T86" fmla="*/ 0 w 68"/>
                    <a:gd name="T87" fmla="*/ 64 h 84"/>
                    <a:gd name="T88" fmla="*/ 2 w 68"/>
                    <a:gd name="T89" fmla="*/ 66 h 84"/>
                    <a:gd name="T90" fmla="*/ 0 w 68"/>
                    <a:gd name="T91" fmla="*/ 71 h 84"/>
                    <a:gd name="T92" fmla="*/ 2 w 68"/>
                    <a:gd name="T93" fmla="*/ 74 h 84"/>
                    <a:gd name="T94" fmla="*/ 7 w 68"/>
                    <a:gd name="T95" fmla="*/ 77 h 84"/>
                    <a:gd name="T96" fmla="*/ 10 w 68"/>
                    <a:gd name="T97" fmla="*/ 82 h 84"/>
                    <a:gd name="T98" fmla="*/ 14 w 68"/>
                    <a:gd name="T99" fmla="*/ 79 h 84"/>
                    <a:gd name="T100" fmla="*/ 14 w 68"/>
                    <a:gd name="T101" fmla="*/ 72 h 84"/>
                    <a:gd name="T102" fmla="*/ 19 w 68"/>
                    <a:gd name="T103" fmla="*/ 69 h 84"/>
                    <a:gd name="T104" fmla="*/ 24 w 68"/>
                    <a:gd name="T105" fmla="*/ 71 h 84"/>
                    <a:gd name="T106" fmla="*/ 29 w 68"/>
                    <a:gd name="T107" fmla="*/ 76 h 84"/>
                    <a:gd name="T108" fmla="*/ 32 w 68"/>
                    <a:gd name="T109" fmla="*/ 84 h 84"/>
                    <a:gd name="T110" fmla="*/ 37 w 68"/>
                    <a:gd name="T111" fmla="*/ 77 h 84"/>
                    <a:gd name="T112" fmla="*/ 42 w 68"/>
                    <a:gd name="T113" fmla="*/ 77 h 84"/>
                    <a:gd name="T114" fmla="*/ 48 w 68"/>
                    <a:gd name="T115" fmla="*/ 76 h 84"/>
                    <a:gd name="T116" fmla="*/ 53 w 68"/>
                    <a:gd name="T117" fmla="*/ 74 h 84"/>
                    <a:gd name="T118" fmla="*/ 61 w 68"/>
                    <a:gd name="T119" fmla="*/ 76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68" h="84">
                      <a:moveTo>
                        <a:pt x="61" y="69"/>
                      </a:moveTo>
                      <a:lnTo>
                        <a:pt x="64" y="64"/>
                      </a:lnTo>
                      <a:lnTo>
                        <a:pt x="68" y="61"/>
                      </a:lnTo>
                      <a:lnTo>
                        <a:pt x="63" y="55"/>
                      </a:lnTo>
                      <a:lnTo>
                        <a:pt x="61" y="52"/>
                      </a:lnTo>
                      <a:lnTo>
                        <a:pt x="59" y="47"/>
                      </a:lnTo>
                      <a:lnTo>
                        <a:pt x="61" y="42"/>
                      </a:lnTo>
                      <a:lnTo>
                        <a:pt x="66" y="40"/>
                      </a:lnTo>
                      <a:lnTo>
                        <a:pt x="63" y="39"/>
                      </a:lnTo>
                      <a:lnTo>
                        <a:pt x="61" y="35"/>
                      </a:lnTo>
                      <a:lnTo>
                        <a:pt x="64" y="32"/>
                      </a:lnTo>
                      <a:lnTo>
                        <a:pt x="61" y="30"/>
                      </a:lnTo>
                      <a:lnTo>
                        <a:pt x="58" y="32"/>
                      </a:lnTo>
                      <a:lnTo>
                        <a:pt x="54" y="30"/>
                      </a:lnTo>
                      <a:lnTo>
                        <a:pt x="51" y="30"/>
                      </a:lnTo>
                      <a:lnTo>
                        <a:pt x="46" y="27"/>
                      </a:lnTo>
                      <a:lnTo>
                        <a:pt x="46" y="22"/>
                      </a:lnTo>
                      <a:lnTo>
                        <a:pt x="44" y="20"/>
                      </a:lnTo>
                      <a:lnTo>
                        <a:pt x="42" y="18"/>
                      </a:lnTo>
                      <a:lnTo>
                        <a:pt x="39" y="18"/>
                      </a:lnTo>
                      <a:lnTo>
                        <a:pt x="37" y="15"/>
                      </a:lnTo>
                      <a:lnTo>
                        <a:pt x="36" y="10"/>
                      </a:lnTo>
                      <a:lnTo>
                        <a:pt x="34" y="7"/>
                      </a:lnTo>
                      <a:lnTo>
                        <a:pt x="31" y="5"/>
                      </a:lnTo>
                      <a:lnTo>
                        <a:pt x="27" y="3"/>
                      </a:lnTo>
                      <a:lnTo>
                        <a:pt x="26" y="2"/>
                      </a:lnTo>
                      <a:lnTo>
                        <a:pt x="24" y="0"/>
                      </a:lnTo>
                      <a:lnTo>
                        <a:pt x="21" y="2"/>
                      </a:lnTo>
                      <a:lnTo>
                        <a:pt x="17" y="2"/>
                      </a:lnTo>
                      <a:lnTo>
                        <a:pt x="12" y="3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5"/>
                      </a:lnTo>
                      <a:lnTo>
                        <a:pt x="7" y="10"/>
                      </a:lnTo>
                      <a:lnTo>
                        <a:pt x="7" y="12"/>
                      </a:lnTo>
                      <a:lnTo>
                        <a:pt x="5" y="13"/>
                      </a:lnTo>
                      <a:lnTo>
                        <a:pt x="7" y="13"/>
                      </a:lnTo>
                      <a:lnTo>
                        <a:pt x="9" y="15"/>
                      </a:lnTo>
                      <a:lnTo>
                        <a:pt x="7" y="15"/>
                      </a:lnTo>
                      <a:lnTo>
                        <a:pt x="7" y="18"/>
                      </a:lnTo>
                      <a:lnTo>
                        <a:pt x="10" y="18"/>
                      </a:lnTo>
                      <a:lnTo>
                        <a:pt x="14" y="20"/>
                      </a:lnTo>
                      <a:lnTo>
                        <a:pt x="15" y="20"/>
                      </a:lnTo>
                      <a:lnTo>
                        <a:pt x="14" y="20"/>
                      </a:lnTo>
                      <a:lnTo>
                        <a:pt x="14" y="22"/>
                      </a:lnTo>
                      <a:lnTo>
                        <a:pt x="12" y="22"/>
                      </a:lnTo>
                      <a:lnTo>
                        <a:pt x="10" y="20"/>
                      </a:lnTo>
                      <a:lnTo>
                        <a:pt x="10" y="22"/>
                      </a:lnTo>
                      <a:lnTo>
                        <a:pt x="9" y="22"/>
                      </a:lnTo>
                      <a:lnTo>
                        <a:pt x="9" y="23"/>
                      </a:lnTo>
                      <a:lnTo>
                        <a:pt x="9" y="25"/>
                      </a:lnTo>
                      <a:lnTo>
                        <a:pt x="12" y="25"/>
                      </a:lnTo>
                      <a:lnTo>
                        <a:pt x="10" y="29"/>
                      </a:lnTo>
                      <a:lnTo>
                        <a:pt x="9" y="30"/>
                      </a:lnTo>
                      <a:lnTo>
                        <a:pt x="9" y="32"/>
                      </a:lnTo>
                      <a:lnTo>
                        <a:pt x="9" y="35"/>
                      </a:lnTo>
                      <a:lnTo>
                        <a:pt x="10" y="37"/>
                      </a:lnTo>
                      <a:lnTo>
                        <a:pt x="12" y="39"/>
                      </a:lnTo>
                      <a:lnTo>
                        <a:pt x="14" y="42"/>
                      </a:lnTo>
                      <a:lnTo>
                        <a:pt x="15" y="42"/>
                      </a:lnTo>
                      <a:lnTo>
                        <a:pt x="17" y="42"/>
                      </a:lnTo>
                      <a:lnTo>
                        <a:pt x="17" y="44"/>
                      </a:lnTo>
                      <a:lnTo>
                        <a:pt x="15" y="44"/>
                      </a:lnTo>
                      <a:lnTo>
                        <a:pt x="14" y="45"/>
                      </a:lnTo>
                      <a:lnTo>
                        <a:pt x="12" y="45"/>
                      </a:lnTo>
                      <a:lnTo>
                        <a:pt x="12" y="44"/>
                      </a:lnTo>
                      <a:lnTo>
                        <a:pt x="10" y="44"/>
                      </a:lnTo>
                      <a:lnTo>
                        <a:pt x="10" y="45"/>
                      </a:lnTo>
                      <a:lnTo>
                        <a:pt x="12" y="47"/>
                      </a:lnTo>
                      <a:lnTo>
                        <a:pt x="12" y="49"/>
                      </a:lnTo>
                      <a:lnTo>
                        <a:pt x="12" y="50"/>
                      </a:lnTo>
                      <a:lnTo>
                        <a:pt x="12" y="52"/>
                      </a:lnTo>
                      <a:lnTo>
                        <a:pt x="10" y="52"/>
                      </a:lnTo>
                      <a:lnTo>
                        <a:pt x="9" y="52"/>
                      </a:lnTo>
                      <a:lnTo>
                        <a:pt x="7" y="52"/>
                      </a:lnTo>
                      <a:lnTo>
                        <a:pt x="7" y="54"/>
                      </a:lnTo>
                      <a:lnTo>
                        <a:pt x="7" y="55"/>
                      </a:lnTo>
                      <a:lnTo>
                        <a:pt x="9" y="55"/>
                      </a:lnTo>
                      <a:lnTo>
                        <a:pt x="9" y="57"/>
                      </a:lnTo>
                      <a:lnTo>
                        <a:pt x="7" y="57"/>
                      </a:lnTo>
                      <a:lnTo>
                        <a:pt x="5" y="57"/>
                      </a:lnTo>
                      <a:lnTo>
                        <a:pt x="4" y="57"/>
                      </a:lnTo>
                      <a:lnTo>
                        <a:pt x="4" y="59"/>
                      </a:lnTo>
                      <a:lnTo>
                        <a:pt x="4" y="61"/>
                      </a:lnTo>
                      <a:lnTo>
                        <a:pt x="4" y="62"/>
                      </a:lnTo>
                      <a:lnTo>
                        <a:pt x="2" y="62"/>
                      </a:lnTo>
                      <a:lnTo>
                        <a:pt x="0" y="62"/>
                      </a:lnTo>
                      <a:lnTo>
                        <a:pt x="0" y="64"/>
                      </a:lnTo>
                      <a:lnTo>
                        <a:pt x="0" y="66"/>
                      </a:lnTo>
                      <a:lnTo>
                        <a:pt x="2" y="66"/>
                      </a:lnTo>
                      <a:lnTo>
                        <a:pt x="2" y="67"/>
                      </a:lnTo>
                      <a:lnTo>
                        <a:pt x="0" y="71"/>
                      </a:lnTo>
                      <a:lnTo>
                        <a:pt x="0" y="72"/>
                      </a:lnTo>
                      <a:lnTo>
                        <a:pt x="2" y="74"/>
                      </a:lnTo>
                      <a:lnTo>
                        <a:pt x="4" y="74"/>
                      </a:lnTo>
                      <a:lnTo>
                        <a:pt x="7" y="77"/>
                      </a:lnTo>
                      <a:lnTo>
                        <a:pt x="9" y="79"/>
                      </a:lnTo>
                      <a:lnTo>
                        <a:pt x="10" y="82"/>
                      </a:lnTo>
                      <a:lnTo>
                        <a:pt x="12" y="84"/>
                      </a:lnTo>
                      <a:lnTo>
                        <a:pt x="14" y="79"/>
                      </a:lnTo>
                      <a:lnTo>
                        <a:pt x="14" y="77"/>
                      </a:lnTo>
                      <a:lnTo>
                        <a:pt x="14" y="72"/>
                      </a:lnTo>
                      <a:lnTo>
                        <a:pt x="17" y="71"/>
                      </a:lnTo>
                      <a:lnTo>
                        <a:pt x="19" y="69"/>
                      </a:lnTo>
                      <a:lnTo>
                        <a:pt x="21" y="71"/>
                      </a:lnTo>
                      <a:lnTo>
                        <a:pt x="24" y="71"/>
                      </a:lnTo>
                      <a:lnTo>
                        <a:pt x="27" y="74"/>
                      </a:lnTo>
                      <a:lnTo>
                        <a:pt x="29" y="76"/>
                      </a:lnTo>
                      <a:lnTo>
                        <a:pt x="32" y="79"/>
                      </a:lnTo>
                      <a:lnTo>
                        <a:pt x="32" y="84"/>
                      </a:lnTo>
                      <a:lnTo>
                        <a:pt x="34" y="82"/>
                      </a:lnTo>
                      <a:lnTo>
                        <a:pt x="37" y="77"/>
                      </a:lnTo>
                      <a:lnTo>
                        <a:pt x="41" y="77"/>
                      </a:lnTo>
                      <a:lnTo>
                        <a:pt x="42" y="77"/>
                      </a:lnTo>
                      <a:lnTo>
                        <a:pt x="44" y="76"/>
                      </a:lnTo>
                      <a:lnTo>
                        <a:pt x="48" y="76"/>
                      </a:lnTo>
                      <a:lnTo>
                        <a:pt x="51" y="76"/>
                      </a:lnTo>
                      <a:lnTo>
                        <a:pt x="53" y="74"/>
                      </a:lnTo>
                      <a:lnTo>
                        <a:pt x="59" y="74"/>
                      </a:lnTo>
                      <a:lnTo>
                        <a:pt x="61" y="76"/>
                      </a:lnTo>
                      <a:lnTo>
                        <a:pt x="61" y="69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00" name="Freeform 74">
                  <a:extLst>
                    <a:ext uri="{FF2B5EF4-FFF2-40B4-BE49-F238E27FC236}">
                      <a16:creationId xmlns:a16="http://schemas.microsoft.com/office/drawing/2014/main" id="{D1E9C4E7-5BB2-3540-A593-C9FC3F56C4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0" y="578"/>
                  <a:ext cx="68" cy="84"/>
                </a:xfrm>
                <a:custGeom>
                  <a:avLst/>
                  <a:gdLst>
                    <a:gd name="T0" fmla="*/ 64 w 68"/>
                    <a:gd name="T1" fmla="*/ 64 h 84"/>
                    <a:gd name="T2" fmla="*/ 63 w 68"/>
                    <a:gd name="T3" fmla="*/ 55 h 84"/>
                    <a:gd name="T4" fmla="*/ 59 w 68"/>
                    <a:gd name="T5" fmla="*/ 47 h 84"/>
                    <a:gd name="T6" fmla="*/ 66 w 68"/>
                    <a:gd name="T7" fmla="*/ 40 h 84"/>
                    <a:gd name="T8" fmla="*/ 61 w 68"/>
                    <a:gd name="T9" fmla="*/ 35 h 84"/>
                    <a:gd name="T10" fmla="*/ 61 w 68"/>
                    <a:gd name="T11" fmla="*/ 30 h 84"/>
                    <a:gd name="T12" fmla="*/ 54 w 68"/>
                    <a:gd name="T13" fmla="*/ 30 h 84"/>
                    <a:gd name="T14" fmla="*/ 46 w 68"/>
                    <a:gd name="T15" fmla="*/ 27 h 84"/>
                    <a:gd name="T16" fmla="*/ 44 w 68"/>
                    <a:gd name="T17" fmla="*/ 20 h 84"/>
                    <a:gd name="T18" fmla="*/ 39 w 68"/>
                    <a:gd name="T19" fmla="*/ 18 h 84"/>
                    <a:gd name="T20" fmla="*/ 36 w 68"/>
                    <a:gd name="T21" fmla="*/ 10 h 84"/>
                    <a:gd name="T22" fmla="*/ 31 w 68"/>
                    <a:gd name="T23" fmla="*/ 5 h 84"/>
                    <a:gd name="T24" fmla="*/ 26 w 68"/>
                    <a:gd name="T25" fmla="*/ 2 h 84"/>
                    <a:gd name="T26" fmla="*/ 21 w 68"/>
                    <a:gd name="T27" fmla="*/ 2 h 84"/>
                    <a:gd name="T28" fmla="*/ 12 w 68"/>
                    <a:gd name="T29" fmla="*/ 3 h 84"/>
                    <a:gd name="T30" fmla="*/ 7 w 68"/>
                    <a:gd name="T31" fmla="*/ 5 h 84"/>
                    <a:gd name="T32" fmla="*/ 7 w 68"/>
                    <a:gd name="T33" fmla="*/ 10 h 84"/>
                    <a:gd name="T34" fmla="*/ 5 w 68"/>
                    <a:gd name="T35" fmla="*/ 13 h 84"/>
                    <a:gd name="T36" fmla="*/ 9 w 68"/>
                    <a:gd name="T37" fmla="*/ 15 h 84"/>
                    <a:gd name="T38" fmla="*/ 7 w 68"/>
                    <a:gd name="T39" fmla="*/ 18 h 84"/>
                    <a:gd name="T40" fmla="*/ 14 w 68"/>
                    <a:gd name="T41" fmla="*/ 20 h 84"/>
                    <a:gd name="T42" fmla="*/ 14 w 68"/>
                    <a:gd name="T43" fmla="*/ 20 h 84"/>
                    <a:gd name="T44" fmla="*/ 12 w 68"/>
                    <a:gd name="T45" fmla="*/ 22 h 84"/>
                    <a:gd name="T46" fmla="*/ 10 w 68"/>
                    <a:gd name="T47" fmla="*/ 22 h 84"/>
                    <a:gd name="T48" fmla="*/ 9 w 68"/>
                    <a:gd name="T49" fmla="*/ 23 h 84"/>
                    <a:gd name="T50" fmla="*/ 12 w 68"/>
                    <a:gd name="T51" fmla="*/ 25 h 84"/>
                    <a:gd name="T52" fmla="*/ 9 w 68"/>
                    <a:gd name="T53" fmla="*/ 30 h 84"/>
                    <a:gd name="T54" fmla="*/ 9 w 68"/>
                    <a:gd name="T55" fmla="*/ 35 h 84"/>
                    <a:gd name="T56" fmla="*/ 12 w 68"/>
                    <a:gd name="T57" fmla="*/ 39 h 84"/>
                    <a:gd name="T58" fmla="*/ 15 w 68"/>
                    <a:gd name="T59" fmla="*/ 42 h 84"/>
                    <a:gd name="T60" fmla="*/ 17 w 68"/>
                    <a:gd name="T61" fmla="*/ 44 h 84"/>
                    <a:gd name="T62" fmla="*/ 14 w 68"/>
                    <a:gd name="T63" fmla="*/ 45 h 84"/>
                    <a:gd name="T64" fmla="*/ 12 w 68"/>
                    <a:gd name="T65" fmla="*/ 44 h 84"/>
                    <a:gd name="T66" fmla="*/ 10 w 68"/>
                    <a:gd name="T67" fmla="*/ 45 h 84"/>
                    <a:gd name="T68" fmla="*/ 12 w 68"/>
                    <a:gd name="T69" fmla="*/ 49 h 84"/>
                    <a:gd name="T70" fmla="*/ 12 w 68"/>
                    <a:gd name="T71" fmla="*/ 52 h 84"/>
                    <a:gd name="T72" fmla="*/ 9 w 68"/>
                    <a:gd name="T73" fmla="*/ 52 h 84"/>
                    <a:gd name="T74" fmla="*/ 7 w 68"/>
                    <a:gd name="T75" fmla="*/ 54 h 84"/>
                    <a:gd name="T76" fmla="*/ 9 w 68"/>
                    <a:gd name="T77" fmla="*/ 55 h 84"/>
                    <a:gd name="T78" fmla="*/ 7 w 68"/>
                    <a:gd name="T79" fmla="*/ 57 h 84"/>
                    <a:gd name="T80" fmla="*/ 4 w 68"/>
                    <a:gd name="T81" fmla="*/ 57 h 84"/>
                    <a:gd name="T82" fmla="*/ 4 w 68"/>
                    <a:gd name="T83" fmla="*/ 61 h 84"/>
                    <a:gd name="T84" fmla="*/ 2 w 68"/>
                    <a:gd name="T85" fmla="*/ 62 h 84"/>
                    <a:gd name="T86" fmla="*/ 0 w 68"/>
                    <a:gd name="T87" fmla="*/ 64 h 84"/>
                    <a:gd name="T88" fmla="*/ 2 w 68"/>
                    <a:gd name="T89" fmla="*/ 66 h 84"/>
                    <a:gd name="T90" fmla="*/ 0 w 68"/>
                    <a:gd name="T91" fmla="*/ 71 h 84"/>
                    <a:gd name="T92" fmla="*/ 2 w 68"/>
                    <a:gd name="T93" fmla="*/ 74 h 84"/>
                    <a:gd name="T94" fmla="*/ 7 w 68"/>
                    <a:gd name="T95" fmla="*/ 77 h 84"/>
                    <a:gd name="T96" fmla="*/ 10 w 68"/>
                    <a:gd name="T97" fmla="*/ 82 h 84"/>
                    <a:gd name="T98" fmla="*/ 14 w 68"/>
                    <a:gd name="T99" fmla="*/ 79 h 84"/>
                    <a:gd name="T100" fmla="*/ 14 w 68"/>
                    <a:gd name="T101" fmla="*/ 72 h 84"/>
                    <a:gd name="T102" fmla="*/ 19 w 68"/>
                    <a:gd name="T103" fmla="*/ 69 h 84"/>
                    <a:gd name="T104" fmla="*/ 24 w 68"/>
                    <a:gd name="T105" fmla="*/ 71 h 84"/>
                    <a:gd name="T106" fmla="*/ 29 w 68"/>
                    <a:gd name="T107" fmla="*/ 76 h 84"/>
                    <a:gd name="T108" fmla="*/ 32 w 68"/>
                    <a:gd name="T109" fmla="*/ 84 h 84"/>
                    <a:gd name="T110" fmla="*/ 37 w 68"/>
                    <a:gd name="T111" fmla="*/ 77 h 84"/>
                    <a:gd name="T112" fmla="*/ 42 w 68"/>
                    <a:gd name="T113" fmla="*/ 77 h 84"/>
                    <a:gd name="T114" fmla="*/ 48 w 68"/>
                    <a:gd name="T115" fmla="*/ 76 h 84"/>
                    <a:gd name="T116" fmla="*/ 53 w 68"/>
                    <a:gd name="T117" fmla="*/ 74 h 84"/>
                    <a:gd name="T118" fmla="*/ 61 w 68"/>
                    <a:gd name="T119" fmla="*/ 76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68" h="84">
                      <a:moveTo>
                        <a:pt x="61" y="69"/>
                      </a:moveTo>
                      <a:lnTo>
                        <a:pt x="64" y="64"/>
                      </a:lnTo>
                      <a:lnTo>
                        <a:pt x="68" y="61"/>
                      </a:lnTo>
                      <a:lnTo>
                        <a:pt x="63" y="55"/>
                      </a:lnTo>
                      <a:lnTo>
                        <a:pt x="61" y="52"/>
                      </a:lnTo>
                      <a:lnTo>
                        <a:pt x="59" y="47"/>
                      </a:lnTo>
                      <a:lnTo>
                        <a:pt x="61" y="42"/>
                      </a:lnTo>
                      <a:lnTo>
                        <a:pt x="66" y="40"/>
                      </a:lnTo>
                      <a:lnTo>
                        <a:pt x="63" y="39"/>
                      </a:lnTo>
                      <a:lnTo>
                        <a:pt x="61" y="35"/>
                      </a:lnTo>
                      <a:lnTo>
                        <a:pt x="64" y="32"/>
                      </a:lnTo>
                      <a:lnTo>
                        <a:pt x="61" y="30"/>
                      </a:lnTo>
                      <a:lnTo>
                        <a:pt x="58" y="32"/>
                      </a:lnTo>
                      <a:lnTo>
                        <a:pt x="54" y="30"/>
                      </a:lnTo>
                      <a:lnTo>
                        <a:pt x="51" y="30"/>
                      </a:lnTo>
                      <a:lnTo>
                        <a:pt x="46" y="27"/>
                      </a:lnTo>
                      <a:lnTo>
                        <a:pt x="46" y="22"/>
                      </a:lnTo>
                      <a:lnTo>
                        <a:pt x="44" y="20"/>
                      </a:lnTo>
                      <a:lnTo>
                        <a:pt x="42" y="18"/>
                      </a:lnTo>
                      <a:lnTo>
                        <a:pt x="39" y="18"/>
                      </a:lnTo>
                      <a:lnTo>
                        <a:pt x="37" y="15"/>
                      </a:lnTo>
                      <a:lnTo>
                        <a:pt x="36" y="10"/>
                      </a:lnTo>
                      <a:lnTo>
                        <a:pt x="34" y="7"/>
                      </a:lnTo>
                      <a:lnTo>
                        <a:pt x="31" y="5"/>
                      </a:lnTo>
                      <a:lnTo>
                        <a:pt x="27" y="3"/>
                      </a:lnTo>
                      <a:lnTo>
                        <a:pt x="26" y="2"/>
                      </a:lnTo>
                      <a:lnTo>
                        <a:pt x="24" y="0"/>
                      </a:lnTo>
                      <a:lnTo>
                        <a:pt x="21" y="2"/>
                      </a:lnTo>
                      <a:lnTo>
                        <a:pt x="17" y="2"/>
                      </a:lnTo>
                      <a:lnTo>
                        <a:pt x="12" y="3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5"/>
                      </a:lnTo>
                      <a:lnTo>
                        <a:pt x="7" y="10"/>
                      </a:lnTo>
                      <a:lnTo>
                        <a:pt x="7" y="12"/>
                      </a:lnTo>
                      <a:lnTo>
                        <a:pt x="5" y="13"/>
                      </a:lnTo>
                      <a:lnTo>
                        <a:pt x="7" y="13"/>
                      </a:lnTo>
                      <a:lnTo>
                        <a:pt x="9" y="15"/>
                      </a:lnTo>
                      <a:lnTo>
                        <a:pt x="7" y="15"/>
                      </a:lnTo>
                      <a:lnTo>
                        <a:pt x="7" y="18"/>
                      </a:lnTo>
                      <a:lnTo>
                        <a:pt x="10" y="18"/>
                      </a:lnTo>
                      <a:lnTo>
                        <a:pt x="14" y="20"/>
                      </a:lnTo>
                      <a:lnTo>
                        <a:pt x="15" y="20"/>
                      </a:lnTo>
                      <a:lnTo>
                        <a:pt x="14" y="20"/>
                      </a:lnTo>
                      <a:lnTo>
                        <a:pt x="14" y="22"/>
                      </a:lnTo>
                      <a:lnTo>
                        <a:pt x="12" y="22"/>
                      </a:lnTo>
                      <a:lnTo>
                        <a:pt x="10" y="20"/>
                      </a:lnTo>
                      <a:lnTo>
                        <a:pt x="10" y="22"/>
                      </a:lnTo>
                      <a:lnTo>
                        <a:pt x="9" y="22"/>
                      </a:lnTo>
                      <a:lnTo>
                        <a:pt x="9" y="23"/>
                      </a:lnTo>
                      <a:lnTo>
                        <a:pt x="9" y="25"/>
                      </a:lnTo>
                      <a:lnTo>
                        <a:pt x="12" y="25"/>
                      </a:lnTo>
                      <a:lnTo>
                        <a:pt x="10" y="29"/>
                      </a:lnTo>
                      <a:lnTo>
                        <a:pt x="9" y="30"/>
                      </a:lnTo>
                      <a:lnTo>
                        <a:pt x="9" y="32"/>
                      </a:lnTo>
                      <a:lnTo>
                        <a:pt x="9" y="35"/>
                      </a:lnTo>
                      <a:lnTo>
                        <a:pt x="10" y="37"/>
                      </a:lnTo>
                      <a:lnTo>
                        <a:pt x="12" y="39"/>
                      </a:lnTo>
                      <a:lnTo>
                        <a:pt x="14" y="42"/>
                      </a:lnTo>
                      <a:lnTo>
                        <a:pt x="15" y="42"/>
                      </a:lnTo>
                      <a:lnTo>
                        <a:pt x="17" y="42"/>
                      </a:lnTo>
                      <a:lnTo>
                        <a:pt x="17" y="44"/>
                      </a:lnTo>
                      <a:lnTo>
                        <a:pt x="15" y="44"/>
                      </a:lnTo>
                      <a:lnTo>
                        <a:pt x="14" y="45"/>
                      </a:lnTo>
                      <a:lnTo>
                        <a:pt x="12" y="45"/>
                      </a:lnTo>
                      <a:lnTo>
                        <a:pt x="12" y="44"/>
                      </a:lnTo>
                      <a:lnTo>
                        <a:pt x="10" y="44"/>
                      </a:lnTo>
                      <a:lnTo>
                        <a:pt x="10" y="45"/>
                      </a:lnTo>
                      <a:lnTo>
                        <a:pt x="12" y="47"/>
                      </a:lnTo>
                      <a:lnTo>
                        <a:pt x="12" y="49"/>
                      </a:lnTo>
                      <a:lnTo>
                        <a:pt x="12" y="50"/>
                      </a:lnTo>
                      <a:lnTo>
                        <a:pt x="12" y="52"/>
                      </a:lnTo>
                      <a:lnTo>
                        <a:pt x="10" y="52"/>
                      </a:lnTo>
                      <a:lnTo>
                        <a:pt x="9" y="52"/>
                      </a:lnTo>
                      <a:lnTo>
                        <a:pt x="7" y="52"/>
                      </a:lnTo>
                      <a:lnTo>
                        <a:pt x="7" y="54"/>
                      </a:lnTo>
                      <a:lnTo>
                        <a:pt x="7" y="55"/>
                      </a:lnTo>
                      <a:lnTo>
                        <a:pt x="9" y="55"/>
                      </a:lnTo>
                      <a:lnTo>
                        <a:pt x="9" y="57"/>
                      </a:lnTo>
                      <a:lnTo>
                        <a:pt x="7" y="57"/>
                      </a:lnTo>
                      <a:lnTo>
                        <a:pt x="5" y="57"/>
                      </a:lnTo>
                      <a:lnTo>
                        <a:pt x="4" y="57"/>
                      </a:lnTo>
                      <a:lnTo>
                        <a:pt x="4" y="59"/>
                      </a:lnTo>
                      <a:lnTo>
                        <a:pt x="4" y="61"/>
                      </a:lnTo>
                      <a:lnTo>
                        <a:pt x="4" y="62"/>
                      </a:lnTo>
                      <a:lnTo>
                        <a:pt x="2" y="62"/>
                      </a:lnTo>
                      <a:lnTo>
                        <a:pt x="0" y="62"/>
                      </a:lnTo>
                      <a:lnTo>
                        <a:pt x="0" y="64"/>
                      </a:lnTo>
                      <a:lnTo>
                        <a:pt x="0" y="66"/>
                      </a:lnTo>
                      <a:lnTo>
                        <a:pt x="2" y="66"/>
                      </a:lnTo>
                      <a:lnTo>
                        <a:pt x="2" y="67"/>
                      </a:lnTo>
                      <a:lnTo>
                        <a:pt x="0" y="71"/>
                      </a:lnTo>
                      <a:lnTo>
                        <a:pt x="0" y="72"/>
                      </a:lnTo>
                      <a:lnTo>
                        <a:pt x="2" y="74"/>
                      </a:lnTo>
                      <a:lnTo>
                        <a:pt x="4" y="74"/>
                      </a:lnTo>
                      <a:lnTo>
                        <a:pt x="7" y="77"/>
                      </a:lnTo>
                      <a:lnTo>
                        <a:pt x="9" y="79"/>
                      </a:lnTo>
                      <a:lnTo>
                        <a:pt x="10" y="82"/>
                      </a:lnTo>
                      <a:lnTo>
                        <a:pt x="12" y="84"/>
                      </a:lnTo>
                      <a:lnTo>
                        <a:pt x="14" y="79"/>
                      </a:lnTo>
                      <a:lnTo>
                        <a:pt x="14" y="77"/>
                      </a:lnTo>
                      <a:lnTo>
                        <a:pt x="14" y="72"/>
                      </a:lnTo>
                      <a:lnTo>
                        <a:pt x="17" y="71"/>
                      </a:lnTo>
                      <a:lnTo>
                        <a:pt x="19" y="69"/>
                      </a:lnTo>
                      <a:lnTo>
                        <a:pt x="21" y="71"/>
                      </a:lnTo>
                      <a:lnTo>
                        <a:pt x="24" y="71"/>
                      </a:lnTo>
                      <a:lnTo>
                        <a:pt x="27" y="74"/>
                      </a:lnTo>
                      <a:lnTo>
                        <a:pt x="29" y="76"/>
                      </a:lnTo>
                      <a:lnTo>
                        <a:pt x="32" y="79"/>
                      </a:lnTo>
                      <a:lnTo>
                        <a:pt x="32" y="84"/>
                      </a:lnTo>
                      <a:lnTo>
                        <a:pt x="34" y="82"/>
                      </a:lnTo>
                      <a:lnTo>
                        <a:pt x="37" y="77"/>
                      </a:lnTo>
                      <a:lnTo>
                        <a:pt x="41" y="77"/>
                      </a:lnTo>
                      <a:lnTo>
                        <a:pt x="42" y="77"/>
                      </a:lnTo>
                      <a:lnTo>
                        <a:pt x="44" y="76"/>
                      </a:lnTo>
                      <a:lnTo>
                        <a:pt x="48" y="76"/>
                      </a:lnTo>
                      <a:lnTo>
                        <a:pt x="51" y="76"/>
                      </a:lnTo>
                      <a:lnTo>
                        <a:pt x="53" y="74"/>
                      </a:lnTo>
                      <a:lnTo>
                        <a:pt x="59" y="74"/>
                      </a:lnTo>
                      <a:lnTo>
                        <a:pt x="61" y="76"/>
                      </a:lnTo>
                      <a:lnTo>
                        <a:pt x="61" y="69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73" name="Group 1672">
                <a:extLst>
                  <a:ext uri="{FF2B5EF4-FFF2-40B4-BE49-F238E27FC236}">
                    <a16:creationId xmlns:a16="http://schemas.microsoft.com/office/drawing/2014/main" id="{020F54B0-2D40-FD4C-8987-A36B92036DC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49" y="623"/>
                <a:ext cx="7" cy="10"/>
                <a:chOff x="349" y="623"/>
                <a:chExt cx="7" cy="10"/>
              </a:xfrm>
            </p:grpSpPr>
            <p:sp>
              <p:nvSpPr>
                <p:cNvPr id="1697" name="Freeform 71">
                  <a:extLst>
                    <a:ext uri="{FF2B5EF4-FFF2-40B4-BE49-F238E27FC236}">
                      <a16:creationId xmlns:a16="http://schemas.microsoft.com/office/drawing/2014/main" id="{03608B2A-79FB-4B45-9491-795E973FD7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" y="623"/>
                  <a:ext cx="7" cy="10"/>
                </a:xfrm>
                <a:custGeom>
                  <a:avLst/>
                  <a:gdLst>
                    <a:gd name="T0" fmla="*/ 64 w 64"/>
                    <a:gd name="T1" fmla="*/ 0 h 96"/>
                    <a:gd name="T2" fmla="*/ 64 w 64"/>
                    <a:gd name="T3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64" h="96">
                      <a:moveTo>
                        <a:pt x="64" y="0"/>
                      </a:moveTo>
                      <a:cubicBezTo>
                        <a:pt x="0" y="39"/>
                        <a:pt x="64" y="96"/>
                        <a:pt x="64" y="0"/>
                      </a:cubicBezTo>
                    </a:path>
                  </a:pathLst>
                </a:custGeom>
                <a:solidFill>
                  <a:srgbClr val="D4DBE4"/>
                </a:solidFill>
                <a:ln w="0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8" name="Freeform 72">
                  <a:extLst>
                    <a:ext uri="{FF2B5EF4-FFF2-40B4-BE49-F238E27FC236}">
                      <a16:creationId xmlns:a16="http://schemas.microsoft.com/office/drawing/2014/main" id="{41C3FC12-09A7-3547-857A-1961DFFF69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" y="623"/>
                  <a:ext cx="7" cy="10"/>
                </a:xfrm>
                <a:custGeom>
                  <a:avLst/>
                  <a:gdLst>
                    <a:gd name="T0" fmla="*/ 7 w 7"/>
                    <a:gd name="T1" fmla="*/ 0 h 10"/>
                    <a:gd name="T2" fmla="*/ 7 w 7"/>
                    <a:gd name="T3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7" h="10">
                      <a:moveTo>
                        <a:pt x="7" y="0"/>
                      </a:moveTo>
                      <a:cubicBezTo>
                        <a:pt x="0" y="4"/>
                        <a:pt x="7" y="10"/>
                        <a:pt x="7" y="0"/>
                      </a:cubicBezTo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74" name="Group 1673">
                <a:extLst>
                  <a:ext uri="{FF2B5EF4-FFF2-40B4-BE49-F238E27FC236}">
                    <a16:creationId xmlns:a16="http://schemas.microsoft.com/office/drawing/2014/main" id="{7624B48C-3984-1641-B2C7-E95CB61EA8E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70" y="628"/>
                <a:ext cx="7" cy="7"/>
                <a:chOff x="270" y="628"/>
                <a:chExt cx="7" cy="7"/>
              </a:xfrm>
            </p:grpSpPr>
            <p:grpSp>
              <p:nvGrpSpPr>
                <p:cNvPr id="1691" name="Group 1690">
                  <a:extLst>
                    <a:ext uri="{FF2B5EF4-FFF2-40B4-BE49-F238E27FC236}">
                      <a16:creationId xmlns:a16="http://schemas.microsoft.com/office/drawing/2014/main" id="{789F75BA-AD8E-224D-8220-5EC6A62A0867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70" y="628"/>
                  <a:ext cx="7" cy="7"/>
                  <a:chOff x="270" y="628"/>
                  <a:chExt cx="7" cy="7"/>
                </a:xfrm>
              </p:grpSpPr>
              <p:sp>
                <p:nvSpPr>
                  <p:cNvPr id="1695" name="Oval 1694">
                    <a:extLst>
                      <a:ext uri="{FF2B5EF4-FFF2-40B4-BE49-F238E27FC236}">
                        <a16:creationId xmlns:a16="http://schemas.microsoft.com/office/drawing/2014/main" id="{0A97CC71-21C4-B544-9BC0-53598BA345F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70" y="628"/>
                    <a:ext cx="7" cy="7"/>
                  </a:xfrm>
                  <a:prstGeom prst="ellipse">
                    <a:avLst/>
                  </a:prstGeom>
                  <a:solidFill>
                    <a:srgbClr val="D4DBE4"/>
                  </a:solidFill>
                  <a:ln w="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96" name="Oval 1695">
                    <a:extLst>
                      <a:ext uri="{FF2B5EF4-FFF2-40B4-BE49-F238E27FC236}">
                        <a16:creationId xmlns:a16="http://schemas.microsoft.com/office/drawing/2014/main" id="{0306EEDA-CF64-3E40-A3B0-90D0673FB49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70" y="628"/>
                    <a:ext cx="7" cy="7"/>
                  </a:xfrm>
                  <a:prstGeom prst="ellipse">
                    <a:avLst/>
                  </a:pr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692" name="Group 1691">
                  <a:extLst>
                    <a:ext uri="{FF2B5EF4-FFF2-40B4-BE49-F238E27FC236}">
                      <a16:creationId xmlns:a16="http://schemas.microsoft.com/office/drawing/2014/main" id="{46432559-0394-B04C-AC4D-D97137CF6326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70" y="628"/>
                  <a:ext cx="7" cy="7"/>
                  <a:chOff x="270" y="628"/>
                  <a:chExt cx="7" cy="7"/>
                </a:xfrm>
              </p:grpSpPr>
              <p:sp>
                <p:nvSpPr>
                  <p:cNvPr id="1693" name="Oval 1692">
                    <a:extLst>
                      <a:ext uri="{FF2B5EF4-FFF2-40B4-BE49-F238E27FC236}">
                        <a16:creationId xmlns:a16="http://schemas.microsoft.com/office/drawing/2014/main" id="{443901B4-AAE9-234F-AFE1-5AB3736D44A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70" y="628"/>
                    <a:ext cx="7" cy="7"/>
                  </a:xfrm>
                  <a:prstGeom prst="ellipse">
                    <a:avLst/>
                  </a:prstGeom>
                  <a:solidFill>
                    <a:srgbClr val="D4DBE4"/>
                  </a:solidFill>
                  <a:ln w="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94" name="Oval 1693">
                    <a:extLst>
                      <a:ext uri="{FF2B5EF4-FFF2-40B4-BE49-F238E27FC236}">
                        <a16:creationId xmlns:a16="http://schemas.microsoft.com/office/drawing/2014/main" id="{C20790DA-07FB-584B-870C-E6A9F66248B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70" y="628"/>
                    <a:ext cx="7" cy="7"/>
                  </a:xfrm>
                  <a:prstGeom prst="ellipse">
                    <a:avLst/>
                  </a:pr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675" name="Group 1674">
                <a:extLst>
                  <a:ext uri="{FF2B5EF4-FFF2-40B4-BE49-F238E27FC236}">
                    <a16:creationId xmlns:a16="http://schemas.microsoft.com/office/drawing/2014/main" id="{18A73AF6-A085-CE4B-9DE5-085BE9408C8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21" y="372"/>
                <a:ext cx="150" cy="100"/>
                <a:chOff x="521" y="372"/>
                <a:chExt cx="150" cy="100"/>
              </a:xfrm>
            </p:grpSpPr>
            <p:sp>
              <p:nvSpPr>
                <p:cNvPr id="1689" name="Freeform 63">
                  <a:extLst>
                    <a:ext uri="{FF2B5EF4-FFF2-40B4-BE49-F238E27FC236}">
                      <a16:creationId xmlns:a16="http://schemas.microsoft.com/office/drawing/2014/main" id="{0147AEEA-A09C-CA49-B25B-965DCC3C69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1" y="372"/>
                  <a:ext cx="150" cy="100"/>
                </a:xfrm>
                <a:custGeom>
                  <a:avLst/>
                  <a:gdLst>
                    <a:gd name="T0" fmla="*/ 69 w 150"/>
                    <a:gd name="T1" fmla="*/ 2 h 100"/>
                    <a:gd name="T2" fmla="*/ 66 w 150"/>
                    <a:gd name="T3" fmla="*/ 9 h 100"/>
                    <a:gd name="T4" fmla="*/ 56 w 150"/>
                    <a:gd name="T5" fmla="*/ 7 h 100"/>
                    <a:gd name="T6" fmla="*/ 49 w 150"/>
                    <a:gd name="T7" fmla="*/ 10 h 100"/>
                    <a:gd name="T8" fmla="*/ 46 w 150"/>
                    <a:gd name="T9" fmla="*/ 15 h 100"/>
                    <a:gd name="T10" fmla="*/ 52 w 150"/>
                    <a:gd name="T11" fmla="*/ 17 h 100"/>
                    <a:gd name="T12" fmla="*/ 44 w 150"/>
                    <a:gd name="T13" fmla="*/ 24 h 100"/>
                    <a:gd name="T14" fmla="*/ 37 w 150"/>
                    <a:gd name="T15" fmla="*/ 29 h 100"/>
                    <a:gd name="T16" fmla="*/ 36 w 150"/>
                    <a:gd name="T17" fmla="*/ 37 h 100"/>
                    <a:gd name="T18" fmla="*/ 27 w 150"/>
                    <a:gd name="T19" fmla="*/ 42 h 100"/>
                    <a:gd name="T20" fmla="*/ 17 w 150"/>
                    <a:gd name="T21" fmla="*/ 46 h 100"/>
                    <a:gd name="T22" fmla="*/ 9 w 150"/>
                    <a:gd name="T23" fmla="*/ 46 h 100"/>
                    <a:gd name="T24" fmla="*/ 5 w 150"/>
                    <a:gd name="T25" fmla="*/ 51 h 100"/>
                    <a:gd name="T26" fmla="*/ 12 w 150"/>
                    <a:gd name="T27" fmla="*/ 61 h 100"/>
                    <a:gd name="T28" fmla="*/ 12 w 150"/>
                    <a:gd name="T29" fmla="*/ 73 h 100"/>
                    <a:gd name="T30" fmla="*/ 2 w 150"/>
                    <a:gd name="T31" fmla="*/ 79 h 100"/>
                    <a:gd name="T32" fmla="*/ 5 w 150"/>
                    <a:gd name="T33" fmla="*/ 86 h 100"/>
                    <a:gd name="T34" fmla="*/ 3 w 150"/>
                    <a:gd name="T35" fmla="*/ 95 h 100"/>
                    <a:gd name="T36" fmla="*/ 12 w 150"/>
                    <a:gd name="T37" fmla="*/ 95 h 100"/>
                    <a:gd name="T38" fmla="*/ 19 w 150"/>
                    <a:gd name="T39" fmla="*/ 91 h 100"/>
                    <a:gd name="T40" fmla="*/ 30 w 150"/>
                    <a:gd name="T41" fmla="*/ 88 h 100"/>
                    <a:gd name="T42" fmla="*/ 41 w 150"/>
                    <a:gd name="T43" fmla="*/ 88 h 100"/>
                    <a:gd name="T44" fmla="*/ 57 w 150"/>
                    <a:gd name="T45" fmla="*/ 93 h 100"/>
                    <a:gd name="T46" fmla="*/ 71 w 150"/>
                    <a:gd name="T47" fmla="*/ 95 h 100"/>
                    <a:gd name="T48" fmla="*/ 79 w 150"/>
                    <a:gd name="T49" fmla="*/ 95 h 100"/>
                    <a:gd name="T50" fmla="*/ 91 w 150"/>
                    <a:gd name="T51" fmla="*/ 96 h 100"/>
                    <a:gd name="T52" fmla="*/ 96 w 150"/>
                    <a:gd name="T53" fmla="*/ 96 h 100"/>
                    <a:gd name="T54" fmla="*/ 105 w 150"/>
                    <a:gd name="T55" fmla="*/ 98 h 100"/>
                    <a:gd name="T56" fmla="*/ 111 w 150"/>
                    <a:gd name="T57" fmla="*/ 96 h 100"/>
                    <a:gd name="T58" fmla="*/ 110 w 150"/>
                    <a:gd name="T59" fmla="*/ 93 h 100"/>
                    <a:gd name="T60" fmla="*/ 115 w 150"/>
                    <a:gd name="T61" fmla="*/ 90 h 100"/>
                    <a:gd name="T62" fmla="*/ 127 w 150"/>
                    <a:gd name="T63" fmla="*/ 84 h 100"/>
                    <a:gd name="T64" fmla="*/ 133 w 150"/>
                    <a:gd name="T65" fmla="*/ 83 h 100"/>
                    <a:gd name="T66" fmla="*/ 132 w 150"/>
                    <a:gd name="T67" fmla="*/ 76 h 100"/>
                    <a:gd name="T68" fmla="*/ 127 w 150"/>
                    <a:gd name="T69" fmla="*/ 63 h 100"/>
                    <a:gd name="T70" fmla="*/ 133 w 150"/>
                    <a:gd name="T71" fmla="*/ 64 h 100"/>
                    <a:gd name="T72" fmla="*/ 145 w 150"/>
                    <a:gd name="T73" fmla="*/ 64 h 100"/>
                    <a:gd name="T74" fmla="*/ 147 w 150"/>
                    <a:gd name="T75" fmla="*/ 56 h 100"/>
                    <a:gd name="T76" fmla="*/ 142 w 150"/>
                    <a:gd name="T77" fmla="*/ 51 h 100"/>
                    <a:gd name="T78" fmla="*/ 132 w 150"/>
                    <a:gd name="T79" fmla="*/ 49 h 100"/>
                    <a:gd name="T80" fmla="*/ 133 w 150"/>
                    <a:gd name="T81" fmla="*/ 46 h 100"/>
                    <a:gd name="T82" fmla="*/ 123 w 150"/>
                    <a:gd name="T83" fmla="*/ 36 h 100"/>
                    <a:gd name="T84" fmla="*/ 120 w 150"/>
                    <a:gd name="T85" fmla="*/ 29 h 100"/>
                    <a:gd name="T86" fmla="*/ 123 w 150"/>
                    <a:gd name="T87" fmla="*/ 22 h 100"/>
                    <a:gd name="T88" fmla="*/ 120 w 150"/>
                    <a:gd name="T89" fmla="*/ 15 h 100"/>
                    <a:gd name="T90" fmla="*/ 115 w 150"/>
                    <a:gd name="T91" fmla="*/ 10 h 100"/>
                    <a:gd name="T92" fmla="*/ 106 w 150"/>
                    <a:gd name="T93" fmla="*/ 7 h 100"/>
                    <a:gd name="T94" fmla="*/ 100 w 150"/>
                    <a:gd name="T95" fmla="*/ 9 h 100"/>
                    <a:gd name="T96" fmla="*/ 96 w 150"/>
                    <a:gd name="T97" fmla="*/ 5 h 100"/>
                    <a:gd name="T98" fmla="*/ 93 w 150"/>
                    <a:gd name="T99" fmla="*/ 4 h 100"/>
                    <a:gd name="T100" fmla="*/ 84 w 150"/>
                    <a:gd name="T101" fmla="*/ 4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50" h="100">
                      <a:moveTo>
                        <a:pt x="76" y="0"/>
                      </a:moveTo>
                      <a:lnTo>
                        <a:pt x="74" y="0"/>
                      </a:lnTo>
                      <a:lnTo>
                        <a:pt x="73" y="0"/>
                      </a:lnTo>
                      <a:lnTo>
                        <a:pt x="69" y="0"/>
                      </a:lnTo>
                      <a:lnTo>
                        <a:pt x="69" y="2"/>
                      </a:lnTo>
                      <a:lnTo>
                        <a:pt x="69" y="4"/>
                      </a:lnTo>
                      <a:lnTo>
                        <a:pt x="69" y="5"/>
                      </a:lnTo>
                      <a:lnTo>
                        <a:pt x="69" y="7"/>
                      </a:lnTo>
                      <a:lnTo>
                        <a:pt x="68" y="7"/>
                      </a:lnTo>
                      <a:lnTo>
                        <a:pt x="66" y="9"/>
                      </a:lnTo>
                      <a:lnTo>
                        <a:pt x="63" y="9"/>
                      </a:lnTo>
                      <a:lnTo>
                        <a:pt x="61" y="7"/>
                      </a:lnTo>
                      <a:lnTo>
                        <a:pt x="59" y="7"/>
                      </a:lnTo>
                      <a:lnTo>
                        <a:pt x="57" y="7"/>
                      </a:lnTo>
                      <a:lnTo>
                        <a:pt x="56" y="7"/>
                      </a:lnTo>
                      <a:lnTo>
                        <a:pt x="54" y="9"/>
                      </a:lnTo>
                      <a:lnTo>
                        <a:pt x="52" y="9"/>
                      </a:lnTo>
                      <a:lnTo>
                        <a:pt x="51" y="9"/>
                      </a:lnTo>
                      <a:lnTo>
                        <a:pt x="49" y="9"/>
                      </a:lnTo>
                      <a:lnTo>
                        <a:pt x="49" y="10"/>
                      </a:lnTo>
                      <a:lnTo>
                        <a:pt x="47" y="10"/>
                      </a:lnTo>
                      <a:lnTo>
                        <a:pt x="47" y="12"/>
                      </a:lnTo>
                      <a:lnTo>
                        <a:pt x="47" y="14"/>
                      </a:lnTo>
                      <a:lnTo>
                        <a:pt x="46" y="14"/>
                      </a:lnTo>
                      <a:lnTo>
                        <a:pt x="46" y="15"/>
                      </a:lnTo>
                      <a:lnTo>
                        <a:pt x="47" y="15"/>
                      </a:lnTo>
                      <a:lnTo>
                        <a:pt x="49" y="15"/>
                      </a:lnTo>
                      <a:lnTo>
                        <a:pt x="49" y="17"/>
                      </a:lnTo>
                      <a:lnTo>
                        <a:pt x="51" y="17"/>
                      </a:lnTo>
                      <a:lnTo>
                        <a:pt x="52" y="17"/>
                      </a:lnTo>
                      <a:lnTo>
                        <a:pt x="54" y="19"/>
                      </a:lnTo>
                      <a:lnTo>
                        <a:pt x="54" y="20"/>
                      </a:lnTo>
                      <a:lnTo>
                        <a:pt x="52" y="20"/>
                      </a:lnTo>
                      <a:lnTo>
                        <a:pt x="49" y="22"/>
                      </a:lnTo>
                      <a:lnTo>
                        <a:pt x="44" y="24"/>
                      </a:lnTo>
                      <a:lnTo>
                        <a:pt x="42" y="24"/>
                      </a:lnTo>
                      <a:lnTo>
                        <a:pt x="41" y="24"/>
                      </a:lnTo>
                      <a:lnTo>
                        <a:pt x="39" y="25"/>
                      </a:lnTo>
                      <a:lnTo>
                        <a:pt x="37" y="27"/>
                      </a:lnTo>
                      <a:lnTo>
                        <a:pt x="37" y="29"/>
                      </a:lnTo>
                      <a:lnTo>
                        <a:pt x="37" y="31"/>
                      </a:lnTo>
                      <a:lnTo>
                        <a:pt x="36" y="32"/>
                      </a:lnTo>
                      <a:lnTo>
                        <a:pt x="36" y="34"/>
                      </a:lnTo>
                      <a:lnTo>
                        <a:pt x="36" y="36"/>
                      </a:lnTo>
                      <a:lnTo>
                        <a:pt x="36" y="37"/>
                      </a:lnTo>
                      <a:lnTo>
                        <a:pt x="37" y="39"/>
                      </a:lnTo>
                      <a:lnTo>
                        <a:pt x="36" y="41"/>
                      </a:lnTo>
                      <a:lnTo>
                        <a:pt x="32" y="42"/>
                      </a:lnTo>
                      <a:lnTo>
                        <a:pt x="30" y="42"/>
                      </a:lnTo>
                      <a:lnTo>
                        <a:pt x="27" y="42"/>
                      </a:lnTo>
                      <a:lnTo>
                        <a:pt x="24" y="42"/>
                      </a:lnTo>
                      <a:lnTo>
                        <a:pt x="22" y="42"/>
                      </a:lnTo>
                      <a:lnTo>
                        <a:pt x="20" y="42"/>
                      </a:lnTo>
                      <a:lnTo>
                        <a:pt x="17" y="44"/>
                      </a:lnTo>
                      <a:lnTo>
                        <a:pt x="17" y="46"/>
                      </a:lnTo>
                      <a:lnTo>
                        <a:pt x="15" y="46"/>
                      </a:lnTo>
                      <a:lnTo>
                        <a:pt x="14" y="46"/>
                      </a:lnTo>
                      <a:lnTo>
                        <a:pt x="12" y="47"/>
                      </a:lnTo>
                      <a:lnTo>
                        <a:pt x="10" y="46"/>
                      </a:lnTo>
                      <a:lnTo>
                        <a:pt x="9" y="46"/>
                      </a:lnTo>
                      <a:lnTo>
                        <a:pt x="7" y="44"/>
                      </a:lnTo>
                      <a:lnTo>
                        <a:pt x="5" y="44"/>
                      </a:lnTo>
                      <a:lnTo>
                        <a:pt x="3" y="46"/>
                      </a:lnTo>
                      <a:lnTo>
                        <a:pt x="3" y="47"/>
                      </a:lnTo>
                      <a:lnTo>
                        <a:pt x="5" y="51"/>
                      </a:lnTo>
                      <a:lnTo>
                        <a:pt x="7" y="54"/>
                      </a:lnTo>
                      <a:lnTo>
                        <a:pt x="7" y="56"/>
                      </a:lnTo>
                      <a:lnTo>
                        <a:pt x="9" y="58"/>
                      </a:lnTo>
                      <a:lnTo>
                        <a:pt x="10" y="59"/>
                      </a:lnTo>
                      <a:lnTo>
                        <a:pt x="12" y="61"/>
                      </a:lnTo>
                      <a:lnTo>
                        <a:pt x="14" y="64"/>
                      </a:lnTo>
                      <a:lnTo>
                        <a:pt x="14" y="68"/>
                      </a:lnTo>
                      <a:lnTo>
                        <a:pt x="14" y="69"/>
                      </a:lnTo>
                      <a:lnTo>
                        <a:pt x="12" y="71"/>
                      </a:lnTo>
                      <a:lnTo>
                        <a:pt x="12" y="73"/>
                      </a:lnTo>
                      <a:lnTo>
                        <a:pt x="12" y="74"/>
                      </a:lnTo>
                      <a:lnTo>
                        <a:pt x="10" y="74"/>
                      </a:lnTo>
                      <a:lnTo>
                        <a:pt x="9" y="76"/>
                      </a:lnTo>
                      <a:lnTo>
                        <a:pt x="5" y="78"/>
                      </a:lnTo>
                      <a:lnTo>
                        <a:pt x="2" y="79"/>
                      </a:lnTo>
                      <a:lnTo>
                        <a:pt x="2" y="81"/>
                      </a:lnTo>
                      <a:lnTo>
                        <a:pt x="0" y="83"/>
                      </a:lnTo>
                      <a:lnTo>
                        <a:pt x="2" y="84"/>
                      </a:lnTo>
                      <a:lnTo>
                        <a:pt x="3" y="86"/>
                      </a:lnTo>
                      <a:lnTo>
                        <a:pt x="5" y="86"/>
                      </a:lnTo>
                      <a:lnTo>
                        <a:pt x="5" y="88"/>
                      </a:lnTo>
                      <a:lnTo>
                        <a:pt x="5" y="90"/>
                      </a:lnTo>
                      <a:lnTo>
                        <a:pt x="3" y="91"/>
                      </a:lnTo>
                      <a:lnTo>
                        <a:pt x="3" y="93"/>
                      </a:lnTo>
                      <a:lnTo>
                        <a:pt x="3" y="95"/>
                      </a:lnTo>
                      <a:lnTo>
                        <a:pt x="3" y="96"/>
                      </a:lnTo>
                      <a:lnTo>
                        <a:pt x="7" y="96"/>
                      </a:lnTo>
                      <a:lnTo>
                        <a:pt x="9" y="96"/>
                      </a:lnTo>
                      <a:lnTo>
                        <a:pt x="10" y="96"/>
                      </a:lnTo>
                      <a:lnTo>
                        <a:pt x="12" y="95"/>
                      </a:lnTo>
                      <a:lnTo>
                        <a:pt x="15" y="95"/>
                      </a:lnTo>
                      <a:lnTo>
                        <a:pt x="15" y="93"/>
                      </a:lnTo>
                      <a:lnTo>
                        <a:pt x="17" y="93"/>
                      </a:lnTo>
                      <a:lnTo>
                        <a:pt x="17" y="91"/>
                      </a:lnTo>
                      <a:lnTo>
                        <a:pt x="19" y="91"/>
                      </a:lnTo>
                      <a:lnTo>
                        <a:pt x="20" y="90"/>
                      </a:lnTo>
                      <a:lnTo>
                        <a:pt x="22" y="88"/>
                      </a:lnTo>
                      <a:lnTo>
                        <a:pt x="25" y="88"/>
                      </a:lnTo>
                      <a:lnTo>
                        <a:pt x="29" y="88"/>
                      </a:lnTo>
                      <a:lnTo>
                        <a:pt x="30" y="88"/>
                      </a:lnTo>
                      <a:lnTo>
                        <a:pt x="34" y="88"/>
                      </a:lnTo>
                      <a:lnTo>
                        <a:pt x="36" y="90"/>
                      </a:lnTo>
                      <a:lnTo>
                        <a:pt x="37" y="88"/>
                      </a:lnTo>
                      <a:lnTo>
                        <a:pt x="39" y="88"/>
                      </a:lnTo>
                      <a:lnTo>
                        <a:pt x="41" y="88"/>
                      </a:lnTo>
                      <a:lnTo>
                        <a:pt x="42" y="90"/>
                      </a:lnTo>
                      <a:lnTo>
                        <a:pt x="46" y="91"/>
                      </a:lnTo>
                      <a:lnTo>
                        <a:pt x="49" y="93"/>
                      </a:lnTo>
                      <a:lnTo>
                        <a:pt x="52" y="93"/>
                      </a:lnTo>
                      <a:lnTo>
                        <a:pt x="57" y="93"/>
                      </a:lnTo>
                      <a:lnTo>
                        <a:pt x="63" y="93"/>
                      </a:lnTo>
                      <a:lnTo>
                        <a:pt x="66" y="93"/>
                      </a:lnTo>
                      <a:lnTo>
                        <a:pt x="68" y="95"/>
                      </a:lnTo>
                      <a:lnTo>
                        <a:pt x="69" y="95"/>
                      </a:lnTo>
                      <a:lnTo>
                        <a:pt x="71" y="95"/>
                      </a:lnTo>
                      <a:lnTo>
                        <a:pt x="73" y="96"/>
                      </a:lnTo>
                      <a:lnTo>
                        <a:pt x="74" y="96"/>
                      </a:lnTo>
                      <a:lnTo>
                        <a:pt x="76" y="95"/>
                      </a:lnTo>
                      <a:lnTo>
                        <a:pt x="78" y="95"/>
                      </a:lnTo>
                      <a:lnTo>
                        <a:pt x="79" y="95"/>
                      </a:lnTo>
                      <a:lnTo>
                        <a:pt x="81" y="95"/>
                      </a:lnTo>
                      <a:lnTo>
                        <a:pt x="83" y="95"/>
                      </a:lnTo>
                      <a:lnTo>
                        <a:pt x="86" y="96"/>
                      </a:lnTo>
                      <a:lnTo>
                        <a:pt x="89" y="96"/>
                      </a:lnTo>
                      <a:lnTo>
                        <a:pt x="91" y="96"/>
                      </a:lnTo>
                      <a:lnTo>
                        <a:pt x="91" y="95"/>
                      </a:lnTo>
                      <a:lnTo>
                        <a:pt x="93" y="95"/>
                      </a:lnTo>
                      <a:lnTo>
                        <a:pt x="95" y="95"/>
                      </a:lnTo>
                      <a:lnTo>
                        <a:pt x="95" y="96"/>
                      </a:lnTo>
                      <a:lnTo>
                        <a:pt x="96" y="96"/>
                      </a:lnTo>
                      <a:lnTo>
                        <a:pt x="96" y="98"/>
                      </a:lnTo>
                      <a:lnTo>
                        <a:pt x="98" y="100"/>
                      </a:lnTo>
                      <a:lnTo>
                        <a:pt x="101" y="98"/>
                      </a:lnTo>
                      <a:lnTo>
                        <a:pt x="103" y="98"/>
                      </a:lnTo>
                      <a:lnTo>
                        <a:pt x="105" y="98"/>
                      </a:lnTo>
                      <a:lnTo>
                        <a:pt x="106" y="98"/>
                      </a:lnTo>
                      <a:lnTo>
                        <a:pt x="108" y="98"/>
                      </a:lnTo>
                      <a:lnTo>
                        <a:pt x="108" y="96"/>
                      </a:lnTo>
                      <a:lnTo>
                        <a:pt x="110" y="96"/>
                      </a:lnTo>
                      <a:lnTo>
                        <a:pt x="111" y="96"/>
                      </a:lnTo>
                      <a:lnTo>
                        <a:pt x="113" y="96"/>
                      </a:lnTo>
                      <a:lnTo>
                        <a:pt x="113" y="95"/>
                      </a:lnTo>
                      <a:lnTo>
                        <a:pt x="111" y="95"/>
                      </a:lnTo>
                      <a:lnTo>
                        <a:pt x="111" y="93"/>
                      </a:lnTo>
                      <a:lnTo>
                        <a:pt x="110" y="93"/>
                      </a:lnTo>
                      <a:lnTo>
                        <a:pt x="110" y="91"/>
                      </a:lnTo>
                      <a:lnTo>
                        <a:pt x="110" y="90"/>
                      </a:lnTo>
                      <a:lnTo>
                        <a:pt x="111" y="90"/>
                      </a:lnTo>
                      <a:lnTo>
                        <a:pt x="113" y="90"/>
                      </a:lnTo>
                      <a:lnTo>
                        <a:pt x="115" y="90"/>
                      </a:lnTo>
                      <a:lnTo>
                        <a:pt x="118" y="88"/>
                      </a:lnTo>
                      <a:lnTo>
                        <a:pt x="120" y="88"/>
                      </a:lnTo>
                      <a:lnTo>
                        <a:pt x="123" y="84"/>
                      </a:lnTo>
                      <a:lnTo>
                        <a:pt x="125" y="84"/>
                      </a:lnTo>
                      <a:lnTo>
                        <a:pt x="127" y="84"/>
                      </a:lnTo>
                      <a:lnTo>
                        <a:pt x="130" y="84"/>
                      </a:lnTo>
                      <a:lnTo>
                        <a:pt x="132" y="84"/>
                      </a:lnTo>
                      <a:lnTo>
                        <a:pt x="133" y="86"/>
                      </a:lnTo>
                      <a:lnTo>
                        <a:pt x="133" y="84"/>
                      </a:lnTo>
                      <a:lnTo>
                        <a:pt x="133" y="83"/>
                      </a:lnTo>
                      <a:lnTo>
                        <a:pt x="132" y="83"/>
                      </a:lnTo>
                      <a:lnTo>
                        <a:pt x="130" y="81"/>
                      </a:lnTo>
                      <a:lnTo>
                        <a:pt x="130" y="79"/>
                      </a:lnTo>
                      <a:lnTo>
                        <a:pt x="130" y="78"/>
                      </a:lnTo>
                      <a:lnTo>
                        <a:pt x="132" y="76"/>
                      </a:lnTo>
                      <a:lnTo>
                        <a:pt x="132" y="73"/>
                      </a:lnTo>
                      <a:lnTo>
                        <a:pt x="130" y="71"/>
                      </a:lnTo>
                      <a:lnTo>
                        <a:pt x="125" y="66"/>
                      </a:lnTo>
                      <a:lnTo>
                        <a:pt x="125" y="64"/>
                      </a:lnTo>
                      <a:lnTo>
                        <a:pt x="127" y="63"/>
                      </a:lnTo>
                      <a:lnTo>
                        <a:pt x="128" y="63"/>
                      </a:lnTo>
                      <a:lnTo>
                        <a:pt x="130" y="63"/>
                      </a:lnTo>
                      <a:lnTo>
                        <a:pt x="132" y="63"/>
                      </a:lnTo>
                      <a:lnTo>
                        <a:pt x="132" y="64"/>
                      </a:lnTo>
                      <a:lnTo>
                        <a:pt x="133" y="64"/>
                      </a:lnTo>
                      <a:lnTo>
                        <a:pt x="135" y="66"/>
                      </a:lnTo>
                      <a:lnTo>
                        <a:pt x="138" y="66"/>
                      </a:lnTo>
                      <a:lnTo>
                        <a:pt x="140" y="66"/>
                      </a:lnTo>
                      <a:lnTo>
                        <a:pt x="142" y="64"/>
                      </a:lnTo>
                      <a:lnTo>
                        <a:pt x="145" y="64"/>
                      </a:lnTo>
                      <a:lnTo>
                        <a:pt x="147" y="63"/>
                      </a:lnTo>
                      <a:lnTo>
                        <a:pt x="149" y="61"/>
                      </a:lnTo>
                      <a:lnTo>
                        <a:pt x="150" y="59"/>
                      </a:lnTo>
                      <a:lnTo>
                        <a:pt x="149" y="58"/>
                      </a:lnTo>
                      <a:lnTo>
                        <a:pt x="147" y="56"/>
                      </a:lnTo>
                      <a:lnTo>
                        <a:pt x="145" y="56"/>
                      </a:lnTo>
                      <a:lnTo>
                        <a:pt x="143" y="56"/>
                      </a:lnTo>
                      <a:lnTo>
                        <a:pt x="143" y="54"/>
                      </a:lnTo>
                      <a:lnTo>
                        <a:pt x="143" y="52"/>
                      </a:lnTo>
                      <a:lnTo>
                        <a:pt x="142" y="51"/>
                      </a:lnTo>
                      <a:lnTo>
                        <a:pt x="140" y="51"/>
                      </a:lnTo>
                      <a:lnTo>
                        <a:pt x="137" y="51"/>
                      </a:lnTo>
                      <a:lnTo>
                        <a:pt x="133" y="51"/>
                      </a:lnTo>
                      <a:lnTo>
                        <a:pt x="132" y="51"/>
                      </a:lnTo>
                      <a:lnTo>
                        <a:pt x="132" y="49"/>
                      </a:lnTo>
                      <a:lnTo>
                        <a:pt x="133" y="49"/>
                      </a:lnTo>
                      <a:lnTo>
                        <a:pt x="133" y="47"/>
                      </a:lnTo>
                      <a:lnTo>
                        <a:pt x="135" y="47"/>
                      </a:lnTo>
                      <a:lnTo>
                        <a:pt x="135" y="46"/>
                      </a:lnTo>
                      <a:lnTo>
                        <a:pt x="133" y="46"/>
                      </a:lnTo>
                      <a:lnTo>
                        <a:pt x="133" y="44"/>
                      </a:lnTo>
                      <a:lnTo>
                        <a:pt x="127" y="41"/>
                      </a:lnTo>
                      <a:lnTo>
                        <a:pt x="123" y="39"/>
                      </a:lnTo>
                      <a:lnTo>
                        <a:pt x="123" y="37"/>
                      </a:lnTo>
                      <a:lnTo>
                        <a:pt x="123" y="36"/>
                      </a:lnTo>
                      <a:lnTo>
                        <a:pt x="123" y="34"/>
                      </a:lnTo>
                      <a:lnTo>
                        <a:pt x="123" y="32"/>
                      </a:lnTo>
                      <a:lnTo>
                        <a:pt x="122" y="32"/>
                      </a:lnTo>
                      <a:lnTo>
                        <a:pt x="120" y="31"/>
                      </a:lnTo>
                      <a:lnTo>
                        <a:pt x="120" y="29"/>
                      </a:lnTo>
                      <a:lnTo>
                        <a:pt x="118" y="27"/>
                      </a:lnTo>
                      <a:lnTo>
                        <a:pt x="118" y="25"/>
                      </a:lnTo>
                      <a:lnTo>
                        <a:pt x="120" y="24"/>
                      </a:lnTo>
                      <a:lnTo>
                        <a:pt x="122" y="22"/>
                      </a:lnTo>
                      <a:lnTo>
                        <a:pt x="123" y="22"/>
                      </a:lnTo>
                      <a:lnTo>
                        <a:pt x="122" y="22"/>
                      </a:lnTo>
                      <a:lnTo>
                        <a:pt x="120" y="20"/>
                      </a:lnTo>
                      <a:lnTo>
                        <a:pt x="118" y="19"/>
                      </a:lnTo>
                      <a:lnTo>
                        <a:pt x="118" y="17"/>
                      </a:lnTo>
                      <a:lnTo>
                        <a:pt x="120" y="15"/>
                      </a:lnTo>
                      <a:lnTo>
                        <a:pt x="120" y="14"/>
                      </a:lnTo>
                      <a:lnTo>
                        <a:pt x="120" y="12"/>
                      </a:lnTo>
                      <a:lnTo>
                        <a:pt x="118" y="12"/>
                      </a:lnTo>
                      <a:lnTo>
                        <a:pt x="116" y="12"/>
                      </a:lnTo>
                      <a:lnTo>
                        <a:pt x="115" y="10"/>
                      </a:lnTo>
                      <a:lnTo>
                        <a:pt x="113" y="9"/>
                      </a:lnTo>
                      <a:lnTo>
                        <a:pt x="113" y="7"/>
                      </a:lnTo>
                      <a:lnTo>
                        <a:pt x="111" y="7"/>
                      </a:lnTo>
                      <a:lnTo>
                        <a:pt x="108" y="7"/>
                      </a:lnTo>
                      <a:lnTo>
                        <a:pt x="106" y="7"/>
                      </a:lnTo>
                      <a:lnTo>
                        <a:pt x="105" y="7"/>
                      </a:lnTo>
                      <a:lnTo>
                        <a:pt x="103" y="7"/>
                      </a:lnTo>
                      <a:lnTo>
                        <a:pt x="101" y="7"/>
                      </a:lnTo>
                      <a:lnTo>
                        <a:pt x="100" y="7"/>
                      </a:lnTo>
                      <a:lnTo>
                        <a:pt x="100" y="9"/>
                      </a:lnTo>
                      <a:lnTo>
                        <a:pt x="98" y="10"/>
                      </a:lnTo>
                      <a:lnTo>
                        <a:pt x="96" y="10"/>
                      </a:lnTo>
                      <a:lnTo>
                        <a:pt x="96" y="9"/>
                      </a:lnTo>
                      <a:lnTo>
                        <a:pt x="96" y="7"/>
                      </a:lnTo>
                      <a:lnTo>
                        <a:pt x="96" y="5"/>
                      </a:lnTo>
                      <a:lnTo>
                        <a:pt x="98" y="5"/>
                      </a:lnTo>
                      <a:lnTo>
                        <a:pt x="98" y="4"/>
                      </a:lnTo>
                      <a:lnTo>
                        <a:pt x="96" y="4"/>
                      </a:lnTo>
                      <a:lnTo>
                        <a:pt x="95" y="4"/>
                      </a:lnTo>
                      <a:lnTo>
                        <a:pt x="93" y="4"/>
                      </a:lnTo>
                      <a:lnTo>
                        <a:pt x="91" y="4"/>
                      </a:lnTo>
                      <a:lnTo>
                        <a:pt x="89" y="4"/>
                      </a:lnTo>
                      <a:lnTo>
                        <a:pt x="88" y="4"/>
                      </a:lnTo>
                      <a:lnTo>
                        <a:pt x="86" y="4"/>
                      </a:lnTo>
                      <a:lnTo>
                        <a:pt x="84" y="4"/>
                      </a:lnTo>
                      <a:lnTo>
                        <a:pt x="81" y="2"/>
                      </a:lnTo>
                      <a:lnTo>
                        <a:pt x="79" y="0"/>
                      </a:lnTo>
                      <a:lnTo>
                        <a:pt x="78" y="0"/>
                      </a:lnTo>
                      <a:lnTo>
                        <a:pt x="76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0" name="Freeform 64">
                  <a:extLst>
                    <a:ext uri="{FF2B5EF4-FFF2-40B4-BE49-F238E27FC236}">
                      <a16:creationId xmlns:a16="http://schemas.microsoft.com/office/drawing/2014/main" id="{AD705627-60A3-324D-AA71-46DF82B896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1" y="372"/>
                  <a:ext cx="150" cy="100"/>
                </a:xfrm>
                <a:custGeom>
                  <a:avLst/>
                  <a:gdLst>
                    <a:gd name="T0" fmla="*/ 69 w 150"/>
                    <a:gd name="T1" fmla="*/ 2 h 100"/>
                    <a:gd name="T2" fmla="*/ 66 w 150"/>
                    <a:gd name="T3" fmla="*/ 9 h 100"/>
                    <a:gd name="T4" fmla="*/ 56 w 150"/>
                    <a:gd name="T5" fmla="*/ 7 h 100"/>
                    <a:gd name="T6" fmla="*/ 49 w 150"/>
                    <a:gd name="T7" fmla="*/ 10 h 100"/>
                    <a:gd name="T8" fmla="*/ 46 w 150"/>
                    <a:gd name="T9" fmla="*/ 15 h 100"/>
                    <a:gd name="T10" fmla="*/ 52 w 150"/>
                    <a:gd name="T11" fmla="*/ 17 h 100"/>
                    <a:gd name="T12" fmla="*/ 44 w 150"/>
                    <a:gd name="T13" fmla="*/ 24 h 100"/>
                    <a:gd name="T14" fmla="*/ 37 w 150"/>
                    <a:gd name="T15" fmla="*/ 29 h 100"/>
                    <a:gd name="T16" fmla="*/ 36 w 150"/>
                    <a:gd name="T17" fmla="*/ 37 h 100"/>
                    <a:gd name="T18" fmla="*/ 27 w 150"/>
                    <a:gd name="T19" fmla="*/ 42 h 100"/>
                    <a:gd name="T20" fmla="*/ 17 w 150"/>
                    <a:gd name="T21" fmla="*/ 46 h 100"/>
                    <a:gd name="T22" fmla="*/ 9 w 150"/>
                    <a:gd name="T23" fmla="*/ 46 h 100"/>
                    <a:gd name="T24" fmla="*/ 5 w 150"/>
                    <a:gd name="T25" fmla="*/ 51 h 100"/>
                    <a:gd name="T26" fmla="*/ 12 w 150"/>
                    <a:gd name="T27" fmla="*/ 61 h 100"/>
                    <a:gd name="T28" fmla="*/ 12 w 150"/>
                    <a:gd name="T29" fmla="*/ 73 h 100"/>
                    <a:gd name="T30" fmla="*/ 2 w 150"/>
                    <a:gd name="T31" fmla="*/ 79 h 100"/>
                    <a:gd name="T32" fmla="*/ 5 w 150"/>
                    <a:gd name="T33" fmla="*/ 86 h 100"/>
                    <a:gd name="T34" fmla="*/ 3 w 150"/>
                    <a:gd name="T35" fmla="*/ 95 h 100"/>
                    <a:gd name="T36" fmla="*/ 12 w 150"/>
                    <a:gd name="T37" fmla="*/ 95 h 100"/>
                    <a:gd name="T38" fmla="*/ 19 w 150"/>
                    <a:gd name="T39" fmla="*/ 91 h 100"/>
                    <a:gd name="T40" fmla="*/ 30 w 150"/>
                    <a:gd name="T41" fmla="*/ 88 h 100"/>
                    <a:gd name="T42" fmla="*/ 41 w 150"/>
                    <a:gd name="T43" fmla="*/ 88 h 100"/>
                    <a:gd name="T44" fmla="*/ 57 w 150"/>
                    <a:gd name="T45" fmla="*/ 93 h 100"/>
                    <a:gd name="T46" fmla="*/ 71 w 150"/>
                    <a:gd name="T47" fmla="*/ 95 h 100"/>
                    <a:gd name="T48" fmla="*/ 79 w 150"/>
                    <a:gd name="T49" fmla="*/ 95 h 100"/>
                    <a:gd name="T50" fmla="*/ 91 w 150"/>
                    <a:gd name="T51" fmla="*/ 96 h 100"/>
                    <a:gd name="T52" fmla="*/ 96 w 150"/>
                    <a:gd name="T53" fmla="*/ 96 h 100"/>
                    <a:gd name="T54" fmla="*/ 105 w 150"/>
                    <a:gd name="T55" fmla="*/ 98 h 100"/>
                    <a:gd name="T56" fmla="*/ 111 w 150"/>
                    <a:gd name="T57" fmla="*/ 96 h 100"/>
                    <a:gd name="T58" fmla="*/ 110 w 150"/>
                    <a:gd name="T59" fmla="*/ 93 h 100"/>
                    <a:gd name="T60" fmla="*/ 115 w 150"/>
                    <a:gd name="T61" fmla="*/ 90 h 100"/>
                    <a:gd name="T62" fmla="*/ 127 w 150"/>
                    <a:gd name="T63" fmla="*/ 84 h 100"/>
                    <a:gd name="T64" fmla="*/ 133 w 150"/>
                    <a:gd name="T65" fmla="*/ 83 h 100"/>
                    <a:gd name="T66" fmla="*/ 132 w 150"/>
                    <a:gd name="T67" fmla="*/ 76 h 100"/>
                    <a:gd name="T68" fmla="*/ 127 w 150"/>
                    <a:gd name="T69" fmla="*/ 63 h 100"/>
                    <a:gd name="T70" fmla="*/ 133 w 150"/>
                    <a:gd name="T71" fmla="*/ 64 h 100"/>
                    <a:gd name="T72" fmla="*/ 145 w 150"/>
                    <a:gd name="T73" fmla="*/ 64 h 100"/>
                    <a:gd name="T74" fmla="*/ 147 w 150"/>
                    <a:gd name="T75" fmla="*/ 56 h 100"/>
                    <a:gd name="T76" fmla="*/ 142 w 150"/>
                    <a:gd name="T77" fmla="*/ 51 h 100"/>
                    <a:gd name="T78" fmla="*/ 132 w 150"/>
                    <a:gd name="T79" fmla="*/ 49 h 100"/>
                    <a:gd name="T80" fmla="*/ 133 w 150"/>
                    <a:gd name="T81" fmla="*/ 46 h 100"/>
                    <a:gd name="T82" fmla="*/ 123 w 150"/>
                    <a:gd name="T83" fmla="*/ 36 h 100"/>
                    <a:gd name="T84" fmla="*/ 120 w 150"/>
                    <a:gd name="T85" fmla="*/ 29 h 100"/>
                    <a:gd name="T86" fmla="*/ 123 w 150"/>
                    <a:gd name="T87" fmla="*/ 22 h 100"/>
                    <a:gd name="T88" fmla="*/ 120 w 150"/>
                    <a:gd name="T89" fmla="*/ 15 h 100"/>
                    <a:gd name="T90" fmla="*/ 115 w 150"/>
                    <a:gd name="T91" fmla="*/ 10 h 100"/>
                    <a:gd name="T92" fmla="*/ 106 w 150"/>
                    <a:gd name="T93" fmla="*/ 7 h 100"/>
                    <a:gd name="T94" fmla="*/ 100 w 150"/>
                    <a:gd name="T95" fmla="*/ 9 h 100"/>
                    <a:gd name="T96" fmla="*/ 96 w 150"/>
                    <a:gd name="T97" fmla="*/ 5 h 100"/>
                    <a:gd name="T98" fmla="*/ 93 w 150"/>
                    <a:gd name="T99" fmla="*/ 4 h 100"/>
                    <a:gd name="T100" fmla="*/ 84 w 150"/>
                    <a:gd name="T101" fmla="*/ 4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50" h="100">
                      <a:moveTo>
                        <a:pt x="76" y="0"/>
                      </a:moveTo>
                      <a:lnTo>
                        <a:pt x="74" y="0"/>
                      </a:lnTo>
                      <a:lnTo>
                        <a:pt x="73" y="0"/>
                      </a:lnTo>
                      <a:lnTo>
                        <a:pt x="69" y="0"/>
                      </a:lnTo>
                      <a:lnTo>
                        <a:pt x="69" y="2"/>
                      </a:lnTo>
                      <a:lnTo>
                        <a:pt x="69" y="4"/>
                      </a:lnTo>
                      <a:lnTo>
                        <a:pt x="69" y="5"/>
                      </a:lnTo>
                      <a:lnTo>
                        <a:pt x="69" y="7"/>
                      </a:lnTo>
                      <a:lnTo>
                        <a:pt x="68" y="7"/>
                      </a:lnTo>
                      <a:lnTo>
                        <a:pt x="66" y="9"/>
                      </a:lnTo>
                      <a:lnTo>
                        <a:pt x="63" y="9"/>
                      </a:lnTo>
                      <a:lnTo>
                        <a:pt x="61" y="7"/>
                      </a:lnTo>
                      <a:lnTo>
                        <a:pt x="59" y="7"/>
                      </a:lnTo>
                      <a:lnTo>
                        <a:pt x="57" y="7"/>
                      </a:lnTo>
                      <a:lnTo>
                        <a:pt x="56" y="7"/>
                      </a:lnTo>
                      <a:lnTo>
                        <a:pt x="54" y="9"/>
                      </a:lnTo>
                      <a:lnTo>
                        <a:pt x="52" y="9"/>
                      </a:lnTo>
                      <a:lnTo>
                        <a:pt x="51" y="9"/>
                      </a:lnTo>
                      <a:lnTo>
                        <a:pt x="49" y="9"/>
                      </a:lnTo>
                      <a:lnTo>
                        <a:pt x="49" y="10"/>
                      </a:lnTo>
                      <a:lnTo>
                        <a:pt x="47" y="10"/>
                      </a:lnTo>
                      <a:lnTo>
                        <a:pt x="47" y="12"/>
                      </a:lnTo>
                      <a:lnTo>
                        <a:pt x="47" y="14"/>
                      </a:lnTo>
                      <a:lnTo>
                        <a:pt x="46" y="14"/>
                      </a:lnTo>
                      <a:lnTo>
                        <a:pt x="46" y="15"/>
                      </a:lnTo>
                      <a:lnTo>
                        <a:pt x="47" y="15"/>
                      </a:lnTo>
                      <a:lnTo>
                        <a:pt x="49" y="15"/>
                      </a:lnTo>
                      <a:lnTo>
                        <a:pt x="49" y="17"/>
                      </a:lnTo>
                      <a:lnTo>
                        <a:pt x="51" y="17"/>
                      </a:lnTo>
                      <a:lnTo>
                        <a:pt x="52" y="17"/>
                      </a:lnTo>
                      <a:lnTo>
                        <a:pt x="54" y="19"/>
                      </a:lnTo>
                      <a:lnTo>
                        <a:pt x="54" y="20"/>
                      </a:lnTo>
                      <a:lnTo>
                        <a:pt x="52" y="20"/>
                      </a:lnTo>
                      <a:lnTo>
                        <a:pt x="49" y="22"/>
                      </a:lnTo>
                      <a:lnTo>
                        <a:pt x="44" y="24"/>
                      </a:lnTo>
                      <a:lnTo>
                        <a:pt x="42" y="24"/>
                      </a:lnTo>
                      <a:lnTo>
                        <a:pt x="41" y="24"/>
                      </a:lnTo>
                      <a:lnTo>
                        <a:pt x="39" y="25"/>
                      </a:lnTo>
                      <a:lnTo>
                        <a:pt x="37" y="27"/>
                      </a:lnTo>
                      <a:lnTo>
                        <a:pt x="37" y="29"/>
                      </a:lnTo>
                      <a:lnTo>
                        <a:pt x="37" y="31"/>
                      </a:lnTo>
                      <a:lnTo>
                        <a:pt x="36" y="32"/>
                      </a:lnTo>
                      <a:lnTo>
                        <a:pt x="36" y="34"/>
                      </a:lnTo>
                      <a:lnTo>
                        <a:pt x="36" y="36"/>
                      </a:lnTo>
                      <a:lnTo>
                        <a:pt x="36" y="37"/>
                      </a:lnTo>
                      <a:lnTo>
                        <a:pt x="37" y="39"/>
                      </a:lnTo>
                      <a:lnTo>
                        <a:pt x="36" y="41"/>
                      </a:lnTo>
                      <a:lnTo>
                        <a:pt x="32" y="42"/>
                      </a:lnTo>
                      <a:lnTo>
                        <a:pt x="30" y="42"/>
                      </a:lnTo>
                      <a:lnTo>
                        <a:pt x="27" y="42"/>
                      </a:lnTo>
                      <a:lnTo>
                        <a:pt x="24" y="42"/>
                      </a:lnTo>
                      <a:lnTo>
                        <a:pt x="22" y="42"/>
                      </a:lnTo>
                      <a:lnTo>
                        <a:pt x="20" y="42"/>
                      </a:lnTo>
                      <a:lnTo>
                        <a:pt x="17" y="44"/>
                      </a:lnTo>
                      <a:lnTo>
                        <a:pt x="17" y="46"/>
                      </a:lnTo>
                      <a:lnTo>
                        <a:pt x="15" y="46"/>
                      </a:lnTo>
                      <a:lnTo>
                        <a:pt x="14" y="46"/>
                      </a:lnTo>
                      <a:lnTo>
                        <a:pt x="12" y="47"/>
                      </a:lnTo>
                      <a:lnTo>
                        <a:pt x="10" y="46"/>
                      </a:lnTo>
                      <a:lnTo>
                        <a:pt x="9" y="46"/>
                      </a:lnTo>
                      <a:lnTo>
                        <a:pt x="7" y="44"/>
                      </a:lnTo>
                      <a:lnTo>
                        <a:pt x="5" y="44"/>
                      </a:lnTo>
                      <a:lnTo>
                        <a:pt x="3" y="46"/>
                      </a:lnTo>
                      <a:lnTo>
                        <a:pt x="3" y="47"/>
                      </a:lnTo>
                      <a:lnTo>
                        <a:pt x="5" y="51"/>
                      </a:lnTo>
                      <a:lnTo>
                        <a:pt x="7" y="54"/>
                      </a:lnTo>
                      <a:lnTo>
                        <a:pt x="7" y="56"/>
                      </a:lnTo>
                      <a:lnTo>
                        <a:pt x="9" y="58"/>
                      </a:lnTo>
                      <a:lnTo>
                        <a:pt x="10" y="59"/>
                      </a:lnTo>
                      <a:lnTo>
                        <a:pt x="12" y="61"/>
                      </a:lnTo>
                      <a:lnTo>
                        <a:pt x="14" y="64"/>
                      </a:lnTo>
                      <a:lnTo>
                        <a:pt x="14" y="68"/>
                      </a:lnTo>
                      <a:lnTo>
                        <a:pt x="14" y="69"/>
                      </a:lnTo>
                      <a:lnTo>
                        <a:pt x="12" y="71"/>
                      </a:lnTo>
                      <a:lnTo>
                        <a:pt x="12" y="73"/>
                      </a:lnTo>
                      <a:lnTo>
                        <a:pt x="12" y="74"/>
                      </a:lnTo>
                      <a:lnTo>
                        <a:pt x="10" y="74"/>
                      </a:lnTo>
                      <a:lnTo>
                        <a:pt x="9" y="76"/>
                      </a:lnTo>
                      <a:lnTo>
                        <a:pt x="5" y="78"/>
                      </a:lnTo>
                      <a:lnTo>
                        <a:pt x="2" y="79"/>
                      </a:lnTo>
                      <a:lnTo>
                        <a:pt x="2" y="81"/>
                      </a:lnTo>
                      <a:lnTo>
                        <a:pt x="0" y="83"/>
                      </a:lnTo>
                      <a:lnTo>
                        <a:pt x="2" y="84"/>
                      </a:lnTo>
                      <a:lnTo>
                        <a:pt x="3" y="86"/>
                      </a:lnTo>
                      <a:lnTo>
                        <a:pt x="5" y="86"/>
                      </a:lnTo>
                      <a:lnTo>
                        <a:pt x="5" y="88"/>
                      </a:lnTo>
                      <a:lnTo>
                        <a:pt x="5" y="90"/>
                      </a:lnTo>
                      <a:lnTo>
                        <a:pt x="3" y="91"/>
                      </a:lnTo>
                      <a:lnTo>
                        <a:pt x="3" y="93"/>
                      </a:lnTo>
                      <a:lnTo>
                        <a:pt x="3" y="95"/>
                      </a:lnTo>
                      <a:lnTo>
                        <a:pt x="3" y="96"/>
                      </a:lnTo>
                      <a:lnTo>
                        <a:pt x="7" y="96"/>
                      </a:lnTo>
                      <a:lnTo>
                        <a:pt x="9" y="96"/>
                      </a:lnTo>
                      <a:lnTo>
                        <a:pt x="10" y="96"/>
                      </a:lnTo>
                      <a:lnTo>
                        <a:pt x="12" y="95"/>
                      </a:lnTo>
                      <a:lnTo>
                        <a:pt x="15" y="95"/>
                      </a:lnTo>
                      <a:lnTo>
                        <a:pt x="15" y="93"/>
                      </a:lnTo>
                      <a:lnTo>
                        <a:pt x="17" y="93"/>
                      </a:lnTo>
                      <a:lnTo>
                        <a:pt x="17" y="91"/>
                      </a:lnTo>
                      <a:lnTo>
                        <a:pt x="19" y="91"/>
                      </a:lnTo>
                      <a:lnTo>
                        <a:pt x="20" y="90"/>
                      </a:lnTo>
                      <a:lnTo>
                        <a:pt x="22" y="88"/>
                      </a:lnTo>
                      <a:lnTo>
                        <a:pt x="25" y="88"/>
                      </a:lnTo>
                      <a:lnTo>
                        <a:pt x="29" y="88"/>
                      </a:lnTo>
                      <a:lnTo>
                        <a:pt x="30" y="88"/>
                      </a:lnTo>
                      <a:lnTo>
                        <a:pt x="34" y="88"/>
                      </a:lnTo>
                      <a:lnTo>
                        <a:pt x="36" y="90"/>
                      </a:lnTo>
                      <a:lnTo>
                        <a:pt x="37" y="88"/>
                      </a:lnTo>
                      <a:lnTo>
                        <a:pt x="39" y="88"/>
                      </a:lnTo>
                      <a:lnTo>
                        <a:pt x="41" y="88"/>
                      </a:lnTo>
                      <a:lnTo>
                        <a:pt x="42" y="90"/>
                      </a:lnTo>
                      <a:lnTo>
                        <a:pt x="46" y="91"/>
                      </a:lnTo>
                      <a:lnTo>
                        <a:pt x="49" y="93"/>
                      </a:lnTo>
                      <a:lnTo>
                        <a:pt x="52" y="93"/>
                      </a:lnTo>
                      <a:lnTo>
                        <a:pt x="57" y="93"/>
                      </a:lnTo>
                      <a:lnTo>
                        <a:pt x="63" y="93"/>
                      </a:lnTo>
                      <a:lnTo>
                        <a:pt x="66" y="93"/>
                      </a:lnTo>
                      <a:lnTo>
                        <a:pt x="68" y="95"/>
                      </a:lnTo>
                      <a:lnTo>
                        <a:pt x="69" y="95"/>
                      </a:lnTo>
                      <a:lnTo>
                        <a:pt x="71" y="95"/>
                      </a:lnTo>
                      <a:lnTo>
                        <a:pt x="73" y="96"/>
                      </a:lnTo>
                      <a:lnTo>
                        <a:pt x="74" y="96"/>
                      </a:lnTo>
                      <a:lnTo>
                        <a:pt x="76" y="95"/>
                      </a:lnTo>
                      <a:lnTo>
                        <a:pt x="78" y="95"/>
                      </a:lnTo>
                      <a:lnTo>
                        <a:pt x="79" y="95"/>
                      </a:lnTo>
                      <a:lnTo>
                        <a:pt x="81" y="95"/>
                      </a:lnTo>
                      <a:lnTo>
                        <a:pt x="83" y="95"/>
                      </a:lnTo>
                      <a:lnTo>
                        <a:pt x="86" y="96"/>
                      </a:lnTo>
                      <a:lnTo>
                        <a:pt x="89" y="96"/>
                      </a:lnTo>
                      <a:lnTo>
                        <a:pt x="91" y="96"/>
                      </a:lnTo>
                      <a:lnTo>
                        <a:pt x="91" y="95"/>
                      </a:lnTo>
                      <a:lnTo>
                        <a:pt x="93" y="95"/>
                      </a:lnTo>
                      <a:lnTo>
                        <a:pt x="95" y="95"/>
                      </a:lnTo>
                      <a:lnTo>
                        <a:pt x="95" y="96"/>
                      </a:lnTo>
                      <a:lnTo>
                        <a:pt x="96" y="96"/>
                      </a:lnTo>
                      <a:lnTo>
                        <a:pt x="96" y="98"/>
                      </a:lnTo>
                      <a:lnTo>
                        <a:pt x="98" y="100"/>
                      </a:lnTo>
                      <a:lnTo>
                        <a:pt x="101" y="98"/>
                      </a:lnTo>
                      <a:lnTo>
                        <a:pt x="103" y="98"/>
                      </a:lnTo>
                      <a:lnTo>
                        <a:pt x="105" y="98"/>
                      </a:lnTo>
                      <a:lnTo>
                        <a:pt x="106" y="98"/>
                      </a:lnTo>
                      <a:lnTo>
                        <a:pt x="108" y="98"/>
                      </a:lnTo>
                      <a:lnTo>
                        <a:pt x="108" y="96"/>
                      </a:lnTo>
                      <a:lnTo>
                        <a:pt x="110" y="96"/>
                      </a:lnTo>
                      <a:lnTo>
                        <a:pt x="111" y="96"/>
                      </a:lnTo>
                      <a:lnTo>
                        <a:pt x="113" y="96"/>
                      </a:lnTo>
                      <a:lnTo>
                        <a:pt x="113" y="95"/>
                      </a:lnTo>
                      <a:lnTo>
                        <a:pt x="111" y="95"/>
                      </a:lnTo>
                      <a:lnTo>
                        <a:pt x="111" y="93"/>
                      </a:lnTo>
                      <a:lnTo>
                        <a:pt x="110" y="93"/>
                      </a:lnTo>
                      <a:lnTo>
                        <a:pt x="110" y="91"/>
                      </a:lnTo>
                      <a:lnTo>
                        <a:pt x="110" y="90"/>
                      </a:lnTo>
                      <a:lnTo>
                        <a:pt x="111" y="90"/>
                      </a:lnTo>
                      <a:lnTo>
                        <a:pt x="113" y="90"/>
                      </a:lnTo>
                      <a:lnTo>
                        <a:pt x="115" y="90"/>
                      </a:lnTo>
                      <a:lnTo>
                        <a:pt x="118" y="88"/>
                      </a:lnTo>
                      <a:lnTo>
                        <a:pt x="120" y="88"/>
                      </a:lnTo>
                      <a:lnTo>
                        <a:pt x="123" y="84"/>
                      </a:lnTo>
                      <a:lnTo>
                        <a:pt x="125" y="84"/>
                      </a:lnTo>
                      <a:lnTo>
                        <a:pt x="127" y="84"/>
                      </a:lnTo>
                      <a:lnTo>
                        <a:pt x="130" y="84"/>
                      </a:lnTo>
                      <a:lnTo>
                        <a:pt x="132" y="84"/>
                      </a:lnTo>
                      <a:lnTo>
                        <a:pt x="133" y="86"/>
                      </a:lnTo>
                      <a:lnTo>
                        <a:pt x="133" y="84"/>
                      </a:lnTo>
                      <a:lnTo>
                        <a:pt x="133" y="83"/>
                      </a:lnTo>
                      <a:lnTo>
                        <a:pt x="132" y="83"/>
                      </a:lnTo>
                      <a:lnTo>
                        <a:pt x="130" y="81"/>
                      </a:lnTo>
                      <a:lnTo>
                        <a:pt x="130" y="79"/>
                      </a:lnTo>
                      <a:lnTo>
                        <a:pt x="130" y="78"/>
                      </a:lnTo>
                      <a:lnTo>
                        <a:pt x="132" y="76"/>
                      </a:lnTo>
                      <a:lnTo>
                        <a:pt x="132" y="73"/>
                      </a:lnTo>
                      <a:lnTo>
                        <a:pt x="130" y="71"/>
                      </a:lnTo>
                      <a:lnTo>
                        <a:pt x="125" y="66"/>
                      </a:lnTo>
                      <a:lnTo>
                        <a:pt x="125" y="64"/>
                      </a:lnTo>
                      <a:lnTo>
                        <a:pt x="127" y="63"/>
                      </a:lnTo>
                      <a:lnTo>
                        <a:pt x="128" y="63"/>
                      </a:lnTo>
                      <a:lnTo>
                        <a:pt x="130" y="63"/>
                      </a:lnTo>
                      <a:lnTo>
                        <a:pt x="132" y="63"/>
                      </a:lnTo>
                      <a:lnTo>
                        <a:pt x="132" y="64"/>
                      </a:lnTo>
                      <a:lnTo>
                        <a:pt x="133" y="64"/>
                      </a:lnTo>
                      <a:lnTo>
                        <a:pt x="135" y="66"/>
                      </a:lnTo>
                      <a:lnTo>
                        <a:pt x="138" y="66"/>
                      </a:lnTo>
                      <a:lnTo>
                        <a:pt x="140" y="66"/>
                      </a:lnTo>
                      <a:lnTo>
                        <a:pt x="142" y="64"/>
                      </a:lnTo>
                      <a:lnTo>
                        <a:pt x="145" y="64"/>
                      </a:lnTo>
                      <a:lnTo>
                        <a:pt x="147" y="63"/>
                      </a:lnTo>
                      <a:lnTo>
                        <a:pt x="149" y="61"/>
                      </a:lnTo>
                      <a:lnTo>
                        <a:pt x="150" y="59"/>
                      </a:lnTo>
                      <a:lnTo>
                        <a:pt x="149" y="58"/>
                      </a:lnTo>
                      <a:lnTo>
                        <a:pt x="147" y="56"/>
                      </a:lnTo>
                      <a:lnTo>
                        <a:pt x="145" y="56"/>
                      </a:lnTo>
                      <a:lnTo>
                        <a:pt x="143" y="56"/>
                      </a:lnTo>
                      <a:lnTo>
                        <a:pt x="143" y="54"/>
                      </a:lnTo>
                      <a:lnTo>
                        <a:pt x="143" y="52"/>
                      </a:lnTo>
                      <a:lnTo>
                        <a:pt x="142" y="51"/>
                      </a:lnTo>
                      <a:lnTo>
                        <a:pt x="140" y="51"/>
                      </a:lnTo>
                      <a:lnTo>
                        <a:pt x="137" y="51"/>
                      </a:lnTo>
                      <a:lnTo>
                        <a:pt x="133" y="51"/>
                      </a:lnTo>
                      <a:lnTo>
                        <a:pt x="132" y="51"/>
                      </a:lnTo>
                      <a:lnTo>
                        <a:pt x="132" y="49"/>
                      </a:lnTo>
                      <a:lnTo>
                        <a:pt x="133" y="49"/>
                      </a:lnTo>
                      <a:lnTo>
                        <a:pt x="133" y="47"/>
                      </a:lnTo>
                      <a:lnTo>
                        <a:pt x="135" y="47"/>
                      </a:lnTo>
                      <a:lnTo>
                        <a:pt x="135" y="46"/>
                      </a:lnTo>
                      <a:lnTo>
                        <a:pt x="133" y="46"/>
                      </a:lnTo>
                      <a:lnTo>
                        <a:pt x="133" y="44"/>
                      </a:lnTo>
                      <a:lnTo>
                        <a:pt x="127" y="41"/>
                      </a:lnTo>
                      <a:lnTo>
                        <a:pt x="123" y="39"/>
                      </a:lnTo>
                      <a:lnTo>
                        <a:pt x="123" y="37"/>
                      </a:lnTo>
                      <a:lnTo>
                        <a:pt x="123" y="36"/>
                      </a:lnTo>
                      <a:lnTo>
                        <a:pt x="123" y="34"/>
                      </a:lnTo>
                      <a:lnTo>
                        <a:pt x="123" y="32"/>
                      </a:lnTo>
                      <a:lnTo>
                        <a:pt x="122" y="32"/>
                      </a:lnTo>
                      <a:lnTo>
                        <a:pt x="120" y="31"/>
                      </a:lnTo>
                      <a:lnTo>
                        <a:pt x="120" y="29"/>
                      </a:lnTo>
                      <a:lnTo>
                        <a:pt x="118" y="27"/>
                      </a:lnTo>
                      <a:lnTo>
                        <a:pt x="118" y="25"/>
                      </a:lnTo>
                      <a:lnTo>
                        <a:pt x="120" y="24"/>
                      </a:lnTo>
                      <a:lnTo>
                        <a:pt x="122" y="22"/>
                      </a:lnTo>
                      <a:lnTo>
                        <a:pt x="123" y="22"/>
                      </a:lnTo>
                      <a:lnTo>
                        <a:pt x="122" y="22"/>
                      </a:lnTo>
                      <a:lnTo>
                        <a:pt x="120" y="20"/>
                      </a:lnTo>
                      <a:lnTo>
                        <a:pt x="118" y="19"/>
                      </a:lnTo>
                      <a:lnTo>
                        <a:pt x="118" y="17"/>
                      </a:lnTo>
                      <a:lnTo>
                        <a:pt x="120" y="15"/>
                      </a:lnTo>
                      <a:lnTo>
                        <a:pt x="120" y="14"/>
                      </a:lnTo>
                      <a:lnTo>
                        <a:pt x="120" y="12"/>
                      </a:lnTo>
                      <a:lnTo>
                        <a:pt x="118" y="12"/>
                      </a:lnTo>
                      <a:lnTo>
                        <a:pt x="116" y="12"/>
                      </a:lnTo>
                      <a:lnTo>
                        <a:pt x="115" y="10"/>
                      </a:lnTo>
                      <a:lnTo>
                        <a:pt x="113" y="9"/>
                      </a:lnTo>
                      <a:lnTo>
                        <a:pt x="113" y="7"/>
                      </a:lnTo>
                      <a:lnTo>
                        <a:pt x="111" y="7"/>
                      </a:lnTo>
                      <a:lnTo>
                        <a:pt x="108" y="7"/>
                      </a:lnTo>
                      <a:lnTo>
                        <a:pt x="106" y="7"/>
                      </a:lnTo>
                      <a:lnTo>
                        <a:pt x="105" y="7"/>
                      </a:lnTo>
                      <a:lnTo>
                        <a:pt x="103" y="7"/>
                      </a:lnTo>
                      <a:lnTo>
                        <a:pt x="101" y="7"/>
                      </a:lnTo>
                      <a:lnTo>
                        <a:pt x="100" y="7"/>
                      </a:lnTo>
                      <a:lnTo>
                        <a:pt x="100" y="9"/>
                      </a:lnTo>
                      <a:lnTo>
                        <a:pt x="98" y="10"/>
                      </a:lnTo>
                      <a:lnTo>
                        <a:pt x="96" y="10"/>
                      </a:lnTo>
                      <a:lnTo>
                        <a:pt x="96" y="9"/>
                      </a:lnTo>
                      <a:lnTo>
                        <a:pt x="96" y="7"/>
                      </a:lnTo>
                      <a:lnTo>
                        <a:pt x="96" y="5"/>
                      </a:lnTo>
                      <a:lnTo>
                        <a:pt x="98" y="5"/>
                      </a:lnTo>
                      <a:lnTo>
                        <a:pt x="98" y="4"/>
                      </a:lnTo>
                      <a:lnTo>
                        <a:pt x="96" y="4"/>
                      </a:lnTo>
                      <a:lnTo>
                        <a:pt x="95" y="4"/>
                      </a:lnTo>
                      <a:lnTo>
                        <a:pt x="93" y="4"/>
                      </a:lnTo>
                      <a:lnTo>
                        <a:pt x="91" y="4"/>
                      </a:lnTo>
                      <a:lnTo>
                        <a:pt x="89" y="4"/>
                      </a:lnTo>
                      <a:lnTo>
                        <a:pt x="88" y="4"/>
                      </a:lnTo>
                      <a:lnTo>
                        <a:pt x="86" y="4"/>
                      </a:lnTo>
                      <a:lnTo>
                        <a:pt x="84" y="4"/>
                      </a:lnTo>
                      <a:lnTo>
                        <a:pt x="81" y="2"/>
                      </a:lnTo>
                      <a:lnTo>
                        <a:pt x="79" y="0"/>
                      </a:lnTo>
                      <a:lnTo>
                        <a:pt x="78" y="0"/>
                      </a:lnTo>
                      <a:lnTo>
                        <a:pt x="76" y="0"/>
                      </a:lnTo>
                      <a:close/>
                    </a:path>
                  </a:pathLst>
                </a:custGeom>
                <a:solidFill>
                  <a:srgbClr val="D4DBE4"/>
                </a:solidFill>
                <a:ln w="317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15665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76" name="Group 1675">
                <a:extLst>
                  <a:ext uri="{FF2B5EF4-FFF2-40B4-BE49-F238E27FC236}">
                    <a16:creationId xmlns:a16="http://schemas.microsoft.com/office/drawing/2014/main" id="{6A5E78D2-4518-2D41-981E-5EE41750944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18" y="509"/>
                <a:ext cx="12" cy="17"/>
                <a:chOff x="118" y="509"/>
                <a:chExt cx="12" cy="17"/>
              </a:xfrm>
            </p:grpSpPr>
            <p:grpSp>
              <p:nvGrpSpPr>
                <p:cNvPr id="1677" name="Group 1676">
                  <a:extLst>
                    <a:ext uri="{FF2B5EF4-FFF2-40B4-BE49-F238E27FC236}">
                      <a16:creationId xmlns:a16="http://schemas.microsoft.com/office/drawing/2014/main" id="{E66EE7B5-CA3B-7540-A8AF-6DF7BD669A8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18" y="515"/>
                  <a:ext cx="4" cy="7"/>
                  <a:chOff x="118" y="515"/>
                  <a:chExt cx="4" cy="7"/>
                </a:xfrm>
              </p:grpSpPr>
              <p:sp>
                <p:nvSpPr>
                  <p:cNvPr id="1687" name="Freeform 61">
                    <a:extLst>
                      <a:ext uri="{FF2B5EF4-FFF2-40B4-BE49-F238E27FC236}">
                        <a16:creationId xmlns:a16="http://schemas.microsoft.com/office/drawing/2014/main" id="{67497D48-9686-C047-9F05-20902BAD26B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" y="515"/>
                    <a:ext cx="4" cy="7"/>
                  </a:xfrm>
                  <a:custGeom>
                    <a:avLst/>
                    <a:gdLst>
                      <a:gd name="T0" fmla="*/ 0 w 32"/>
                      <a:gd name="T1" fmla="*/ 22 h 64"/>
                      <a:gd name="T2" fmla="*/ 32 w 32"/>
                      <a:gd name="T3" fmla="*/ 11 h 64"/>
                      <a:gd name="T4" fmla="*/ 0 w 32"/>
                      <a:gd name="T5" fmla="*/ 22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32" h="64">
                        <a:moveTo>
                          <a:pt x="0" y="22"/>
                        </a:moveTo>
                        <a:cubicBezTo>
                          <a:pt x="11" y="64"/>
                          <a:pt x="11" y="64"/>
                          <a:pt x="32" y="11"/>
                        </a:cubicBezTo>
                        <a:cubicBezTo>
                          <a:pt x="32" y="0"/>
                          <a:pt x="11" y="22"/>
                          <a:pt x="0" y="22"/>
                        </a:cubicBezTo>
                      </a:path>
                    </a:pathLst>
                  </a:custGeom>
                  <a:solidFill>
                    <a:srgbClr val="D4DBE4"/>
                  </a:solidFill>
                  <a:ln w="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88" name="Freeform 62">
                    <a:extLst>
                      <a:ext uri="{FF2B5EF4-FFF2-40B4-BE49-F238E27FC236}">
                        <a16:creationId xmlns:a16="http://schemas.microsoft.com/office/drawing/2014/main" id="{014C2971-F9FC-424B-BD2E-3CAB885E58B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" y="515"/>
                    <a:ext cx="4" cy="7"/>
                  </a:xfrm>
                  <a:custGeom>
                    <a:avLst/>
                    <a:gdLst>
                      <a:gd name="T0" fmla="*/ 0 w 4"/>
                      <a:gd name="T1" fmla="*/ 3 h 7"/>
                      <a:gd name="T2" fmla="*/ 4 w 4"/>
                      <a:gd name="T3" fmla="*/ 2 h 7"/>
                      <a:gd name="T4" fmla="*/ 0 w 4"/>
                      <a:gd name="T5" fmla="*/ 3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4" h="7">
                        <a:moveTo>
                          <a:pt x="0" y="3"/>
                        </a:moveTo>
                        <a:cubicBezTo>
                          <a:pt x="1" y="7"/>
                          <a:pt x="1" y="7"/>
                          <a:pt x="4" y="2"/>
                        </a:cubicBezTo>
                        <a:cubicBezTo>
                          <a:pt x="4" y="0"/>
                          <a:pt x="1" y="3"/>
                          <a:pt x="0" y="3"/>
                        </a:cubicBezTo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678" name="Group 1677">
                  <a:extLst>
                    <a:ext uri="{FF2B5EF4-FFF2-40B4-BE49-F238E27FC236}">
                      <a16:creationId xmlns:a16="http://schemas.microsoft.com/office/drawing/2014/main" id="{AA9AFC5E-0628-C44C-B8A6-12205761871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28" y="519"/>
                  <a:ext cx="2" cy="3"/>
                  <a:chOff x="128" y="519"/>
                  <a:chExt cx="2" cy="3"/>
                </a:xfrm>
              </p:grpSpPr>
              <p:sp>
                <p:nvSpPr>
                  <p:cNvPr id="1685" name="Freeform 59">
                    <a:extLst>
                      <a:ext uri="{FF2B5EF4-FFF2-40B4-BE49-F238E27FC236}">
                        <a16:creationId xmlns:a16="http://schemas.microsoft.com/office/drawing/2014/main" id="{82F01E51-31A3-A94E-B6AF-FB5B50F2311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8" y="519"/>
                    <a:ext cx="2" cy="3"/>
                  </a:xfrm>
                  <a:custGeom>
                    <a:avLst/>
                    <a:gdLst>
                      <a:gd name="T0" fmla="*/ 0 w 16"/>
                      <a:gd name="T1" fmla="*/ 0 h 32"/>
                      <a:gd name="T2" fmla="*/ 16 w 16"/>
                      <a:gd name="T3" fmla="*/ 24 h 32"/>
                      <a:gd name="T4" fmla="*/ 0 w 16"/>
                      <a:gd name="T5" fmla="*/ 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16" h="32">
                        <a:moveTo>
                          <a:pt x="0" y="0"/>
                        </a:moveTo>
                        <a:cubicBezTo>
                          <a:pt x="0" y="8"/>
                          <a:pt x="16" y="32"/>
                          <a:pt x="16" y="24"/>
                        </a:cubicBezTo>
                        <a:cubicBezTo>
                          <a:pt x="16" y="16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D4DBE4"/>
                  </a:solidFill>
                  <a:ln w="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86" name="Freeform 60">
                    <a:extLst>
                      <a:ext uri="{FF2B5EF4-FFF2-40B4-BE49-F238E27FC236}">
                        <a16:creationId xmlns:a16="http://schemas.microsoft.com/office/drawing/2014/main" id="{556B7660-9049-FF42-9EAA-E3AF64E4E99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8" y="519"/>
                    <a:ext cx="2" cy="3"/>
                  </a:xfrm>
                  <a:custGeom>
                    <a:avLst/>
                    <a:gdLst>
                      <a:gd name="T0" fmla="*/ 0 w 2"/>
                      <a:gd name="T1" fmla="*/ 0 h 3"/>
                      <a:gd name="T2" fmla="*/ 2 w 2"/>
                      <a:gd name="T3" fmla="*/ 2 h 3"/>
                      <a:gd name="T4" fmla="*/ 0 w 2"/>
                      <a:gd name="T5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" h="3">
                        <a:moveTo>
                          <a:pt x="0" y="0"/>
                        </a:moveTo>
                        <a:cubicBezTo>
                          <a:pt x="0" y="1"/>
                          <a:pt x="2" y="3"/>
                          <a:pt x="2" y="2"/>
                        </a:cubicBezTo>
                        <a:cubicBezTo>
                          <a:pt x="2" y="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679" name="Group 1678">
                  <a:extLst>
                    <a:ext uri="{FF2B5EF4-FFF2-40B4-BE49-F238E27FC236}">
                      <a16:creationId xmlns:a16="http://schemas.microsoft.com/office/drawing/2014/main" id="{B9867682-F16F-C145-BFEF-35CD89690B0C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25" y="509"/>
                  <a:ext cx="3" cy="1"/>
                  <a:chOff x="125" y="509"/>
                  <a:chExt cx="3" cy="1"/>
                </a:xfrm>
              </p:grpSpPr>
              <p:sp>
                <p:nvSpPr>
                  <p:cNvPr id="1683" name="Freeform 57">
                    <a:extLst>
                      <a:ext uri="{FF2B5EF4-FFF2-40B4-BE49-F238E27FC236}">
                        <a16:creationId xmlns:a16="http://schemas.microsoft.com/office/drawing/2014/main" id="{A7954686-6EA2-EA46-ADE7-044F63A3E1C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5" y="509"/>
                    <a:ext cx="3" cy="1"/>
                  </a:xfrm>
                  <a:custGeom>
                    <a:avLst/>
                    <a:gdLst>
                      <a:gd name="T0" fmla="*/ 22 w 32"/>
                      <a:gd name="T1" fmla="*/ 0 h 16"/>
                      <a:gd name="T2" fmla="*/ 11 w 32"/>
                      <a:gd name="T3" fmla="*/ 16 h 16"/>
                      <a:gd name="T4" fmla="*/ 32 w 32"/>
                      <a:gd name="T5" fmla="*/ 8 h 16"/>
                      <a:gd name="T6" fmla="*/ 22 w 32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2" h="16">
                        <a:moveTo>
                          <a:pt x="22" y="0"/>
                        </a:moveTo>
                        <a:cubicBezTo>
                          <a:pt x="22" y="8"/>
                          <a:pt x="0" y="8"/>
                          <a:pt x="11" y="16"/>
                        </a:cubicBezTo>
                        <a:lnTo>
                          <a:pt x="32" y="8"/>
                        </a:lnTo>
                        <a:cubicBezTo>
                          <a:pt x="32" y="8"/>
                          <a:pt x="22" y="0"/>
                          <a:pt x="22" y="0"/>
                        </a:cubicBezTo>
                        <a:close/>
                      </a:path>
                    </a:pathLst>
                  </a:custGeom>
                  <a:solidFill>
                    <a:srgbClr val="D4DBE4"/>
                  </a:solidFill>
                  <a:ln w="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84" name="Freeform 58">
                    <a:extLst>
                      <a:ext uri="{FF2B5EF4-FFF2-40B4-BE49-F238E27FC236}">
                        <a16:creationId xmlns:a16="http://schemas.microsoft.com/office/drawing/2014/main" id="{5943F2E0-DFF6-7C41-8B47-F3AAF7EFD6A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5" y="509"/>
                    <a:ext cx="3" cy="1"/>
                  </a:xfrm>
                  <a:custGeom>
                    <a:avLst/>
                    <a:gdLst>
                      <a:gd name="T0" fmla="*/ 22 w 32"/>
                      <a:gd name="T1" fmla="*/ 0 h 16"/>
                      <a:gd name="T2" fmla="*/ 11 w 32"/>
                      <a:gd name="T3" fmla="*/ 16 h 16"/>
                      <a:gd name="T4" fmla="*/ 32 w 32"/>
                      <a:gd name="T5" fmla="*/ 8 h 16"/>
                      <a:gd name="T6" fmla="*/ 22 w 32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2" h="16">
                        <a:moveTo>
                          <a:pt x="22" y="0"/>
                        </a:moveTo>
                        <a:cubicBezTo>
                          <a:pt x="22" y="8"/>
                          <a:pt x="0" y="8"/>
                          <a:pt x="11" y="16"/>
                        </a:cubicBezTo>
                        <a:lnTo>
                          <a:pt x="32" y="8"/>
                        </a:lnTo>
                        <a:cubicBezTo>
                          <a:pt x="32" y="8"/>
                          <a:pt x="22" y="0"/>
                          <a:pt x="22" y="0"/>
                        </a:cubicBezTo>
                        <a:close/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680" name="Group 1679">
                  <a:extLst>
                    <a:ext uri="{FF2B5EF4-FFF2-40B4-BE49-F238E27FC236}">
                      <a16:creationId xmlns:a16="http://schemas.microsoft.com/office/drawing/2014/main" id="{CA0C1273-86BD-334C-A832-BAD7C8D7DECB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20" y="524"/>
                  <a:ext cx="7" cy="2"/>
                  <a:chOff x="120" y="524"/>
                  <a:chExt cx="7" cy="2"/>
                </a:xfrm>
              </p:grpSpPr>
              <p:sp>
                <p:nvSpPr>
                  <p:cNvPr id="1681" name="Freeform 55">
                    <a:extLst>
                      <a:ext uri="{FF2B5EF4-FFF2-40B4-BE49-F238E27FC236}">
                        <a16:creationId xmlns:a16="http://schemas.microsoft.com/office/drawing/2014/main" id="{C5D6CD12-92C5-074E-A9B1-09F2B086E3E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0" y="524"/>
                    <a:ext cx="7" cy="2"/>
                  </a:xfrm>
                  <a:custGeom>
                    <a:avLst/>
                    <a:gdLst>
                      <a:gd name="T0" fmla="*/ 28 w 64"/>
                      <a:gd name="T1" fmla="*/ 8 h 16"/>
                      <a:gd name="T2" fmla="*/ 55 w 64"/>
                      <a:gd name="T3" fmla="*/ 16 h 16"/>
                      <a:gd name="T4" fmla="*/ 10 w 64"/>
                      <a:gd name="T5" fmla="*/ 8 h 16"/>
                      <a:gd name="T6" fmla="*/ 28 w 64"/>
                      <a:gd name="T7" fmla="*/ 8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64" h="16">
                        <a:moveTo>
                          <a:pt x="28" y="8"/>
                        </a:moveTo>
                        <a:cubicBezTo>
                          <a:pt x="37" y="8"/>
                          <a:pt x="64" y="16"/>
                          <a:pt x="55" y="16"/>
                        </a:cubicBezTo>
                        <a:cubicBezTo>
                          <a:pt x="37" y="16"/>
                          <a:pt x="19" y="16"/>
                          <a:pt x="10" y="8"/>
                        </a:cubicBezTo>
                        <a:cubicBezTo>
                          <a:pt x="0" y="8"/>
                          <a:pt x="28" y="0"/>
                          <a:pt x="28" y="8"/>
                        </a:cubicBezTo>
                      </a:path>
                    </a:pathLst>
                  </a:custGeom>
                  <a:solidFill>
                    <a:srgbClr val="D4DBE4"/>
                  </a:solidFill>
                  <a:ln w="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82" name="Freeform 56">
                    <a:extLst>
                      <a:ext uri="{FF2B5EF4-FFF2-40B4-BE49-F238E27FC236}">
                        <a16:creationId xmlns:a16="http://schemas.microsoft.com/office/drawing/2014/main" id="{B87F8347-6AA9-314D-9E8E-E49E1384ED7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0" y="524"/>
                    <a:ext cx="7" cy="2"/>
                  </a:xfrm>
                  <a:custGeom>
                    <a:avLst/>
                    <a:gdLst>
                      <a:gd name="T0" fmla="*/ 3 w 7"/>
                      <a:gd name="T1" fmla="*/ 1 h 2"/>
                      <a:gd name="T2" fmla="*/ 6 w 7"/>
                      <a:gd name="T3" fmla="*/ 2 h 2"/>
                      <a:gd name="T4" fmla="*/ 1 w 7"/>
                      <a:gd name="T5" fmla="*/ 1 h 2"/>
                      <a:gd name="T6" fmla="*/ 3 w 7"/>
                      <a:gd name="T7" fmla="*/ 1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7" h="2">
                        <a:moveTo>
                          <a:pt x="3" y="1"/>
                        </a:moveTo>
                        <a:cubicBezTo>
                          <a:pt x="4" y="1"/>
                          <a:pt x="7" y="2"/>
                          <a:pt x="6" y="2"/>
                        </a:cubicBezTo>
                        <a:cubicBezTo>
                          <a:pt x="4" y="2"/>
                          <a:pt x="2" y="2"/>
                          <a:pt x="1" y="1"/>
                        </a:cubicBezTo>
                        <a:cubicBezTo>
                          <a:pt x="0" y="1"/>
                          <a:pt x="3" y="0"/>
                          <a:pt x="3" y="1"/>
                        </a:cubicBezTo>
                      </a:path>
                    </a:pathLst>
                  </a:custGeom>
                  <a:solidFill>
                    <a:srgbClr val="D4DBE4"/>
                  </a:solidFill>
                  <a:ln w="3175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15665"/>
                      </a:solidFill>
                      <a:effectLst/>
                      <a:uLnTx/>
                      <a:uFillTx/>
                      <a:latin typeface="Franklin Gothic Book" panose="020B050302010202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2036" name="TextBox 2035">
              <a:extLst>
                <a:ext uri="{FF2B5EF4-FFF2-40B4-BE49-F238E27FC236}">
                  <a16:creationId xmlns:a16="http://schemas.microsoft.com/office/drawing/2014/main" id="{EE590DD9-AD32-454A-9111-DB4BD107CDD6}"/>
                </a:ext>
              </a:extLst>
            </p:cNvPr>
            <p:cNvSpPr txBox="1"/>
            <p:nvPr/>
          </p:nvSpPr>
          <p:spPr>
            <a:xfrm>
              <a:off x="7650418" y="2866894"/>
              <a:ext cx="341760" cy="16107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Medium" panose="020B0603020102020204"/>
                  <a:ea typeface="+mn-ea"/>
                  <a:cs typeface="Arial" panose="020B0604020202020204" pitchFamily="34" charset="0"/>
                </a:rPr>
                <a:t>UK</a:t>
              </a:r>
            </a:p>
          </p:txBody>
        </p:sp>
        <p:cxnSp>
          <p:nvCxnSpPr>
            <p:cNvPr id="2037" name="Straight Arrow Connector 41144">
              <a:extLst>
                <a:ext uri="{FF2B5EF4-FFF2-40B4-BE49-F238E27FC236}">
                  <a16:creationId xmlns:a16="http://schemas.microsoft.com/office/drawing/2014/main" id="{B65C5FAD-EF43-E442-8649-62DB63B0767B}"/>
                </a:ext>
              </a:extLst>
            </p:cNvPr>
            <p:cNvCxnSpPr>
              <a:cxnSpLocks/>
              <a:endCxn id="1732" idx="0"/>
            </p:cNvCxnSpPr>
            <p:nvPr/>
          </p:nvCxnSpPr>
          <p:spPr>
            <a:xfrm>
              <a:off x="7979771" y="2866894"/>
              <a:ext cx="97554" cy="253002"/>
            </a:xfrm>
            <a:prstGeom prst="straightConnector1">
              <a:avLst/>
            </a:prstGeom>
            <a:noFill/>
            <a:ln w="28575" cap="flat" cmpd="sng" algn="ctr">
              <a:solidFill>
                <a:schemeClr val="accent3"/>
              </a:solidFill>
              <a:prstDash val="solid"/>
              <a:miter lim="800000"/>
              <a:tailEnd type="triangle" w="sm" len="sm"/>
            </a:ln>
            <a:effectLst/>
          </p:spPr>
        </p:cxnSp>
        <p:pic>
          <p:nvPicPr>
            <p:cNvPr id="419" name="Picture 418">
              <a:extLst>
                <a:ext uri="{FF2B5EF4-FFF2-40B4-BE49-F238E27FC236}">
                  <a16:creationId xmlns:a16="http://schemas.microsoft.com/office/drawing/2014/main" id="{6F667385-FFF2-B848-A802-44EC5178EF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93938" y="2432366"/>
              <a:ext cx="454718" cy="454718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469DEE6-8972-4301-84C9-9B46978084F9}"/>
              </a:ext>
            </a:extLst>
          </p:cNvPr>
          <p:cNvGrpSpPr/>
          <p:nvPr/>
        </p:nvGrpSpPr>
        <p:grpSpPr>
          <a:xfrm>
            <a:off x="1187870" y="3069149"/>
            <a:ext cx="1129343" cy="945034"/>
            <a:chOff x="513318" y="3069149"/>
            <a:chExt cx="1129343" cy="945034"/>
          </a:xfrm>
        </p:grpSpPr>
        <p:sp>
          <p:nvSpPr>
            <p:cNvPr id="428" name="Rounded Rectangle 427">
              <a:extLst>
                <a:ext uri="{FF2B5EF4-FFF2-40B4-BE49-F238E27FC236}">
                  <a16:creationId xmlns:a16="http://schemas.microsoft.com/office/drawing/2014/main" id="{94C74944-DBF1-A54F-BC9F-8F62F6CF04BD}"/>
                </a:ext>
              </a:extLst>
            </p:cNvPr>
            <p:cNvSpPr/>
            <p:nvPr/>
          </p:nvSpPr>
          <p:spPr>
            <a:xfrm>
              <a:off x="562387" y="3069149"/>
              <a:ext cx="1031205" cy="945034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429" name="TextBox 428">
              <a:extLst>
                <a:ext uri="{FF2B5EF4-FFF2-40B4-BE49-F238E27FC236}">
                  <a16:creationId xmlns:a16="http://schemas.microsoft.com/office/drawing/2014/main" id="{CD1A27C6-68E7-B149-967F-5575A99E0DD2}"/>
                </a:ext>
              </a:extLst>
            </p:cNvPr>
            <p:cNvSpPr txBox="1"/>
            <p:nvPr/>
          </p:nvSpPr>
          <p:spPr>
            <a:xfrm>
              <a:off x="513318" y="3146782"/>
              <a:ext cx="112934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77"/>
                  <a:ea typeface="+mn-ea"/>
                  <a:cs typeface="+mn-cs"/>
                </a:rPr>
                <a:t>70%</a:t>
              </a:r>
            </a:p>
          </p:txBody>
        </p:sp>
        <p:sp>
          <p:nvSpPr>
            <p:cNvPr id="430" name="TextBox 429">
              <a:extLst>
                <a:ext uri="{FF2B5EF4-FFF2-40B4-BE49-F238E27FC236}">
                  <a16:creationId xmlns:a16="http://schemas.microsoft.com/office/drawing/2014/main" id="{2A9BAA9E-D825-B545-85D8-1F1AB52A7E44}"/>
                </a:ext>
              </a:extLst>
            </p:cNvPr>
            <p:cNvSpPr txBox="1"/>
            <p:nvPr/>
          </p:nvSpPr>
          <p:spPr>
            <a:xfrm>
              <a:off x="513318" y="3627774"/>
              <a:ext cx="112934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Direct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FE40FB7-899F-470F-BE1F-0A2A1A47AC17}"/>
              </a:ext>
            </a:extLst>
          </p:cNvPr>
          <p:cNvGrpSpPr/>
          <p:nvPr/>
        </p:nvGrpSpPr>
        <p:grpSpPr>
          <a:xfrm>
            <a:off x="2433535" y="3069149"/>
            <a:ext cx="1129343" cy="945034"/>
            <a:chOff x="1758983" y="3069149"/>
            <a:chExt cx="1129343" cy="945034"/>
          </a:xfrm>
        </p:grpSpPr>
        <p:sp>
          <p:nvSpPr>
            <p:cNvPr id="432" name="Rounded Rectangle 431">
              <a:extLst>
                <a:ext uri="{FF2B5EF4-FFF2-40B4-BE49-F238E27FC236}">
                  <a16:creationId xmlns:a16="http://schemas.microsoft.com/office/drawing/2014/main" id="{EA4E07C3-1127-1844-B2F1-E40E95A01638}"/>
                </a:ext>
              </a:extLst>
            </p:cNvPr>
            <p:cNvSpPr/>
            <p:nvPr/>
          </p:nvSpPr>
          <p:spPr>
            <a:xfrm>
              <a:off x="1808052" y="3069149"/>
              <a:ext cx="1031205" cy="945034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433" name="TextBox 432">
              <a:extLst>
                <a:ext uri="{FF2B5EF4-FFF2-40B4-BE49-F238E27FC236}">
                  <a16:creationId xmlns:a16="http://schemas.microsoft.com/office/drawing/2014/main" id="{AA0E72BD-3443-1942-B182-6068B1F907B3}"/>
                </a:ext>
              </a:extLst>
            </p:cNvPr>
            <p:cNvSpPr txBox="1"/>
            <p:nvPr/>
          </p:nvSpPr>
          <p:spPr>
            <a:xfrm>
              <a:off x="1758983" y="3146782"/>
              <a:ext cx="112934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77"/>
                  <a:ea typeface="+mn-ea"/>
                  <a:cs typeface="+mn-cs"/>
                </a:rPr>
                <a:t>30%</a:t>
              </a:r>
            </a:p>
          </p:txBody>
        </p:sp>
        <p:sp>
          <p:nvSpPr>
            <p:cNvPr id="434" name="TextBox 433">
              <a:extLst>
                <a:ext uri="{FF2B5EF4-FFF2-40B4-BE49-F238E27FC236}">
                  <a16:creationId xmlns:a16="http://schemas.microsoft.com/office/drawing/2014/main" id="{C976B9F4-0785-854E-853B-F1467DA83F53}"/>
                </a:ext>
              </a:extLst>
            </p:cNvPr>
            <p:cNvSpPr txBox="1"/>
            <p:nvPr/>
          </p:nvSpPr>
          <p:spPr>
            <a:xfrm>
              <a:off x="1758983" y="3627774"/>
              <a:ext cx="112934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Partners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52D9693-4716-4B91-A793-72E07F546062}"/>
              </a:ext>
            </a:extLst>
          </p:cNvPr>
          <p:cNvGrpSpPr/>
          <p:nvPr/>
        </p:nvGrpSpPr>
        <p:grpSpPr>
          <a:xfrm>
            <a:off x="3679200" y="3069149"/>
            <a:ext cx="1181409" cy="945034"/>
            <a:chOff x="3004648" y="3069149"/>
            <a:chExt cx="1181409" cy="945034"/>
          </a:xfrm>
        </p:grpSpPr>
        <p:sp>
          <p:nvSpPr>
            <p:cNvPr id="436" name="Rounded Rectangle 435">
              <a:extLst>
                <a:ext uri="{FF2B5EF4-FFF2-40B4-BE49-F238E27FC236}">
                  <a16:creationId xmlns:a16="http://schemas.microsoft.com/office/drawing/2014/main" id="{2F0BD54E-D358-814D-9887-1F258A72EE7C}"/>
                </a:ext>
              </a:extLst>
            </p:cNvPr>
            <p:cNvSpPr/>
            <p:nvPr/>
          </p:nvSpPr>
          <p:spPr>
            <a:xfrm>
              <a:off x="3079750" y="3069149"/>
              <a:ext cx="1031205" cy="945034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437" name="TextBox 436">
              <a:extLst>
                <a:ext uri="{FF2B5EF4-FFF2-40B4-BE49-F238E27FC236}">
                  <a16:creationId xmlns:a16="http://schemas.microsoft.com/office/drawing/2014/main" id="{19AB9B7F-E862-3843-8F73-7EA19F7D2A48}"/>
                </a:ext>
              </a:extLst>
            </p:cNvPr>
            <p:cNvSpPr txBox="1"/>
            <p:nvPr/>
          </p:nvSpPr>
          <p:spPr>
            <a:xfrm>
              <a:off x="3004648" y="3146782"/>
              <a:ext cx="118140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77"/>
                  <a:ea typeface="+mn-ea"/>
                  <a:cs typeface="+mn-cs"/>
                </a:rPr>
                <a:t>+35%</a:t>
              </a:r>
            </a:p>
          </p:txBody>
        </p:sp>
        <p:sp>
          <p:nvSpPr>
            <p:cNvPr id="438" name="TextBox 437">
              <a:extLst>
                <a:ext uri="{FF2B5EF4-FFF2-40B4-BE49-F238E27FC236}">
                  <a16:creationId xmlns:a16="http://schemas.microsoft.com/office/drawing/2014/main" id="{E195C0BF-5023-E241-90CC-7F87E1327D16}"/>
                </a:ext>
              </a:extLst>
            </p:cNvPr>
            <p:cNvSpPr txBox="1"/>
            <p:nvPr/>
          </p:nvSpPr>
          <p:spPr>
            <a:xfrm>
              <a:off x="3030681" y="3627774"/>
              <a:ext cx="112934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SW Growth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275845A-23BD-4F27-BC7C-1DB47ECD277F}"/>
              </a:ext>
            </a:extLst>
          </p:cNvPr>
          <p:cNvGrpSpPr/>
          <p:nvPr/>
        </p:nvGrpSpPr>
        <p:grpSpPr>
          <a:xfrm>
            <a:off x="4976931" y="3069149"/>
            <a:ext cx="1129343" cy="945034"/>
            <a:chOff x="4302379" y="3069149"/>
            <a:chExt cx="1129343" cy="945034"/>
          </a:xfrm>
        </p:grpSpPr>
        <p:sp>
          <p:nvSpPr>
            <p:cNvPr id="440" name="Rounded Rectangle 439">
              <a:extLst>
                <a:ext uri="{FF2B5EF4-FFF2-40B4-BE49-F238E27FC236}">
                  <a16:creationId xmlns:a16="http://schemas.microsoft.com/office/drawing/2014/main" id="{1C786D9D-0466-5140-9ED6-6647C514BEE4}"/>
                </a:ext>
              </a:extLst>
            </p:cNvPr>
            <p:cNvSpPr/>
            <p:nvPr/>
          </p:nvSpPr>
          <p:spPr>
            <a:xfrm>
              <a:off x="4351448" y="3069149"/>
              <a:ext cx="1031205" cy="945034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441" name="TextBox 440">
              <a:extLst>
                <a:ext uri="{FF2B5EF4-FFF2-40B4-BE49-F238E27FC236}">
                  <a16:creationId xmlns:a16="http://schemas.microsoft.com/office/drawing/2014/main" id="{9D2210E9-DEBD-CD47-9287-96CA2B8A9D13}"/>
                </a:ext>
              </a:extLst>
            </p:cNvPr>
            <p:cNvSpPr txBox="1"/>
            <p:nvPr/>
          </p:nvSpPr>
          <p:spPr>
            <a:xfrm>
              <a:off x="4302379" y="3146782"/>
              <a:ext cx="112934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77"/>
                  <a:ea typeface="+mn-ea"/>
                  <a:cs typeface="+mn-cs"/>
                </a:rPr>
                <a:t>20</a:t>
              </a: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77"/>
                  <a:ea typeface="+mn-ea"/>
                  <a:cs typeface="+mn-cs"/>
                </a:rPr>
                <a:t> </a:t>
              </a: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staff</a:t>
              </a:r>
            </a:p>
          </p:txBody>
        </p:sp>
        <p:sp>
          <p:nvSpPr>
            <p:cNvPr id="442" name="TextBox 441">
              <a:extLst>
                <a:ext uri="{FF2B5EF4-FFF2-40B4-BE49-F238E27FC236}">
                  <a16:creationId xmlns:a16="http://schemas.microsoft.com/office/drawing/2014/main" id="{94B35508-EADA-9348-88D2-B3DB1EBF4409}"/>
                </a:ext>
              </a:extLst>
            </p:cNvPr>
            <p:cNvSpPr txBox="1"/>
            <p:nvPr/>
          </p:nvSpPr>
          <p:spPr>
            <a:xfrm>
              <a:off x="4302379" y="3535441"/>
              <a:ext cx="112934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77"/>
                  <a:ea typeface="+mn-ea"/>
                  <a:cs typeface="+mn-cs"/>
                </a:rPr>
                <a:t>5</a:t>
              </a: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77"/>
                  <a:ea typeface="+mn-ea"/>
                  <a:cs typeface="+mn-cs"/>
                </a:rPr>
                <a:t> </a:t>
              </a: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Sales</a:t>
              </a:r>
            </a:p>
          </p:txBody>
        </p:sp>
      </p:grpSp>
      <p:grpSp>
        <p:nvGrpSpPr>
          <p:cNvPr id="452" name="Group 451">
            <a:extLst>
              <a:ext uri="{FF2B5EF4-FFF2-40B4-BE49-F238E27FC236}">
                <a16:creationId xmlns:a16="http://schemas.microsoft.com/office/drawing/2014/main" id="{4D715958-82C7-B044-8A52-E9E007C99573}"/>
              </a:ext>
            </a:extLst>
          </p:cNvPr>
          <p:cNvGrpSpPr/>
          <p:nvPr/>
        </p:nvGrpSpPr>
        <p:grpSpPr>
          <a:xfrm>
            <a:off x="562388" y="4377135"/>
            <a:ext cx="6127852" cy="789097"/>
            <a:chOff x="598933" y="2831148"/>
            <a:chExt cx="5311334" cy="789097"/>
          </a:xfrm>
        </p:grpSpPr>
        <p:sp>
          <p:nvSpPr>
            <p:cNvPr id="453" name="Rounded Rectangle 452">
              <a:extLst>
                <a:ext uri="{FF2B5EF4-FFF2-40B4-BE49-F238E27FC236}">
                  <a16:creationId xmlns:a16="http://schemas.microsoft.com/office/drawing/2014/main" id="{D5AC1D22-FDB4-D543-A183-D9EF0AF410D5}"/>
                </a:ext>
              </a:extLst>
            </p:cNvPr>
            <p:cNvSpPr/>
            <p:nvPr/>
          </p:nvSpPr>
          <p:spPr>
            <a:xfrm>
              <a:off x="598933" y="2831148"/>
              <a:ext cx="5311334" cy="789097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455" name="TextBox 454">
              <a:extLst>
                <a:ext uri="{FF2B5EF4-FFF2-40B4-BE49-F238E27FC236}">
                  <a16:creationId xmlns:a16="http://schemas.microsoft.com/office/drawing/2014/main" id="{DBA87231-03A4-A942-A7C8-C537B25A000D}"/>
                </a:ext>
              </a:extLst>
            </p:cNvPr>
            <p:cNvSpPr txBox="1"/>
            <p:nvPr/>
          </p:nvSpPr>
          <p:spPr>
            <a:xfrm>
              <a:off x="624714" y="3056419"/>
              <a:ext cx="52587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Utility, Government, Retail, Housing, Travel, Services, BPO, Financia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9733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3000"/>
                            </p:stCondLst>
                            <p:childTnLst>
                              <p:par>
                                <p:cTn id="12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900" decel="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4000"/>
                            </p:stCondLst>
                            <p:childTnLst>
                              <p:par>
                                <p:cTn id="19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9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0"/>
                            </p:stCondLst>
                            <p:childTnLst>
                              <p:par>
                                <p:cTn id="26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9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000"/>
                            </p:stCondLst>
                            <p:childTnLst>
                              <p:par>
                                <p:cTn id="33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7000"/>
                            </p:stCondLst>
                            <p:childTnLst>
                              <p:par>
                                <p:cTn id="40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4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2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4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4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" name="Text Placeholder 1"/>
          <p:cNvSpPr txBox="1">
            <a:spLocks/>
          </p:cNvSpPr>
          <p:nvPr/>
        </p:nvSpPr>
        <p:spPr>
          <a:xfrm>
            <a:off x="1023605" y="1479415"/>
            <a:ext cx="4774773" cy="1674650"/>
          </a:xfrm>
          <a:prstGeom prst="roundRect">
            <a:avLst>
              <a:gd name="adj" fmla="val 8087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360000" tIns="45720" rIns="0" bIns="0" anchor="ctr"/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n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8975" indent="-2936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2349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5388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l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9075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50" marR="0" lvl="0" indent="-1841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Native multi-tenant platform based on own IP</a:t>
            </a:r>
          </a:p>
          <a:p>
            <a:pPr marL="184150" marR="0" lvl="0" indent="-1841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More than 20 years cloud experience</a:t>
            </a:r>
          </a:p>
          <a:p>
            <a:pPr marL="184150" marR="0" lvl="0" indent="-1841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99,99% availability - Secure and scalable</a:t>
            </a:r>
          </a:p>
          <a:p>
            <a:pPr marL="184150" marR="0" lvl="0" indent="-1841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Group Cloud revenue 35 MEU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mpany Overview</a:t>
            </a:r>
          </a:p>
        </p:txBody>
      </p:sp>
      <p:sp>
        <p:nvSpPr>
          <p:cNvPr id="408" name="Freeform 13"/>
          <p:cNvSpPr>
            <a:spLocks/>
          </p:cNvSpPr>
          <p:nvPr/>
        </p:nvSpPr>
        <p:spPr bwMode="auto">
          <a:xfrm>
            <a:off x="1023604" y="908875"/>
            <a:ext cx="4774773" cy="376099"/>
          </a:xfrm>
          <a:prstGeom prst="roundRect">
            <a:avLst/>
          </a:prstGeom>
          <a:solidFill>
            <a:schemeClr val="tx2"/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Arial" panose="020B0604020202020204" pitchFamily="34" charset="0"/>
              </a:rPr>
              <a:t>Highlights</a:t>
            </a:r>
          </a:p>
        </p:txBody>
      </p:sp>
      <p:sp>
        <p:nvSpPr>
          <p:cNvPr id="409" name="Text Placeholder 1"/>
          <p:cNvSpPr txBox="1">
            <a:spLocks/>
          </p:cNvSpPr>
          <p:nvPr/>
        </p:nvSpPr>
        <p:spPr>
          <a:xfrm>
            <a:off x="6096000" y="1479583"/>
            <a:ext cx="4774774" cy="1674498"/>
          </a:xfrm>
          <a:prstGeom prst="roundRect">
            <a:avLst>
              <a:gd name="adj" fmla="val 9646"/>
            </a:avLst>
          </a:prstGeom>
          <a:solidFill>
            <a:schemeClr val="accent2">
              <a:lumMod val="20000"/>
              <a:lumOff val="80000"/>
            </a:schemeClr>
          </a:solidFill>
        </p:spPr>
        <p:txBody>
          <a:bodyPr lIns="360000" tIns="45720" rIns="0" bIns="0" anchor="ctr"/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n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8975" indent="-2936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2349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5388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l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9075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5872F0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Nordics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5872F0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Western Europe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5872F0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Agents in more than 25 countries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5872F0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7 Office locations	</a:t>
            </a:r>
          </a:p>
        </p:txBody>
      </p:sp>
      <p:sp>
        <p:nvSpPr>
          <p:cNvPr id="410" name="Freeform 13"/>
          <p:cNvSpPr>
            <a:spLocks/>
          </p:cNvSpPr>
          <p:nvPr/>
        </p:nvSpPr>
        <p:spPr bwMode="auto">
          <a:xfrm>
            <a:off x="6099024" y="908875"/>
            <a:ext cx="4771750" cy="376099"/>
          </a:xfrm>
          <a:prstGeom prst="roundRect">
            <a:avLst/>
          </a:prstGeom>
          <a:solidFill>
            <a:schemeClr val="accent2"/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Arial" panose="020B0604020202020204" pitchFamily="34" charset="0"/>
              </a:rPr>
              <a:t>European Focus and regions</a:t>
            </a:r>
          </a:p>
        </p:txBody>
      </p:sp>
      <p:sp>
        <p:nvSpPr>
          <p:cNvPr id="413" name="Freeform 13"/>
          <p:cNvSpPr>
            <a:spLocks/>
          </p:cNvSpPr>
          <p:nvPr/>
        </p:nvSpPr>
        <p:spPr bwMode="auto">
          <a:xfrm>
            <a:off x="6089904" y="3397319"/>
            <a:ext cx="4765294" cy="376099"/>
          </a:xfrm>
          <a:prstGeom prst="roundRect">
            <a:avLst/>
          </a:prstGeom>
          <a:solidFill>
            <a:schemeClr val="accent3"/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Arial" panose="020B0604020202020204" pitchFamily="34" charset="0"/>
              </a:rPr>
              <a:t>Strong and  international focused team</a:t>
            </a:r>
          </a:p>
        </p:txBody>
      </p:sp>
      <p:sp>
        <p:nvSpPr>
          <p:cNvPr id="414" name="Text Placeholder 1"/>
          <p:cNvSpPr txBox="1">
            <a:spLocks/>
          </p:cNvSpPr>
          <p:nvPr/>
        </p:nvSpPr>
        <p:spPr>
          <a:xfrm>
            <a:off x="1023604" y="3954825"/>
            <a:ext cx="4774774" cy="2307951"/>
          </a:xfrm>
          <a:prstGeom prst="roundRect">
            <a:avLst>
              <a:gd name="adj" fmla="val 8743"/>
            </a:avLst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360000" tIns="45720" rIns="0" bIns="0" anchor="ctr"/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n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8975" indent="-2936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2349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5388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l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9075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F9900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&gt; 22,000 Agents, &gt; 900 customers across 40  countries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F9900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Customers with 20 - </a:t>
            </a:r>
            <a:r>
              <a:rPr lang="en-GB" sz="1500">
                <a:solidFill>
                  <a:srgbClr val="515665"/>
                </a:solidFill>
                <a:latin typeface="Franklin Gothic Book" charset="0"/>
              </a:rPr>
              <a:t>2</a:t>
            </a: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000 agents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F9900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25% growth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F9900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Fourth consecutive year as “Challenger” in </a:t>
            </a: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Gartner’s Magic Quadrant for Contact Centre as a Service, Western Europe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, further improved from previous years</a:t>
            </a:r>
          </a:p>
        </p:txBody>
      </p:sp>
      <p:sp>
        <p:nvSpPr>
          <p:cNvPr id="415" name="Freeform 13"/>
          <p:cNvSpPr>
            <a:spLocks/>
          </p:cNvSpPr>
          <p:nvPr/>
        </p:nvSpPr>
        <p:spPr bwMode="auto">
          <a:xfrm>
            <a:off x="1023604" y="3395168"/>
            <a:ext cx="4765294" cy="376099"/>
          </a:xfrm>
          <a:prstGeom prst="roundRect">
            <a:avLst/>
          </a:prstGeom>
          <a:solidFill>
            <a:schemeClr val="accent4"/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Arial" panose="020B0604020202020204" pitchFamily="34" charset="0"/>
              </a:rPr>
              <a:t>Operating Metrics</a:t>
            </a:r>
          </a:p>
        </p:txBody>
      </p:sp>
      <p:sp>
        <p:nvSpPr>
          <p:cNvPr id="416" name="Text Placeholder 1"/>
          <p:cNvSpPr txBox="1">
            <a:spLocks/>
          </p:cNvSpPr>
          <p:nvPr/>
        </p:nvSpPr>
        <p:spPr>
          <a:xfrm>
            <a:off x="6080425" y="3954826"/>
            <a:ext cx="4774773" cy="2307950"/>
          </a:xfrm>
          <a:prstGeom prst="roundRect">
            <a:avLst>
              <a:gd name="adj" fmla="val 9875"/>
            </a:avLst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0" tIns="45720" rIns="0" bIns="0" anchor="ctr"/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n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8975" indent="-2936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2349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5388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l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9075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34C0BC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160 employees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34C0BC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23 nationalities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34C0BC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Strong and focused performance culture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34C0BC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Herkules</a:t>
            </a: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 PE – 95% Shareholder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34C0BC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Social responsibiliti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B951FF-B2CE-468C-A864-988E4639BC98}"/>
              </a:ext>
            </a:extLst>
          </p:cNvPr>
          <p:cNvSpPr txBox="1"/>
          <p:nvPr/>
        </p:nvSpPr>
        <p:spPr>
          <a:xfrm>
            <a:off x="8804813" y="85162"/>
            <a:ext cx="3103723" cy="1362637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81460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7EAD24-46DF-46D6-96B4-2A11BF117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laceholder Puzzel anim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A9D07A-CA56-4520-9F58-AB7BE6B702B8}"/>
              </a:ext>
            </a:extLst>
          </p:cNvPr>
          <p:cNvSpPr/>
          <p:nvPr/>
        </p:nvSpPr>
        <p:spPr>
          <a:xfrm>
            <a:off x="283464" y="815128"/>
            <a:ext cx="549913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You can access the language specific animations her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hlinkClick r:id="rId2"/>
              </a:rPr>
              <a:t>Puzzel Animation Videoes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6" name="Picture 5" descr="A picture containing electronics&#10;&#10;Description automatically generated">
            <a:extLst>
              <a:ext uri="{FF2B5EF4-FFF2-40B4-BE49-F238E27FC236}">
                <a16:creationId xmlns:a16="http://schemas.microsoft.com/office/drawing/2014/main" id="{8F0617AC-1782-3348-8870-8149F65685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47" y="1771360"/>
            <a:ext cx="8119127" cy="4560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576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DF25A8-81C2-A44A-92A7-FD7ABA28DD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pening/Closing slid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4D85B7-3120-CB49-89BD-452E876640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/>
              <a:t>Guidelin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B991FF-6137-3242-B231-5AE2023AFD1B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r>
              <a:rPr lang="en-GB" sz="2000"/>
              <a:t>The following slides are examples of how you can structure your opening/closing slides.</a:t>
            </a:r>
          </a:p>
          <a:p>
            <a:r>
              <a:rPr lang="en-GB" sz="2000"/>
              <a:t>If you would like to use profile pictures of your fellow colleagues, the </a:t>
            </a:r>
            <a:r>
              <a:rPr lang="en-GB" sz="2000" err="1"/>
              <a:t>Puzzeler</a:t>
            </a:r>
            <a:r>
              <a:rPr lang="en-GB" sz="2000"/>
              <a:t> picture library can be accessed through Sharepoint </a:t>
            </a:r>
            <a:r>
              <a:rPr lang="en-GB" sz="2000">
                <a:solidFill>
                  <a:schemeClr val="accent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lang="en-GB" sz="2000"/>
              <a:t>. </a:t>
            </a:r>
          </a:p>
          <a:p>
            <a:r>
              <a:rPr lang="en-GB" sz="2000"/>
              <a:t>If you like to create a customised design for your opening slide, please contact Marketing and we’ll help source a suitable illustration/image.</a:t>
            </a:r>
          </a:p>
        </p:txBody>
      </p:sp>
    </p:spTree>
    <p:extLst>
      <p:ext uri="{BB962C8B-B14F-4D97-AF65-F5344CB8AC3E}">
        <p14:creationId xmlns:p14="http://schemas.microsoft.com/office/powerpoint/2010/main" val="11232604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</p:spPr>
        <p:txBody>
          <a:bodyPr/>
          <a:lstStyle/>
          <a:p>
            <a:r>
              <a:rPr lang="en-GB"/>
              <a:t>Puzzel Timelin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98320F8-D858-144E-ACEC-D0B093230A57}"/>
              </a:ext>
            </a:extLst>
          </p:cNvPr>
          <p:cNvGrpSpPr/>
          <p:nvPr/>
        </p:nvGrpSpPr>
        <p:grpSpPr>
          <a:xfrm>
            <a:off x="614062" y="3903335"/>
            <a:ext cx="11091651" cy="868689"/>
            <a:chOff x="417140" y="2621576"/>
            <a:chExt cx="11091651" cy="868689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8372DB94-15B8-4546-AE0F-7127CBA6E984}"/>
                </a:ext>
              </a:extLst>
            </p:cNvPr>
            <p:cNvGrpSpPr/>
            <p:nvPr/>
          </p:nvGrpSpPr>
          <p:grpSpPr>
            <a:xfrm>
              <a:off x="1213196" y="2640906"/>
              <a:ext cx="1169889" cy="591142"/>
              <a:chOff x="770717" y="3210095"/>
              <a:chExt cx="1169889" cy="591142"/>
            </a:xfrm>
          </p:grpSpPr>
          <p:sp>
            <p:nvSpPr>
              <p:cNvPr id="38" name="Freeform 6">
                <a:extLst>
                  <a:ext uri="{FF2B5EF4-FFF2-40B4-BE49-F238E27FC236}">
                    <a16:creationId xmlns:a16="http://schemas.microsoft.com/office/drawing/2014/main" id="{98626185-F1E2-2647-AE4A-5B40BD0264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717" y="3210095"/>
                <a:ext cx="678774" cy="591142"/>
              </a:xfrm>
              <a:custGeom>
                <a:avLst/>
                <a:gdLst>
                  <a:gd name="T0" fmla="*/ 0 w 457"/>
                  <a:gd name="T1" fmla="*/ 398 h 398"/>
                  <a:gd name="T2" fmla="*/ 228 w 457"/>
                  <a:gd name="T3" fmla="*/ 0 h 398"/>
                  <a:gd name="T4" fmla="*/ 457 w 457"/>
                  <a:gd name="T5" fmla="*/ 398 h 398"/>
                  <a:gd name="T6" fmla="*/ 0 w 457"/>
                  <a:gd name="T7" fmla="*/ 398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7" h="398">
                    <a:moveTo>
                      <a:pt x="0" y="398"/>
                    </a:moveTo>
                    <a:lnTo>
                      <a:pt x="228" y="0"/>
                    </a:lnTo>
                    <a:lnTo>
                      <a:pt x="457" y="398"/>
                    </a:lnTo>
                    <a:lnTo>
                      <a:pt x="0" y="398"/>
                    </a:ln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45720" rIns="45720" bIns="45720" numCol="1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rPr>
                  <a:t>1999</a:t>
                </a:r>
              </a:p>
            </p:txBody>
          </p:sp>
          <p:sp>
            <p:nvSpPr>
              <p:cNvPr id="39" name="Freeform 7">
                <a:extLst>
                  <a:ext uri="{FF2B5EF4-FFF2-40B4-BE49-F238E27FC236}">
                    <a16:creationId xmlns:a16="http://schemas.microsoft.com/office/drawing/2014/main" id="{A034C531-8EF5-0E4F-A46B-AE6B1AAD6E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8862" y="3210838"/>
                <a:ext cx="681744" cy="589657"/>
              </a:xfrm>
              <a:custGeom>
                <a:avLst/>
                <a:gdLst>
                  <a:gd name="T0" fmla="*/ 459 w 459"/>
                  <a:gd name="T1" fmla="*/ 0 h 397"/>
                  <a:gd name="T2" fmla="*/ 230 w 459"/>
                  <a:gd name="T3" fmla="*/ 397 h 397"/>
                  <a:gd name="T4" fmla="*/ 0 w 459"/>
                  <a:gd name="T5" fmla="*/ 0 h 397"/>
                  <a:gd name="T6" fmla="*/ 459 w 459"/>
                  <a:gd name="T7" fmla="*/ 0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9" h="397">
                    <a:moveTo>
                      <a:pt x="459" y="0"/>
                    </a:moveTo>
                    <a:lnTo>
                      <a:pt x="230" y="397"/>
                    </a:lnTo>
                    <a:lnTo>
                      <a:pt x="0" y="0"/>
                    </a:lnTo>
                    <a:lnTo>
                      <a:pt x="459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45720" rIns="4572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rPr>
                  <a:t>2000</a:t>
                </a:r>
              </a:p>
            </p:txBody>
          </p:sp>
        </p:grpSp>
        <p:sp>
          <p:nvSpPr>
            <p:cNvPr id="43" name="Freeform 9">
              <a:extLst>
                <a:ext uri="{FF2B5EF4-FFF2-40B4-BE49-F238E27FC236}">
                  <a16:creationId xmlns:a16="http://schemas.microsoft.com/office/drawing/2014/main" id="{07726983-D415-7F41-8631-1E43D18E1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140" y="2641649"/>
              <a:ext cx="986685" cy="848616"/>
            </a:xfrm>
            <a:custGeom>
              <a:avLst/>
              <a:gdLst>
                <a:gd name="T0" fmla="*/ 457 w 457"/>
                <a:gd name="T1" fmla="*/ 0 h 397"/>
                <a:gd name="T2" fmla="*/ 229 w 457"/>
                <a:gd name="T3" fmla="*/ 397 h 397"/>
                <a:gd name="T4" fmla="*/ 0 w 457"/>
                <a:gd name="T5" fmla="*/ 0 h 397"/>
                <a:gd name="T6" fmla="*/ 457 w 457"/>
                <a:gd name="T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7" h="397">
                  <a:moveTo>
                    <a:pt x="457" y="0"/>
                  </a:moveTo>
                  <a:lnTo>
                    <a:pt x="229" y="397"/>
                  </a:lnTo>
                  <a:lnTo>
                    <a:pt x="0" y="0"/>
                  </a:lnTo>
                  <a:lnTo>
                    <a:pt x="457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1998</a:t>
              </a: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409485DF-6DD8-D742-AEB4-9B7E9A5EB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3576" y="2641649"/>
              <a:ext cx="683229" cy="589657"/>
            </a:xfrm>
            <a:custGeom>
              <a:avLst/>
              <a:gdLst>
                <a:gd name="T0" fmla="*/ 460 w 460"/>
                <a:gd name="T1" fmla="*/ 0 h 397"/>
                <a:gd name="T2" fmla="*/ 230 w 460"/>
                <a:gd name="T3" fmla="*/ 397 h 397"/>
                <a:gd name="T4" fmla="*/ 0 w 460"/>
                <a:gd name="T5" fmla="*/ 0 h 397"/>
                <a:gd name="T6" fmla="*/ 460 w 460"/>
                <a:gd name="T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0" h="397">
                  <a:moveTo>
                    <a:pt x="460" y="0"/>
                  </a:moveTo>
                  <a:lnTo>
                    <a:pt x="230" y="397"/>
                  </a:lnTo>
                  <a:lnTo>
                    <a:pt x="0" y="0"/>
                  </a:lnTo>
                  <a:lnTo>
                    <a:pt x="460" y="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06</a:t>
              </a:r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F52FBE75-2292-0F41-B660-16A554E97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036" y="2641649"/>
              <a:ext cx="678774" cy="589657"/>
            </a:xfrm>
            <a:custGeom>
              <a:avLst/>
              <a:gdLst>
                <a:gd name="T0" fmla="*/ 457 w 457"/>
                <a:gd name="T1" fmla="*/ 0 h 397"/>
                <a:gd name="T2" fmla="*/ 229 w 457"/>
                <a:gd name="T3" fmla="*/ 397 h 397"/>
                <a:gd name="T4" fmla="*/ 0 w 457"/>
                <a:gd name="T5" fmla="*/ 0 h 397"/>
                <a:gd name="T6" fmla="*/ 457 w 457"/>
                <a:gd name="T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7" h="397">
                  <a:moveTo>
                    <a:pt x="457" y="0"/>
                  </a:moveTo>
                  <a:lnTo>
                    <a:pt x="229" y="397"/>
                  </a:lnTo>
                  <a:lnTo>
                    <a:pt x="0" y="0"/>
                  </a:lnTo>
                  <a:lnTo>
                    <a:pt x="457" y="0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10</a:t>
              </a:r>
            </a:p>
          </p:txBody>
        </p:sp>
        <p:sp>
          <p:nvSpPr>
            <p:cNvPr id="47" name="Freeform 18">
              <a:extLst>
                <a:ext uri="{FF2B5EF4-FFF2-40B4-BE49-F238E27FC236}">
                  <a16:creationId xmlns:a16="http://schemas.microsoft.com/office/drawing/2014/main" id="{1DEFFF24-2B97-984C-97E7-93DFBFC30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5436" y="2640906"/>
              <a:ext cx="683229" cy="591142"/>
            </a:xfrm>
            <a:custGeom>
              <a:avLst/>
              <a:gdLst>
                <a:gd name="T0" fmla="*/ 0 w 460"/>
                <a:gd name="T1" fmla="*/ 398 h 398"/>
                <a:gd name="T2" fmla="*/ 230 w 460"/>
                <a:gd name="T3" fmla="*/ 0 h 398"/>
                <a:gd name="T4" fmla="*/ 460 w 460"/>
                <a:gd name="T5" fmla="*/ 398 h 398"/>
                <a:gd name="T6" fmla="*/ 0 w 460"/>
                <a:gd name="T7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0" h="398">
                  <a:moveTo>
                    <a:pt x="0" y="398"/>
                  </a:moveTo>
                  <a:lnTo>
                    <a:pt x="230" y="0"/>
                  </a:lnTo>
                  <a:lnTo>
                    <a:pt x="460" y="398"/>
                  </a:lnTo>
                  <a:lnTo>
                    <a:pt x="0" y="398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09</a:t>
              </a:r>
            </a:p>
          </p:txBody>
        </p:sp>
        <p:sp>
          <p:nvSpPr>
            <p:cNvPr id="48" name="Freeform 19">
              <a:extLst>
                <a:ext uri="{FF2B5EF4-FFF2-40B4-BE49-F238E27FC236}">
                  <a16:creationId xmlns:a16="http://schemas.microsoft.com/office/drawing/2014/main" id="{91245CFB-37A6-AD44-8192-610146BC0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6181" y="2640906"/>
              <a:ext cx="678774" cy="591142"/>
            </a:xfrm>
            <a:custGeom>
              <a:avLst/>
              <a:gdLst>
                <a:gd name="T0" fmla="*/ 0 w 457"/>
                <a:gd name="T1" fmla="*/ 398 h 398"/>
                <a:gd name="T2" fmla="*/ 227 w 457"/>
                <a:gd name="T3" fmla="*/ 0 h 398"/>
                <a:gd name="T4" fmla="*/ 457 w 457"/>
                <a:gd name="T5" fmla="*/ 398 h 398"/>
                <a:gd name="T6" fmla="*/ 0 w 457"/>
                <a:gd name="T7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7" h="398">
                  <a:moveTo>
                    <a:pt x="0" y="398"/>
                  </a:moveTo>
                  <a:lnTo>
                    <a:pt x="227" y="0"/>
                  </a:lnTo>
                  <a:lnTo>
                    <a:pt x="457" y="398"/>
                  </a:lnTo>
                  <a:lnTo>
                    <a:pt x="0" y="398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11</a:t>
              </a: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E27A8B42-6644-D343-91ED-6FD8F825F761}"/>
                </a:ext>
              </a:extLst>
            </p:cNvPr>
            <p:cNvGrpSpPr/>
            <p:nvPr/>
          </p:nvGrpSpPr>
          <p:grpSpPr>
            <a:xfrm>
              <a:off x="2685056" y="2640906"/>
              <a:ext cx="2149149" cy="591142"/>
              <a:chOff x="2174697" y="3210095"/>
              <a:chExt cx="2149149" cy="591142"/>
            </a:xfrm>
          </p:grpSpPr>
          <p:sp>
            <p:nvSpPr>
              <p:cNvPr id="50" name="Freeform 6">
                <a:extLst>
                  <a:ext uri="{FF2B5EF4-FFF2-40B4-BE49-F238E27FC236}">
                    <a16:creationId xmlns:a16="http://schemas.microsoft.com/office/drawing/2014/main" id="{0D6817E2-6EEC-BF42-9919-191232DEE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5072" y="3210095"/>
                <a:ext cx="678774" cy="591142"/>
              </a:xfrm>
              <a:custGeom>
                <a:avLst/>
                <a:gdLst>
                  <a:gd name="T0" fmla="*/ 0 w 457"/>
                  <a:gd name="T1" fmla="*/ 398 h 398"/>
                  <a:gd name="T2" fmla="*/ 228 w 457"/>
                  <a:gd name="T3" fmla="*/ 0 h 398"/>
                  <a:gd name="T4" fmla="*/ 457 w 457"/>
                  <a:gd name="T5" fmla="*/ 398 h 398"/>
                  <a:gd name="T6" fmla="*/ 0 w 457"/>
                  <a:gd name="T7" fmla="*/ 398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7" h="398">
                    <a:moveTo>
                      <a:pt x="0" y="398"/>
                    </a:moveTo>
                    <a:lnTo>
                      <a:pt x="228" y="0"/>
                    </a:lnTo>
                    <a:lnTo>
                      <a:pt x="457" y="398"/>
                    </a:lnTo>
                    <a:lnTo>
                      <a:pt x="0" y="398"/>
                    </a:ln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45720" rIns="45720" bIns="45720" numCol="1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rPr>
                  <a:t>2005</a:t>
                </a:r>
              </a:p>
            </p:txBody>
          </p:sp>
          <p:sp>
            <p:nvSpPr>
              <p:cNvPr id="51" name="Freeform 7">
                <a:extLst>
                  <a:ext uri="{FF2B5EF4-FFF2-40B4-BE49-F238E27FC236}">
                    <a16:creationId xmlns:a16="http://schemas.microsoft.com/office/drawing/2014/main" id="{619F3D82-E5E0-544A-899E-4855BBCBF6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4697" y="3210838"/>
                <a:ext cx="681744" cy="589657"/>
              </a:xfrm>
              <a:custGeom>
                <a:avLst/>
                <a:gdLst>
                  <a:gd name="T0" fmla="*/ 459 w 459"/>
                  <a:gd name="T1" fmla="*/ 0 h 397"/>
                  <a:gd name="T2" fmla="*/ 230 w 459"/>
                  <a:gd name="T3" fmla="*/ 397 h 397"/>
                  <a:gd name="T4" fmla="*/ 0 w 459"/>
                  <a:gd name="T5" fmla="*/ 0 h 397"/>
                  <a:gd name="T6" fmla="*/ 459 w 459"/>
                  <a:gd name="T7" fmla="*/ 0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9" h="397">
                    <a:moveTo>
                      <a:pt x="459" y="0"/>
                    </a:moveTo>
                    <a:lnTo>
                      <a:pt x="230" y="397"/>
                    </a:lnTo>
                    <a:lnTo>
                      <a:pt x="0" y="0"/>
                    </a:lnTo>
                    <a:lnTo>
                      <a:pt x="459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45720" rIns="4572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rPr>
                  <a:t>2002</a:t>
                </a:r>
              </a:p>
            </p:txBody>
          </p:sp>
          <p:sp>
            <p:nvSpPr>
              <p:cNvPr id="52" name="Freeform 6">
                <a:extLst>
                  <a:ext uri="{FF2B5EF4-FFF2-40B4-BE49-F238E27FC236}">
                    <a16:creationId xmlns:a16="http://schemas.microsoft.com/office/drawing/2014/main" id="{19795779-4069-A141-BEE5-2647EB1E07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5812" y="3210095"/>
                <a:ext cx="678774" cy="591142"/>
              </a:xfrm>
              <a:custGeom>
                <a:avLst/>
                <a:gdLst>
                  <a:gd name="T0" fmla="*/ 0 w 457"/>
                  <a:gd name="T1" fmla="*/ 398 h 398"/>
                  <a:gd name="T2" fmla="*/ 228 w 457"/>
                  <a:gd name="T3" fmla="*/ 0 h 398"/>
                  <a:gd name="T4" fmla="*/ 457 w 457"/>
                  <a:gd name="T5" fmla="*/ 398 h 398"/>
                  <a:gd name="T6" fmla="*/ 0 w 457"/>
                  <a:gd name="T7" fmla="*/ 398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7" h="398">
                    <a:moveTo>
                      <a:pt x="0" y="398"/>
                    </a:moveTo>
                    <a:lnTo>
                      <a:pt x="228" y="0"/>
                    </a:lnTo>
                    <a:lnTo>
                      <a:pt x="457" y="398"/>
                    </a:lnTo>
                    <a:lnTo>
                      <a:pt x="0" y="398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45720" rIns="45720" bIns="45720" numCol="1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rPr>
                  <a:t>2003</a:t>
                </a:r>
              </a:p>
            </p:txBody>
          </p:sp>
          <p:sp>
            <p:nvSpPr>
              <p:cNvPr id="53" name="Freeform 7">
                <a:extLst>
                  <a:ext uri="{FF2B5EF4-FFF2-40B4-BE49-F238E27FC236}">
                    <a16:creationId xmlns:a16="http://schemas.microsoft.com/office/drawing/2014/main" id="{C6E25EA7-DEED-3D4D-92FD-28864D73EE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3957" y="3210838"/>
                <a:ext cx="681744" cy="589657"/>
              </a:xfrm>
              <a:custGeom>
                <a:avLst/>
                <a:gdLst>
                  <a:gd name="T0" fmla="*/ 459 w 459"/>
                  <a:gd name="T1" fmla="*/ 0 h 397"/>
                  <a:gd name="T2" fmla="*/ 230 w 459"/>
                  <a:gd name="T3" fmla="*/ 397 h 397"/>
                  <a:gd name="T4" fmla="*/ 0 w 459"/>
                  <a:gd name="T5" fmla="*/ 0 h 397"/>
                  <a:gd name="T6" fmla="*/ 459 w 459"/>
                  <a:gd name="T7" fmla="*/ 0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9" h="397">
                    <a:moveTo>
                      <a:pt x="459" y="0"/>
                    </a:moveTo>
                    <a:lnTo>
                      <a:pt x="230" y="397"/>
                    </a:lnTo>
                    <a:lnTo>
                      <a:pt x="0" y="0"/>
                    </a:lnTo>
                    <a:lnTo>
                      <a:pt x="459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45720" rIns="4572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rPr>
                  <a:t>2004</a:t>
                </a:r>
              </a:p>
            </p:txBody>
          </p:sp>
        </p:grp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7BFF843E-DB8E-494D-BA4E-A111376D8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6176" y="2640906"/>
              <a:ext cx="678774" cy="591142"/>
            </a:xfrm>
            <a:custGeom>
              <a:avLst/>
              <a:gdLst>
                <a:gd name="T0" fmla="*/ 0 w 457"/>
                <a:gd name="T1" fmla="*/ 398 h 398"/>
                <a:gd name="T2" fmla="*/ 228 w 457"/>
                <a:gd name="T3" fmla="*/ 0 h 398"/>
                <a:gd name="T4" fmla="*/ 457 w 457"/>
                <a:gd name="T5" fmla="*/ 398 h 398"/>
                <a:gd name="T6" fmla="*/ 0 w 457"/>
                <a:gd name="T7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7" h="398">
                  <a:moveTo>
                    <a:pt x="0" y="398"/>
                  </a:moveTo>
                  <a:lnTo>
                    <a:pt x="228" y="0"/>
                  </a:lnTo>
                  <a:lnTo>
                    <a:pt x="457" y="398"/>
                  </a:lnTo>
                  <a:lnTo>
                    <a:pt x="0" y="398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07</a:t>
              </a:r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id="{A714E874-A148-0341-9D80-F49E03B3C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321" y="2641649"/>
              <a:ext cx="681744" cy="589657"/>
            </a:xfrm>
            <a:custGeom>
              <a:avLst/>
              <a:gdLst>
                <a:gd name="T0" fmla="*/ 459 w 459"/>
                <a:gd name="T1" fmla="*/ 0 h 397"/>
                <a:gd name="T2" fmla="*/ 230 w 459"/>
                <a:gd name="T3" fmla="*/ 397 h 397"/>
                <a:gd name="T4" fmla="*/ 0 w 459"/>
                <a:gd name="T5" fmla="*/ 0 h 397"/>
                <a:gd name="T6" fmla="*/ 459 w 459"/>
                <a:gd name="T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9" h="397">
                  <a:moveTo>
                    <a:pt x="459" y="0"/>
                  </a:moveTo>
                  <a:lnTo>
                    <a:pt x="230" y="397"/>
                  </a:lnTo>
                  <a:lnTo>
                    <a:pt x="0" y="0"/>
                  </a:lnTo>
                  <a:lnTo>
                    <a:pt x="459" y="0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08</a:t>
              </a: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DC569758-813C-5E4F-8C5D-0EF9041CFAB5}"/>
                </a:ext>
              </a:extLst>
            </p:cNvPr>
            <p:cNvGrpSpPr/>
            <p:nvPr/>
          </p:nvGrpSpPr>
          <p:grpSpPr>
            <a:xfrm>
              <a:off x="7584326" y="2640906"/>
              <a:ext cx="1169889" cy="591142"/>
              <a:chOff x="6718820" y="3210095"/>
              <a:chExt cx="1169889" cy="591142"/>
            </a:xfrm>
          </p:grpSpPr>
          <p:sp>
            <p:nvSpPr>
              <p:cNvPr id="63" name="Freeform 20">
                <a:extLst>
                  <a:ext uri="{FF2B5EF4-FFF2-40B4-BE49-F238E27FC236}">
                    <a16:creationId xmlns:a16="http://schemas.microsoft.com/office/drawing/2014/main" id="{6AF3553A-91FE-FB4C-9FC3-B1911D3445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8820" y="3210838"/>
                <a:ext cx="681744" cy="589657"/>
              </a:xfrm>
              <a:custGeom>
                <a:avLst/>
                <a:gdLst>
                  <a:gd name="T0" fmla="*/ 459 w 459"/>
                  <a:gd name="T1" fmla="*/ 0 h 397"/>
                  <a:gd name="T2" fmla="*/ 229 w 459"/>
                  <a:gd name="T3" fmla="*/ 397 h 397"/>
                  <a:gd name="T4" fmla="*/ 0 w 459"/>
                  <a:gd name="T5" fmla="*/ 0 h 397"/>
                  <a:gd name="T6" fmla="*/ 459 w 459"/>
                  <a:gd name="T7" fmla="*/ 0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9" h="397">
                    <a:moveTo>
                      <a:pt x="459" y="0"/>
                    </a:moveTo>
                    <a:lnTo>
                      <a:pt x="229" y="397"/>
                    </a:lnTo>
                    <a:lnTo>
                      <a:pt x="0" y="0"/>
                    </a:lnTo>
                    <a:lnTo>
                      <a:pt x="459" y="0"/>
                    </a:ln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45720" rIns="4572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rPr>
                  <a:t>2012</a:t>
                </a:r>
              </a:p>
            </p:txBody>
          </p:sp>
          <p:sp>
            <p:nvSpPr>
              <p:cNvPr id="64" name="Freeform 6">
                <a:extLst>
                  <a:ext uri="{FF2B5EF4-FFF2-40B4-BE49-F238E27FC236}">
                    <a16:creationId xmlns:a16="http://schemas.microsoft.com/office/drawing/2014/main" id="{6E2FCD1E-C854-FC43-AB9A-DFB1D84AC2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9935" y="3210095"/>
                <a:ext cx="678774" cy="591142"/>
              </a:xfrm>
              <a:custGeom>
                <a:avLst/>
                <a:gdLst>
                  <a:gd name="T0" fmla="*/ 0 w 457"/>
                  <a:gd name="T1" fmla="*/ 398 h 398"/>
                  <a:gd name="T2" fmla="*/ 228 w 457"/>
                  <a:gd name="T3" fmla="*/ 0 h 398"/>
                  <a:gd name="T4" fmla="*/ 457 w 457"/>
                  <a:gd name="T5" fmla="*/ 398 h 398"/>
                  <a:gd name="T6" fmla="*/ 0 w 457"/>
                  <a:gd name="T7" fmla="*/ 398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7" h="398">
                    <a:moveTo>
                      <a:pt x="0" y="398"/>
                    </a:moveTo>
                    <a:lnTo>
                      <a:pt x="228" y="0"/>
                    </a:lnTo>
                    <a:lnTo>
                      <a:pt x="457" y="398"/>
                    </a:lnTo>
                    <a:lnTo>
                      <a:pt x="0" y="398"/>
                    </a:ln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45720" rIns="45720" bIns="45720" numCol="1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rPr>
                  <a:t>2013</a:t>
                </a:r>
              </a:p>
            </p:txBody>
          </p:sp>
        </p:grpSp>
        <p:sp>
          <p:nvSpPr>
            <p:cNvPr id="65" name="Freeform 7">
              <a:extLst>
                <a:ext uri="{FF2B5EF4-FFF2-40B4-BE49-F238E27FC236}">
                  <a16:creationId xmlns:a16="http://schemas.microsoft.com/office/drawing/2014/main" id="{A3B28EAD-52FE-E74D-911E-7F8196954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3586" y="2641649"/>
              <a:ext cx="681744" cy="589657"/>
            </a:xfrm>
            <a:custGeom>
              <a:avLst/>
              <a:gdLst>
                <a:gd name="T0" fmla="*/ 459 w 459"/>
                <a:gd name="T1" fmla="*/ 0 h 397"/>
                <a:gd name="T2" fmla="*/ 230 w 459"/>
                <a:gd name="T3" fmla="*/ 397 h 397"/>
                <a:gd name="T4" fmla="*/ 0 w 459"/>
                <a:gd name="T5" fmla="*/ 0 h 397"/>
                <a:gd name="T6" fmla="*/ 459 w 459"/>
                <a:gd name="T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9" h="397">
                  <a:moveTo>
                    <a:pt x="459" y="0"/>
                  </a:moveTo>
                  <a:lnTo>
                    <a:pt x="230" y="397"/>
                  </a:lnTo>
                  <a:lnTo>
                    <a:pt x="0" y="0"/>
                  </a:lnTo>
                  <a:lnTo>
                    <a:pt x="459" y="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14</a:t>
              </a:r>
            </a:p>
          </p:txBody>
        </p:sp>
        <p:sp>
          <p:nvSpPr>
            <p:cNvPr id="66" name="Freeform 18">
              <a:extLst>
                <a:ext uri="{FF2B5EF4-FFF2-40B4-BE49-F238E27FC236}">
                  <a16:creationId xmlns:a16="http://schemas.microsoft.com/office/drawing/2014/main" id="{D171CA7F-8E5E-F942-B193-51A5721BE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2456" y="2640906"/>
              <a:ext cx="683229" cy="591142"/>
            </a:xfrm>
            <a:custGeom>
              <a:avLst/>
              <a:gdLst>
                <a:gd name="T0" fmla="*/ 0 w 460"/>
                <a:gd name="T1" fmla="*/ 398 h 398"/>
                <a:gd name="T2" fmla="*/ 230 w 460"/>
                <a:gd name="T3" fmla="*/ 0 h 398"/>
                <a:gd name="T4" fmla="*/ 460 w 460"/>
                <a:gd name="T5" fmla="*/ 398 h 398"/>
                <a:gd name="T6" fmla="*/ 0 w 460"/>
                <a:gd name="T7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0" h="398">
                  <a:moveTo>
                    <a:pt x="0" y="398"/>
                  </a:moveTo>
                  <a:lnTo>
                    <a:pt x="230" y="0"/>
                  </a:lnTo>
                  <a:lnTo>
                    <a:pt x="460" y="398"/>
                  </a:lnTo>
                  <a:lnTo>
                    <a:pt x="0" y="398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01</a:t>
              </a:r>
            </a:p>
          </p:txBody>
        </p:sp>
        <p:sp>
          <p:nvSpPr>
            <p:cNvPr id="67" name="Freeform 18">
              <a:extLst>
                <a:ext uri="{FF2B5EF4-FFF2-40B4-BE49-F238E27FC236}">
                  <a16:creationId xmlns:a16="http://schemas.microsoft.com/office/drawing/2014/main" id="{87572EDE-F87C-0C43-B25E-DB903F94E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8416" y="2621576"/>
              <a:ext cx="683229" cy="626705"/>
            </a:xfrm>
            <a:custGeom>
              <a:avLst/>
              <a:gdLst>
                <a:gd name="T0" fmla="*/ 0 w 460"/>
                <a:gd name="T1" fmla="*/ 398 h 398"/>
                <a:gd name="T2" fmla="*/ 230 w 460"/>
                <a:gd name="T3" fmla="*/ 0 h 398"/>
                <a:gd name="T4" fmla="*/ 460 w 460"/>
                <a:gd name="T5" fmla="*/ 398 h 398"/>
                <a:gd name="T6" fmla="*/ 0 w 460"/>
                <a:gd name="T7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0" h="398">
                  <a:moveTo>
                    <a:pt x="0" y="398"/>
                  </a:moveTo>
                  <a:lnTo>
                    <a:pt x="230" y="0"/>
                  </a:lnTo>
                  <a:lnTo>
                    <a:pt x="460" y="398"/>
                  </a:lnTo>
                  <a:lnTo>
                    <a:pt x="0" y="398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17</a:t>
              </a:r>
            </a:p>
          </p:txBody>
        </p:sp>
        <p:sp>
          <p:nvSpPr>
            <p:cNvPr id="68" name="Freeform 7">
              <a:extLst>
                <a:ext uri="{FF2B5EF4-FFF2-40B4-BE49-F238E27FC236}">
                  <a16:creationId xmlns:a16="http://schemas.microsoft.com/office/drawing/2014/main" id="{335F22F9-A27A-7641-A4FF-73F46632E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7301" y="2641649"/>
              <a:ext cx="681744" cy="589657"/>
            </a:xfrm>
            <a:custGeom>
              <a:avLst/>
              <a:gdLst>
                <a:gd name="T0" fmla="*/ 459 w 459"/>
                <a:gd name="T1" fmla="*/ 0 h 397"/>
                <a:gd name="T2" fmla="*/ 230 w 459"/>
                <a:gd name="T3" fmla="*/ 397 h 397"/>
                <a:gd name="T4" fmla="*/ 0 w 459"/>
                <a:gd name="T5" fmla="*/ 0 h 397"/>
                <a:gd name="T6" fmla="*/ 459 w 459"/>
                <a:gd name="T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9" h="397">
                  <a:moveTo>
                    <a:pt x="459" y="0"/>
                  </a:moveTo>
                  <a:lnTo>
                    <a:pt x="230" y="397"/>
                  </a:lnTo>
                  <a:lnTo>
                    <a:pt x="0" y="0"/>
                  </a:lnTo>
                  <a:lnTo>
                    <a:pt x="459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16</a:t>
              </a:r>
            </a:p>
          </p:txBody>
        </p:sp>
        <p:sp>
          <p:nvSpPr>
            <p:cNvPr id="69" name="Freeform 18">
              <a:extLst>
                <a:ext uri="{FF2B5EF4-FFF2-40B4-BE49-F238E27FC236}">
                  <a16:creationId xmlns:a16="http://schemas.microsoft.com/office/drawing/2014/main" id="{E57EE47C-8EAC-9849-86FE-67E05CB2D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4701" y="2621576"/>
              <a:ext cx="683229" cy="591142"/>
            </a:xfrm>
            <a:custGeom>
              <a:avLst/>
              <a:gdLst>
                <a:gd name="T0" fmla="*/ 0 w 460"/>
                <a:gd name="T1" fmla="*/ 398 h 398"/>
                <a:gd name="T2" fmla="*/ 230 w 460"/>
                <a:gd name="T3" fmla="*/ 0 h 398"/>
                <a:gd name="T4" fmla="*/ 460 w 460"/>
                <a:gd name="T5" fmla="*/ 398 h 398"/>
                <a:gd name="T6" fmla="*/ 0 w 460"/>
                <a:gd name="T7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0" h="398">
                  <a:moveTo>
                    <a:pt x="0" y="398"/>
                  </a:moveTo>
                  <a:lnTo>
                    <a:pt x="230" y="0"/>
                  </a:lnTo>
                  <a:lnTo>
                    <a:pt x="460" y="398"/>
                  </a:lnTo>
                  <a:lnTo>
                    <a:pt x="0" y="398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15</a:t>
              </a:r>
            </a:p>
          </p:txBody>
        </p:sp>
        <p:sp>
          <p:nvSpPr>
            <p:cNvPr id="70" name="Freeform 7">
              <a:extLst>
                <a:ext uri="{FF2B5EF4-FFF2-40B4-BE49-F238E27FC236}">
                  <a16:creationId xmlns:a16="http://schemas.microsoft.com/office/drawing/2014/main" id="{F97BBE04-5D57-4944-A984-7103AEFF6E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021" y="2641649"/>
              <a:ext cx="977770" cy="848616"/>
            </a:xfrm>
            <a:custGeom>
              <a:avLst/>
              <a:gdLst>
                <a:gd name="T0" fmla="*/ 459 w 459"/>
                <a:gd name="T1" fmla="*/ 0 h 397"/>
                <a:gd name="T2" fmla="*/ 230 w 459"/>
                <a:gd name="T3" fmla="*/ 397 h 397"/>
                <a:gd name="T4" fmla="*/ 0 w 459"/>
                <a:gd name="T5" fmla="*/ 0 h 397"/>
                <a:gd name="T6" fmla="*/ 459 w 459"/>
                <a:gd name="T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9" h="397">
                  <a:moveTo>
                    <a:pt x="459" y="0"/>
                  </a:moveTo>
                  <a:lnTo>
                    <a:pt x="230" y="397"/>
                  </a:lnTo>
                  <a:lnTo>
                    <a:pt x="0" y="0"/>
                  </a:lnTo>
                  <a:lnTo>
                    <a:pt x="459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18</a:t>
              </a:r>
            </a:p>
          </p:txBody>
        </p:sp>
      </p:grpSp>
      <p:sp>
        <p:nvSpPr>
          <p:cNvPr id="71" name="Freeform 13">
            <a:extLst>
              <a:ext uri="{FF2B5EF4-FFF2-40B4-BE49-F238E27FC236}">
                <a16:creationId xmlns:a16="http://schemas.microsoft.com/office/drawing/2014/main" id="{38ED43BB-3AB0-D746-928F-E32777EC91E3}"/>
              </a:ext>
            </a:extLst>
          </p:cNvPr>
          <p:cNvSpPr>
            <a:spLocks/>
          </p:cNvSpPr>
          <p:nvPr/>
        </p:nvSpPr>
        <p:spPr bwMode="auto">
          <a:xfrm>
            <a:off x="1410118" y="5040977"/>
            <a:ext cx="3606710" cy="275079"/>
          </a:xfrm>
          <a:prstGeom prst="roundRect">
            <a:avLst/>
          </a:prstGeom>
          <a:solidFill>
            <a:schemeClr val="accent2"/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Arial" panose="020B0604020202020204" pitchFamily="34" charset="0"/>
              </a:rPr>
              <a:t>Voice Contact Centre</a:t>
            </a:r>
          </a:p>
        </p:txBody>
      </p:sp>
      <p:sp>
        <p:nvSpPr>
          <p:cNvPr id="72" name="Freeform 13">
            <a:extLst>
              <a:ext uri="{FF2B5EF4-FFF2-40B4-BE49-F238E27FC236}">
                <a16:creationId xmlns:a16="http://schemas.microsoft.com/office/drawing/2014/main" id="{FD748DD4-8C6E-FF4F-BEAB-DD7862DAE54E}"/>
              </a:ext>
            </a:extLst>
          </p:cNvPr>
          <p:cNvSpPr>
            <a:spLocks/>
          </p:cNvSpPr>
          <p:nvPr/>
        </p:nvSpPr>
        <p:spPr bwMode="auto">
          <a:xfrm>
            <a:off x="5172075" y="5040977"/>
            <a:ext cx="3924300" cy="275079"/>
          </a:xfrm>
          <a:prstGeom prst="roundRect">
            <a:avLst/>
          </a:prstGeom>
          <a:solidFill>
            <a:schemeClr val="accent3"/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Arial" panose="020B0604020202020204" pitchFamily="34" charset="0"/>
              </a:rPr>
              <a:t>Multi-Channel</a:t>
            </a:r>
          </a:p>
        </p:txBody>
      </p:sp>
      <p:sp>
        <p:nvSpPr>
          <p:cNvPr id="73" name="Freeform 13">
            <a:extLst>
              <a:ext uri="{FF2B5EF4-FFF2-40B4-BE49-F238E27FC236}">
                <a16:creationId xmlns:a16="http://schemas.microsoft.com/office/drawing/2014/main" id="{636223DE-BE0E-D64F-8198-0DB584C68A5C}"/>
              </a:ext>
            </a:extLst>
          </p:cNvPr>
          <p:cNvSpPr>
            <a:spLocks/>
          </p:cNvSpPr>
          <p:nvPr/>
        </p:nvSpPr>
        <p:spPr bwMode="auto">
          <a:xfrm>
            <a:off x="9251622" y="5040977"/>
            <a:ext cx="1666945" cy="275079"/>
          </a:xfrm>
          <a:prstGeom prst="roundRect">
            <a:avLst/>
          </a:prstGeom>
          <a:solidFill>
            <a:schemeClr val="accent5"/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Arial" panose="020B0604020202020204" pitchFamily="34" charset="0"/>
              </a:rPr>
              <a:t>Omni Channel</a:t>
            </a:r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2419C6B9-0094-F14E-8B2D-163EC084C2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8717" y="1417405"/>
            <a:ext cx="1261452" cy="1331256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F25F8043-83FA-B642-8AD4-7E353D1CD3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9888" y="1417405"/>
            <a:ext cx="1266439" cy="1331256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A4D1A770-BEA6-6442-B78F-1ED4BDFBAC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057" y="1407621"/>
            <a:ext cx="1266439" cy="1326270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8A68856B-7925-AD43-AB1A-399136BBC78B}"/>
              </a:ext>
            </a:extLst>
          </p:cNvPr>
          <p:cNvGrpSpPr/>
          <p:nvPr/>
        </p:nvGrpSpPr>
        <p:grpSpPr>
          <a:xfrm>
            <a:off x="7612913" y="1400514"/>
            <a:ext cx="1386818" cy="1319813"/>
            <a:chOff x="4116882" y="5103282"/>
            <a:chExt cx="978136" cy="930877"/>
          </a:xfrm>
        </p:grpSpPr>
        <p:sp>
          <p:nvSpPr>
            <p:cNvPr id="36" name="Rounded Rectangle 35">
              <a:extLst>
                <a:ext uri="{FF2B5EF4-FFF2-40B4-BE49-F238E27FC236}">
                  <a16:creationId xmlns:a16="http://schemas.microsoft.com/office/drawing/2014/main" id="{927166E2-C1B0-1641-A456-9D4BBBDD120C}"/>
                </a:ext>
              </a:extLst>
            </p:cNvPr>
            <p:cNvSpPr/>
            <p:nvPr/>
          </p:nvSpPr>
          <p:spPr>
            <a:xfrm>
              <a:off x="4149034" y="5103282"/>
              <a:ext cx="893138" cy="930877"/>
            </a:xfrm>
            <a:prstGeom prst="roundRect">
              <a:avLst>
                <a:gd name="adj" fmla="val 4941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E3520146-E4D7-C947-AA5E-6A8D3BB1A508}"/>
                </a:ext>
              </a:extLst>
            </p:cNvPr>
            <p:cNvSpPr txBox="1"/>
            <p:nvPr/>
          </p:nvSpPr>
          <p:spPr>
            <a:xfrm>
              <a:off x="4116882" y="5443569"/>
              <a:ext cx="978136" cy="3256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Medium" panose="020B0603020102020204"/>
                  <a:ea typeface="+mn-ea"/>
                  <a:cs typeface="+mn-cs"/>
                </a:rPr>
                <a:t>Gartn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4444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2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2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9" presetClass="entr" presetSubtype="1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1" dur="100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 fmla="#ppt_w*sin(2.5*pi*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2" dur="100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3" fill="hold">
                          <p:stCondLst>
                            <p:cond delay="indefinite"/>
                          </p:stCondLst>
                          <p:childTnLst>
                            <p:par>
                              <p:cTn id="1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5" presetID="2" presetClass="entr" presetSubtype="4" repeatCount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500" fill="hold"/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2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2" dur="500" fill="hold"/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3" dur="500" fill="hold"/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25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9" fill="hold">
                          <p:stCondLst>
                            <p:cond delay="indefinite"/>
                          </p:stCondLst>
                          <p:childTnLst>
                            <p:par>
                              <p:cTn id="3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1" presetID="10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3" dur="1000"/>
                                            <p:tgtEl>
                                              <p:spTgt spid="8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4" fill="hold">
                          <p:stCondLst>
                            <p:cond delay="indefinite"/>
                          </p:stCondLst>
                          <p:childTnLst>
                            <p:par>
                              <p:cTn id="3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6" presetID="20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edge">
                                          <p:cBhvr>
                                            <p:cTn id="38" dur="2000"/>
                                            <p:tgtEl>
                                              <p:spTgt spid="8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9" fill="hold">
                          <p:stCondLst>
                            <p:cond delay="indefinite"/>
                          </p:stCondLst>
                          <p:childTnLst>
                            <p:par>
                              <p:cTn id="4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1" presetID="37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3" dur="10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4" dur="1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900" decel="100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6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1" grpId="0" animBg="1"/>
          <p:bldP spid="72" grpId="0" animBg="1"/>
          <p:bldP spid="7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9" presetClass="entr" presetSubtype="1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1" dur="100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 fmla="#ppt_w*sin(2.5*pi*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2" dur="100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3" fill="hold">
                          <p:stCondLst>
                            <p:cond delay="indefinite"/>
                          </p:stCondLst>
                          <p:childTnLst>
                            <p:par>
                              <p:cTn id="1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5" presetID="2" presetClass="entr" presetSubtype="4" repeatCount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500" fill="hold"/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2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2" dur="500" fill="hold"/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3" dur="500" fill="hold"/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25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9" fill="hold">
                          <p:stCondLst>
                            <p:cond delay="indefinite"/>
                          </p:stCondLst>
                          <p:childTnLst>
                            <p:par>
                              <p:cTn id="3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1" presetID="10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3" dur="1000"/>
                                            <p:tgtEl>
                                              <p:spTgt spid="8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4" fill="hold">
                          <p:stCondLst>
                            <p:cond delay="indefinite"/>
                          </p:stCondLst>
                          <p:childTnLst>
                            <p:par>
                              <p:cTn id="3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6" presetID="20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edge">
                                          <p:cBhvr>
                                            <p:cTn id="38" dur="2000"/>
                                            <p:tgtEl>
                                              <p:spTgt spid="8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9" fill="hold">
                          <p:stCondLst>
                            <p:cond delay="indefinite"/>
                          </p:stCondLst>
                          <p:childTnLst>
                            <p:par>
                              <p:cTn id="4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1" presetID="37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3" dur="10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4" dur="1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900" decel="100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6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1" grpId="0" animBg="1"/>
          <p:bldP spid="72" grpId="0" animBg="1"/>
          <p:bldP spid="73" grpId="0" animBg="1"/>
        </p:bldLst>
      </p:timing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8313F9-4B70-430D-9CC2-E6A7AC69C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</p:spPr>
        <p:txBody>
          <a:bodyPr/>
          <a:lstStyle/>
          <a:p>
            <a:r>
              <a:rPr lang="en-GB"/>
              <a:t>Key Mileston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6249C1-B145-425C-905D-ACA6532A6832}"/>
              </a:ext>
            </a:extLst>
          </p:cNvPr>
          <p:cNvCxnSpPr>
            <a:cxnSpLocks/>
            <a:stCxn id="21" idx="0"/>
            <a:endCxn id="20" idx="2"/>
          </p:cNvCxnSpPr>
          <p:nvPr/>
        </p:nvCxnSpPr>
        <p:spPr>
          <a:xfrm flipH="1" flipV="1">
            <a:off x="2516301" y="2068403"/>
            <a:ext cx="268" cy="1693594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91DF4DC-87CA-4974-A0FE-D17138DADC9A}"/>
              </a:ext>
            </a:extLst>
          </p:cNvPr>
          <p:cNvCxnSpPr>
            <a:cxnSpLocks/>
          </p:cNvCxnSpPr>
          <p:nvPr/>
        </p:nvCxnSpPr>
        <p:spPr>
          <a:xfrm flipH="1" flipV="1">
            <a:off x="5799199" y="1623374"/>
            <a:ext cx="11714" cy="882214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E304106-6076-44F7-A32D-752CC776BD42}"/>
              </a:ext>
            </a:extLst>
          </p:cNvPr>
          <p:cNvCxnSpPr>
            <a:cxnSpLocks/>
            <a:stCxn id="23" idx="0"/>
          </p:cNvCxnSpPr>
          <p:nvPr/>
        </p:nvCxnSpPr>
        <p:spPr>
          <a:xfrm flipH="1" flipV="1">
            <a:off x="6349073" y="3061846"/>
            <a:ext cx="1600" cy="30004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754DB9-2069-48A3-A416-1D6A133CEB2F}"/>
              </a:ext>
            </a:extLst>
          </p:cNvPr>
          <p:cNvCxnSpPr>
            <a:cxnSpLocks/>
            <a:stCxn id="22" idx="0"/>
          </p:cNvCxnSpPr>
          <p:nvPr/>
        </p:nvCxnSpPr>
        <p:spPr>
          <a:xfrm flipH="1" flipV="1">
            <a:off x="4751920" y="2803073"/>
            <a:ext cx="148" cy="958924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48E27D7-5A1E-4C9B-93B5-6CDADB743A44}"/>
              </a:ext>
            </a:extLst>
          </p:cNvPr>
          <p:cNvGrpSpPr/>
          <p:nvPr/>
        </p:nvGrpSpPr>
        <p:grpSpPr>
          <a:xfrm>
            <a:off x="1259792" y="2471445"/>
            <a:ext cx="1073953" cy="591142"/>
            <a:chOff x="737388" y="3210095"/>
            <a:chExt cx="1073953" cy="591142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E44BA8D7-608B-4E7A-ACF0-FE72097F53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388" y="3210095"/>
              <a:ext cx="678774" cy="591142"/>
            </a:xfrm>
            <a:custGeom>
              <a:avLst/>
              <a:gdLst>
                <a:gd name="T0" fmla="*/ 0 w 457"/>
                <a:gd name="T1" fmla="*/ 398 h 398"/>
                <a:gd name="T2" fmla="*/ 228 w 457"/>
                <a:gd name="T3" fmla="*/ 0 h 398"/>
                <a:gd name="T4" fmla="*/ 457 w 457"/>
                <a:gd name="T5" fmla="*/ 398 h 398"/>
                <a:gd name="T6" fmla="*/ 0 w 457"/>
                <a:gd name="T7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7" h="398">
                  <a:moveTo>
                    <a:pt x="0" y="398"/>
                  </a:moveTo>
                  <a:lnTo>
                    <a:pt x="228" y="0"/>
                  </a:lnTo>
                  <a:lnTo>
                    <a:pt x="457" y="398"/>
                  </a:lnTo>
                  <a:lnTo>
                    <a:pt x="0" y="398"/>
                  </a:ln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1999</a:t>
              </a: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3939695B-86E4-4E5B-BEF3-8E0683FA6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597" y="3210838"/>
              <a:ext cx="681744" cy="589657"/>
            </a:xfrm>
            <a:custGeom>
              <a:avLst/>
              <a:gdLst>
                <a:gd name="T0" fmla="*/ 459 w 459"/>
                <a:gd name="T1" fmla="*/ 0 h 397"/>
                <a:gd name="T2" fmla="*/ 230 w 459"/>
                <a:gd name="T3" fmla="*/ 397 h 397"/>
                <a:gd name="T4" fmla="*/ 0 w 459"/>
                <a:gd name="T5" fmla="*/ 0 h 397"/>
                <a:gd name="T6" fmla="*/ 459 w 459"/>
                <a:gd name="T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9" h="397">
                  <a:moveTo>
                    <a:pt x="459" y="0"/>
                  </a:moveTo>
                  <a:lnTo>
                    <a:pt x="230" y="397"/>
                  </a:lnTo>
                  <a:lnTo>
                    <a:pt x="0" y="0"/>
                  </a:lnTo>
                  <a:lnTo>
                    <a:pt x="459" y="0"/>
                  </a:ln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00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A0C69C42-5605-884C-8B15-25D05944CFC3}"/>
              </a:ext>
            </a:extLst>
          </p:cNvPr>
          <p:cNvGrpSpPr/>
          <p:nvPr/>
        </p:nvGrpSpPr>
        <p:grpSpPr>
          <a:xfrm>
            <a:off x="409301" y="1017147"/>
            <a:ext cx="1401239" cy="2044698"/>
            <a:chOff x="317502" y="1278049"/>
            <a:chExt cx="1401239" cy="204469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2C09480-5609-497E-AE00-96DB7D4DE836}"/>
                </a:ext>
              </a:extLst>
            </p:cNvPr>
            <p:cNvSpPr/>
            <p:nvPr/>
          </p:nvSpPr>
          <p:spPr>
            <a:xfrm>
              <a:off x="317502" y="1278049"/>
              <a:ext cx="1401239" cy="1046440"/>
            </a:xfrm>
            <a:prstGeom prst="rect">
              <a:avLst/>
            </a:prstGeom>
          </p:spPr>
          <p:txBody>
            <a:bodyPr wrap="square" lIns="45720" tIns="45720" rIns="45720" bIns="4572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EB1562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1998</a:t>
              </a:r>
            </a:p>
            <a:p>
              <a:pPr marL="0" marR="0" lvl="0" indent="0" algn="ctr" defTabSz="914400" rtl="0" eaLnBrk="1" fontAlgn="t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charset="0"/>
                  <a:ea typeface="+mn-ea"/>
                  <a:cs typeface="+mn-cs"/>
                </a:rPr>
                <a:t>Puzzel</a:t>
              </a: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charset="0"/>
                  <a:ea typeface="+mn-ea"/>
                  <a:cs typeface="+mn-cs"/>
                </a:rPr>
                <a:t> established as </a:t>
              </a:r>
              <a:r>
                <a:rPr kumimoji="0" lang="en-GB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charset="0"/>
                  <a:ea typeface="+mn-ea"/>
                  <a:cs typeface="+mn-cs"/>
                </a:rPr>
                <a:t>Consorte</a:t>
              </a: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charset="0"/>
                  <a:ea typeface="+mn-ea"/>
                  <a:cs typeface="+mn-cs"/>
                </a:rPr>
                <a:t> Group offering cloud based communication solution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E33C55B-D494-47D5-9614-5A45FB42E8A1}"/>
                </a:ext>
              </a:extLst>
            </p:cNvPr>
            <p:cNvCxnSpPr>
              <a:cxnSpLocks/>
              <a:endCxn id="10" idx="2"/>
            </p:cNvCxnSpPr>
            <p:nvPr/>
          </p:nvCxnSpPr>
          <p:spPr>
            <a:xfrm flipV="1">
              <a:off x="1013247" y="2324489"/>
              <a:ext cx="4875" cy="56971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2A5D7EB4-64A1-4F98-9FCA-D785ACD5C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032" y="2733090"/>
              <a:ext cx="678774" cy="589657"/>
            </a:xfrm>
            <a:custGeom>
              <a:avLst/>
              <a:gdLst>
                <a:gd name="T0" fmla="*/ 457 w 457"/>
                <a:gd name="T1" fmla="*/ 0 h 397"/>
                <a:gd name="T2" fmla="*/ 229 w 457"/>
                <a:gd name="T3" fmla="*/ 397 h 397"/>
                <a:gd name="T4" fmla="*/ 0 w 457"/>
                <a:gd name="T5" fmla="*/ 0 h 397"/>
                <a:gd name="T6" fmla="*/ 457 w 457"/>
                <a:gd name="T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7" h="397">
                  <a:moveTo>
                    <a:pt x="457" y="0"/>
                  </a:moveTo>
                  <a:lnTo>
                    <a:pt x="229" y="397"/>
                  </a:lnTo>
                  <a:lnTo>
                    <a:pt x="0" y="0"/>
                  </a:lnTo>
                  <a:lnTo>
                    <a:pt x="457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1998</a:t>
              </a:r>
            </a:p>
          </p:txBody>
        </p:sp>
      </p:grpSp>
      <p:sp>
        <p:nvSpPr>
          <p:cNvPr id="16" name="Freeform 13">
            <a:extLst>
              <a:ext uri="{FF2B5EF4-FFF2-40B4-BE49-F238E27FC236}">
                <a16:creationId xmlns:a16="http://schemas.microsoft.com/office/drawing/2014/main" id="{38AC186A-EF9D-47EE-A8AE-2C0538B5B7C5}"/>
              </a:ext>
            </a:extLst>
          </p:cNvPr>
          <p:cNvSpPr>
            <a:spLocks/>
          </p:cNvSpPr>
          <p:nvPr/>
        </p:nvSpPr>
        <p:spPr bwMode="auto">
          <a:xfrm>
            <a:off x="4408043" y="2472188"/>
            <a:ext cx="683229" cy="589657"/>
          </a:xfrm>
          <a:custGeom>
            <a:avLst/>
            <a:gdLst>
              <a:gd name="T0" fmla="*/ 460 w 460"/>
              <a:gd name="T1" fmla="*/ 0 h 397"/>
              <a:gd name="T2" fmla="*/ 230 w 460"/>
              <a:gd name="T3" fmla="*/ 397 h 397"/>
              <a:gd name="T4" fmla="*/ 0 w 460"/>
              <a:gd name="T5" fmla="*/ 0 h 397"/>
              <a:gd name="T6" fmla="*/ 460 w 460"/>
              <a:gd name="T7" fmla="*/ 0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60" h="397">
                <a:moveTo>
                  <a:pt x="460" y="0"/>
                </a:moveTo>
                <a:lnTo>
                  <a:pt x="230" y="397"/>
                </a:lnTo>
                <a:lnTo>
                  <a:pt x="0" y="0"/>
                </a:lnTo>
                <a:lnTo>
                  <a:pt x="460" y="0"/>
                </a:lnTo>
                <a:close/>
              </a:path>
            </a:pathLst>
          </a:custGeom>
          <a:solidFill>
            <a:schemeClr val="accent3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06</a:t>
            </a:r>
          </a:p>
        </p:txBody>
      </p:sp>
      <p:sp>
        <p:nvSpPr>
          <p:cNvPr id="17" name="Freeform 17">
            <a:extLst>
              <a:ext uri="{FF2B5EF4-FFF2-40B4-BE49-F238E27FC236}">
                <a16:creationId xmlns:a16="http://schemas.microsoft.com/office/drawing/2014/main" id="{ABD0B63F-A91D-4EE9-980D-003BD57DF928}"/>
              </a:ext>
            </a:extLst>
          </p:cNvPr>
          <p:cNvSpPr>
            <a:spLocks/>
          </p:cNvSpPr>
          <p:nvPr/>
        </p:nvSpPr>
        <p:spPr bwMode="auto">
          <a:xfrm>
            <a:off x="6552340" y="2472188"/>
            <a:ext cx="678774" cy="589657"/>
          </a:xfrm>
          <a:custGeom>
            <a:avLst/>
            <a:gdLst>
              <a:gd name="T0" fmla="*/ 457 w 457"/>
              <a:gd name="T1" fmla="*/ 0 h 397"/>
              <a:gd name="T2" fmla="*/ 229 w 457"/>
              <a:gd name="T3" fmla="*/ 397 h 397"/>
              <a:gd name="T4" fmla="*/ 0 w 457"/>
              <a:gd name="T5" fmla="*/ 0 h 397"/>
              <a:gd name="T6" fmla="*/ 457 w 457"/>
              <a:gd name="T7" fmla="*/ 0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7" h="397">
                <a:moveTo>
                  <a:pt x="457" y="0"/>
                </a:moveTo>
                <a:lnTo>
                  <a:pt x="229" y="397"/>
                </a:lnTo>
                <a:lnTo>
                  <a:pt x="0" y="0"/>
                </a:lnTo>
                <a:lnTo>
                  <a:pt x="457" y="0"/>
                </a:lnTo>
                <a:close/>
              </a:path>
            </a:pathLst>
          </a:custGeom>
          <a:solidFill>
            <a:schemeClr val="accent6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0</a:t>
            </a:r>
          </a:p>
        </p:txBody>
      </p:sp>
      <p:sp>
        <p:nvSpPr>
          <p:cNvPr id="18" name="Freeform 18">
            <a:extLst>
              <a:ext uri="{FF2B5EF4-FFF2-40B4-BE49-F238E27FC236}">
                <a16:creationId xmlns:a16="http://schemas.microsoft.com/office/drawing/2014/main" id="{F661899B-2388-4A9A-848B-8040F1CAC235}"/>
              </a:ext>
            </a:extLst>
          </p:cNvPr>
          <p:cNvSpPr>
            <a:spLocks/>
          </p:cNvSpPr>
          <p:nvPr/>
        </p:nvSpPr>
        <p:spPr bwMode="auto">
          <a:xfrm>
            <a:off x="6010988" y="2471445"/>
            <a:ext cx="683229" cy="591142"/>
          </a:xfrm>
          <a:custGeom>
            <a:avLst/>
            <a:gdLst>
              <a:gd name="T0" fmla="*/ 0 w 460"/>
              <a:gd name="T1" fmla="*/ 398 h 398"/>
              <a:gd name="T2" fmla="*/ 230 w 460"/>
              <a:gd name="T3" fmla="*/ 0 h 398"/>
              <a:gd name="T4" fmla="*/ 460 w 460"/>
              <a:gd name="T5" fmla="*/ 398 h 398"/>
              <a:gd name="T6" fmla="*/ 0 w 460"/>
              <a:gd name="T7" fmla="*/ 398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60" h="398">
                <a:moveTo>
                  <a:pt x="0" y="398"/>
                </a:moveTo>
                <a:lnTo>
                  <a:pt x="230" y="0"/>
                </a:lnTo>
                <a:lnTo>
                  <a:pt x="460" y="398"/>
                </a:lnTo>
                <a:lnTo>
                  <a:pt x="0" y="398"/>
                </a:ln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09</a:t>
            </a:r>
          </a:p>
        </p:txBody>
      </p:sp>
      <p:sp>
        <p:nvSpPr>
          <p:cNvPr id="19" name="Freeform 19">
            <a:extLst>
              <a:ext uri="{FF2B5EF4-FFF2-40B4-BE49-F238E27FC236}">
                <a16:creationId xmlns:a16="http://schemas.microsoft.com/office/drawing/2014/main" id="{0C175F5B-C4C1-4FF7-918E-4D8CD4C830A1}"/>
              </a:ext>
            </a:extLst>
          </p:cNvPr>
          <p:cNvSpPr>
            <a:spLocks/>
          </p:cNvSpPr>
          <p:nvPr/>
        </p:nvSpPr>
        <p:spPr bwMode="auto">
          <a:xfrm>
            <a:off x="7076242" y="2471445"/>
            <a:ext cx="678774" cy="591142"/>
          </a:xfrm>
          <a:custGeom>
            <a:avLst/>
            <a:gdLst>
              <a:gd name="T0" fmla="*/ 0 w 457"/>
              <a:gd name="T1" fmla="*/ 398 h 398"/>
              <a:gd name="T2" fmla="*/ 227 w 457"/>
              <a:gd name="T3" fmla="*/ 0 h 398"/>
              <a:gd name="T4" fmla="*/ 457 w 457"/>
              <a:gd name="T5" fmla="*/ 398 h 398"/>
              <a:gd name="T6" fmla="*/ 0 w 457"/>
              <a:gd name="T7" fmla="*/ 398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7" h="398">
                <a:moveTo>
                  <a:pt x="0" y="398"/>
                </a:moveTo>
                <a:lnTo>
                  <a:pt x="227" y="0"/>
                </a:lnTo>
                <a:lnTo>
                  <a:pt x="457" y="398"/>
                </a:lnTo>
                <a:lnTo>
                  <a:pt x="0" y="398"/>
                </a:lnTo>
                <a:close/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4BEB49C-F96A-4528-92C5-6714DCAE49F9}"/>
              </a:ext>
            </a:extLst>
          </p:cNvPr>
          <p:cNvSpPr/>
          <p:nvPr/>
        </p:nvSpPr>
        <p:spPr>
          <a:xfrm>
            <a:off x="1966473" y="1360517"/>
            <a:ext cx="1099656" cy="707886"/>
          </a:xfrm>
          <a:prstGeom prst="rect">
            <a:avLst/>
          </a:prstGeom>
        </p:spPr>
        <p:txBody>
          <a:bodyPr wrap="square" lIns="45720" tIns="45720" rIns="4572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5872F0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01</a:t>
            </a:r>
          </a:p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Listed on the Oslo Stock Exchange (OSE)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4EBB8A2-1073-4DB6-87DA-A979550EF86E}"/>
              </a:ext>
            </a:extLst>
          </p:cNvPr>
          <p:cNvSpPr/>
          <p:nvPr/>
        </p:nvSpPr>
        <p:spPr>
          <a:xfrm>
            <a:off x="1858287" y="3761997"/>
            <a:ext cx="1316563" cy="553998"/>
          </a:xfrm>
          <a:prstGeom prst="rect">
            <a:avLst/>
          </a:prstGeom>
        </p:spPr>
        <p:txBody>
          <a:bodyPr wrap="square" lIns="45720" tIns="45720" rIns="4572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5872F0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01</a:t>
            </a:r>
          </a:p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Expanded business across Scandinavi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76342DA-6C09-428A-9282-8A27AFE3392A}"/>
              </a:ext>
            </a:extLst>
          </p:cNvPr>
          <p:cNvSpPr/>
          <p:nvPr/>
        </p:nvSpPr>
        <p:spPr>
          <a:xfrm>
            <a:off x="4096012" y="3761997"/>
            <a:ext cx="1312111" cy="553998"/>
          </a:xfrm>
          <a:prstGeom prst="rect">
            <a:avLst/>
          </a:prstGeom>
        </p:spPr>
        <p:txBody>
          <a:bodyPr wrap="square" lIns="45720" tIns="45720" rIns="4572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34C0BC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06</a:t>
            </a:r>
          </a:p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Began expansion outside of Scandinavia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749F621-8836-474A-80B0-36E66729B8DE}"/>
              </a:ext>
            </a:extLst>
          </p:cNvPr>
          <p:cNvSpPr/>
          <p:nvPr/>
        </p:nvSpPr>
        <p:spPr>
          <a:xfrm>
            <a:off x="5649777" y="3361886"/>
            <a:ext cx="1401791" cy="1015663"/>
          </a:xfrm>
          <a:prstGeom prst="rect">
            <a:avLst/>
          </a:prstGeom>
        </p:spPr>
        <p:txBody>
          <a:bodyPr wrap="square" lIns="45720" tIns="45720" rIns="4572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41363" algn="l"/>
              </a:tabLst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B442D6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09</a:t>
            </a:r>
          </a:p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Merged with Carrot Communications competing Norwegian Cloud based Contact Centre (</a:t>
            </a:r>
            <a:r>
              <a:rPr kumimoji="0" lang="en-GB" sz="10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CCaaS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) Vendo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02CFE92-9ECA-4AC5-8608-D75015E8A73C}"/>
              </a:ext>
            </a:extLst>
          </p:cNvPr>
          <p:cNvSpPr/>
          <p:nvPr/>
        </p:nvSpPr>
        <p:spPr>
          <a:xfrm>
            <a:off x="5136879" y="1069376"/>
            <a:ext cx="1324639" cy="553998"/>
          </a:xfrm>
          <a:prstGeom prst="rect">
            <a:avLst/>
          </a:prstGeom>
        </p:spPr>
        <p:txBody>
          <a:bodyPr wrap="square" lIns="45720" tIns="45720" rIns="4572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08</a:t>
            </a:r>
          </a:p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Delisted and acquired by </a:t>
            </a:r>
            <a:r>
              <a:rPr kumimoji="0" lang="en-GB" sz="10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Norvestor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 Equity 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3EF3EA4-029C-401B-9FD3-E8CE74AF4D98}"/>
              </a:ext>
            </a:extLst>
          </p:cNvPr>
          <p:cNvGrpSpPr/>
          <p:nvPr/>
        </p:nvGrpSpPr>
        <p:grpSpPr>
          <a:xfrm>
            <a:off x="2684519" y="2471445"/>
            <a:ext cx="1882335" cy="591142"/>
            <a:chOff x="2153604" y="3210095"/>
            <a:chExt cx="1882335" cy="591142"/>
          </a:xfrm>
        </p:grpSpPr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B3B8F1D-F2CD-4A2B-A875-CDF6F6275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165" y="3210095"/>
              <a:ext cx="678774" cy="591142"/>
            </a:xfrm>
            <a:custGeom>
              <a:avLst/>
              <a:gdLst>
                <a:gd name="T0" fmla="*/ 0 w 457"/>
                <a:gd name="T1" fmla="*/ 398 h 398"/>
                <a:gd name="T2" fmla="*/ 228 w 457"/>
                <a:gd name="T3" fmla="*/ 0 h 398"/>
                <a:gd name="T4" fmla="*/ 457 w 457"/>
                <a:gd name="T5" fmla="*/ 398 h 398"/>
                <a:gd name="T6" fmla="*/ 0 w 457"/>
                <a:gd name="T7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7" h="398">
                  <a:moveTo>
                    <a:pt x="0" y="398"/>
                  </a:moveTo>
                  <a:lnTo>
                    <a:pt x="228" y="0"/>
                  </a:lnTo>
                  <a:lnTo>
                    <a:pt x="457" y="398"/>
                  </a:lnTo>
                  <a:lnTo>
                    <a:pt x="0" y="398"/>
                  </a:ln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05</a:t>
              </a: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826817ED-80AA-454B-8F0F-4CF90C3DD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3604" y="3210838"/>
              <a:ext cx="681744" cy="589657"/>
            </a:xfrm>
            <a:custGeom>
              <a:avLst/>
              <a:gdLst>
                <a:gd name="T0" fmla="*/ 459 w 459"/>
                <a:gd name="T1" fmla="*/ 0 h 397"/>
                <a:gd name="T2" fmla="*/ 230 w 459"/>
                <a:gd name="T3" fmla="*/ 397 h 397"/>
                <a:gd name="T4" fmla="*/ 0 w 459"/>
                <a:gd name="T5" fmla="*/ 0 h 397"/>
                <a:gd name="T6" fmla="*/ 459 w 459"/>
                <a:gd name="T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9" h="397">
                  <a:moveTo>
                    <a:pt x="459" y="0"/>
                  </a:moveTo>
                  <a:lnTo>
                    <a:pt x="230" y="397"/>
                  </a:lnTo>
                  <a:lnTo>
                    <a:pt x="0" y="0"/>
                  </a:lnTo>
                  <a:lnTo>
                    <a:pt x="459" y="0"/>
                  </a:ln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02</a:t>
              </a: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CE275B7F-3549-42C9-8C9F-2382AE3EB8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5781" y="3210095"/>
              <a:ext cx="678774" cy="591142"/>
            </a:xfrm>
            <a:custGeom>
              <a:avLst/>
              <a:gdLst>
                <a:gd name="T0" fmla="*/ 0 w 457"/>
                <a:gd name="T1" fmla="*/ 398 h 398"/>
                <a:gd name="T2" fmla="*/ 228 w 457"/>
                <a:gd name="T3" fmla="*/ 0 h 398"/>
                <a:gd name="T4" fmla="*/ 457 w 457"/>
                <a:gd name="T5" fmla="*/ 398 h 398"/>
                <a:gd name="T6" fmla="*/ 0 w 457"/>
                <a:gd name="T7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7" h="398">
                  <a:moveTo>
                    <a:pt x="0" y="398"/>
                  </a:moveTo>
                  <a:lnTo>
                    <a:pt x="228" y="0"/>
                  </a:lnTo>
                  <a:lnTo>
                    <a:pt x="457" y="398"/>
                  </a:lnTo>
                  <a:lnTo>
                    <a:pt x="0" y="398"/>
                  </a:ln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03</a:t>
              </a:r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2A70945A-6903-4D97-A24C-D8D71B153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988" y="3210838"/>
              <a:ext cx="681744" cy="589657"/>
            </a:xfrm>
            <a:custGeom>
              <a:avLst/>
              <a:gdLst>
                <a:gd name="T0" fmla="*/ 459 w 459"/>
                <a:gd name="T1" fmla="*/ 0 h 397"/>
                <a:gd name="T2" fmla="*/ 230 w 459"/>
                <a:gd name="T3" fmla="*/ 397 h 397"/>
                <a:gd name="T4" fmla="*/ 0 w 459"/>
                <a:gd name="T5" fmla="*/ 0 h 397"/>
                <a:gd name="T6" fmla="*/ 459 w 459"/>
                <a:gd name="T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9" h="397">
                  <a:moveTo>
                    <a:pt x="459" y="0"/>
                  </a:moveTo>
                  <a:lnTo>
                    <a:pt x="230" y="397"/>
                  </a:lnTo>
                  <a:lnTo>
                    <a:pt x="0" y="0"/>
                  </a:lnTo>
                  <a:lnTo>
                    <a:pt x="459" y="0"/>
                  </a:ln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04</a:t>
              </a:r>
            </a:p>
          </p:txBody>
        </p:sp>
      </p:grpSp>
      <p:sp>
        <p:nvSpPr>
          <p:cNvPr id="33" name="Freeform 6">
            <a:extLst>
              <a:ext uri="{FF2B5EF4-FFF2-40B4-BE49-F238E27FC236}">
                <a16:creationId xmlns:a16="http://schemas.microsoft.com/office/drawing/2014/main" id="{ECFD71FE-F1E2-4524-8F17-E5159444568A}"/>
              </a:ext>
            </a:extLst>
          </p:cNvPr>
          <p:cNvSpPr>
            <a:spLocks/>
          </p:cNvSpPr>
          <p:nvPr/>
        </p:nvSpPr>
        <p:spPr bwMode="auto">
          <a:xfrm>
            <a:off x="4944338" y="2471445"/>
            <a:ext cx="678774" cy="591142"/>
          </a:xfrm>
          <a:custGeom>
            <a:avLst/>
            <a:gdLst>
              <a:gd name="T0" fmla="*/ 0 w 457"/>
              <a:gd name="T1" fmla="*/ 398 h 398"/>
              <a:gd name="T2" fmla="*/ 228 w 457"/>
              <a:gd name="T3" fmla="*/ 0 h 398"/>
              <a:gd name="T4" fmla="*/ 457 w 457"/>
              <a:gd name="T5" fmla="*/ 398 h 398"/>
              <a:gd name="T6" fmla="*/ 0 w 457"/>
              <a:gd name="T7" fmla="*/ 398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7" h="398">
                <a:moveTo>
                  <a:pt x="0" y="398"/>
                </a:moveTo>
                <a:lnTo>
                  <a:pt x="228" y="0"/>
                </a:lnTo>
                <a:lnTo>
                  <a:pt x="457" y="398"/>
                </a:lnTo>
                <a:lnTo>
                  <a:pt x="0" y="398"/>
                </a:lnTo>
                <a:close/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07</a:t>
            </a:r>
          </a:p>
        </p:txBody>
      </p:sp>
      <p:sp>
        <p:nvSpPr>
          <p:cNvPr id="34" name="Freeform 7">
            <a:extLst>
              <a:ext uri="{FF2B5EF4-FFF2-40B4-BE49-F238E27FC236}">
                <a16:creationId xmlns:a16="http://schemas.microsoft.com/office/drawing/2014/main" id="{35806615-8F5B-4AF4-8C3C-CDEB18E2B8E1}"/>
              </a:ext>
            </a:extLst>
          </p:cNvPr>
          <p:cNvSpPr>
            <a:spLocks/>
          </p:cNvSpPr>
          <p:nvPr/>
        </p:nvSpPr>
        <p:spPr bwMode="auto">
          <a:xfrm>
            <a:off x="5476178" y="2472188"/>
            <a:ext cx="681744" cy="589657"/>
          </a:xfrm>
          <a:custGeom>
            <a:avLst/>
            <a:gdLst>
              <a:gd name="T0" fmla="*/ 459 w 459"/>
              <a:gd name="T1" fmla="*/ 0 h 397"/>
              <a:gd name="T2" fmla="*/ 230 w 459"/>
              <a:gd name="T3" fmla="*/ 397 h 397"/>
              <a:gd name="T4" fmla="*/ 0 w 459"/>
              <a:gd name="T5" fmla="*/ 0 h 397"/>
              <a:gd name="T6" fmla="*/ 459 w 459"/>
              <a:gd name="T7" fmla="*/ 0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9" h="397">
                <a:moveTo>
                  <a:pt x="459" y="0"/>
                </a:moveTo>
                <a:lnTo>
                  <a:pt x="230" y="397"/>
                </a:lnTo>
                <a:lnTo>
                  <a:pt x="0" y="0"/>
                </a:lnTo>
                <a:lnTo>
                  <a:pt x="459" y="0"/>
                </a:lnTo>
                <a:close/>
              </a:path>
            </a:pathLst>
          </a:custGeom>
          <a:solidFill>
            <a:schemeClr val="accent4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08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63A235E-5720-4C70-8FFC-CC4D526C5DC5}"/>
              </a:ext>
            </a:extLst>
          </p:cNvPr>
          <p:cNvGrpSpPr/>
          <p:nvPr/>
        </p:nvGrpSpPr>
        <p:grpSpPr>
          <a:xfrm>
            <a:off x="7565248" y="2471445"/>
            <a:ext cx="1140031" cy="591142"/>
            <a:chOff x="6774190" y="3210095"/>
            <a:chExt cx="1140031" cy="591142"/>
          </a:xfrm>
        </p:grpSpPr>
        <p:sp>
          <p:nvSpPr>
            <p:cNvPr id="36" name="Freeform 20">
              <a:extLst>
                <a:ext uri="{FF2B5EF4-FFF2-40B4-BE49-F238E27FC236}">
                  <a16:creationId xmlns:a16="http://schemas.microsoft.com/office/drawing/2014/main" id="{A3389497-0C5F-40C2-A350-E6E3EA84D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4190" y="3210838"/>
              <a:ext cx="681744" cy="589657"/>
            </a:xfrm>
            <a:custGeom>
              <a:avLst/>
              <a:gdLst>
                <a:gd name="T0" fmla="*/ 459 w 459"/>
                <a:gd name="T1" fmla="*/ 0 h 397"/>
                <a:gd name="T2" fmla="*/ 229 w 459"/>
                <a:gd name="T3" fmla="*/ 397 h 397"/>
                <a:gd name="T4" fmla="*/ 0 w 459"/>
                <a:gd name="T5" fmla="*/ 0 h 397"/>
                <a:gd name="T6" fmla="*/ 459 w 459"/>
                <a:gd name="T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9" h="397">
                  <a:moveTo>
                    <a:pt x="459" y="0"/>
                  </a:moveTo>
                  <a:lnTo>
                    <a:pt x="229" y="397"/>
                  </a:lnTo>
                  <a:lnTo>
                    <a:pt x="0" y="0"/>
                  </a:lnTo>
                  <a:lnTo>
                    <a:pt x="459" y="0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12</a:t>
              </a:r>
              <a:endPara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E1607DFD-CC72-4859-8E68-9B2D9850F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5447" y="3210095"/>
              <a:ext cx="678774" cy="591142"/>
            </a:xfrm>
            <a:custGeom>
              <a:avLst/>
              <a:gdLst>
                <a:gd name="T0" fmla="*/ 0 w 457"/>
                <a:gd name="T1" fmla="*/ 398 h 398"/>
                <a:gd name="T2" fmla="*/ 228 w 457"/>
                <a:gd name="T3" fmla="*/ 0 h 398"/>
                <a:gd name="T4" fmla="*/ 457 w 457"/>
                <a:gd name="T5" fmla="*/ 398 h 398"/>
                <a:gd name="T6" fmla="*/ 0 w 457"/>
                <a:gd name="T7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7" h="398">
                  <a:moveTo>
                    <a:pt x="0" y="398"/>
                  </a:moveTo>
                  <a:lnTo>
                    <a:pt x="228" y="0"/>
                  </a:lnTo>
                  <a:lnTo>
                    <a:pt x="457" y="398"/>
                  </a:lnTo>
                  <a:lnTo>
                    <a:pt x="0" y="398"/>
                  </a:ln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2013</a:t>
              </a:r>
              <a:endPara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8" name="Freeform 7">
            <a:extLst>
              <a:ext uri="{FF2B5EF4-FFF2-40B4-BE49-F238E27FC236}">
                <a16:creationId xmlns:a16="http://schemas.microsoft.com/office/drawing/2014/main" id="{C9B264D8-4E87-45CD-80F3-AB78E030CDC4}"/>
              </a:ext>
            </a:extLst>
          </p:cNvPr>
          <p:cNvSpPr>
            <a:spLocks/>
          </p:cNvSpPr>
          <p:nvPr/>
        </p:nvSpPr>
        <p:spPr bwMode="auto">
          <a:xfrm>
            <a:off x="8447860" y="2472188"/>
            <a:ext cx="681744" cy="589657"/>
          </a:xfrm>
          <a:custGeom>
            <a:avLst/>
            <a:gdLst>
              <a:gd name="T0" fmla="*/ 459 w 459"/>
              <a:gd name="T1" fmla="*/ 0 h 397"/>
              <a:gd name="T2" fmla="*/ 230 w 459"/>
              <a:gd name="T3" fmla="*/ 397 h 397"/>
              <a:gd name="T4" fmla="*/ 0 w 459"/>
              <a:gd name="T5" fmla="*/ 0 h 397"/>
              <a:gd name="T6" fmla="*/ 459 w 459"/>
              <a:gd name="T7" fmla="*/ 0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9" h="397">
                <a:moveTo>
                  <a:pt x="459" y="0"/>
                </a:moveTo>
                <a:lnTo>
                  <a:pt x="230" y="397"/>
                </a:lnTo>
                <a:lnTo>
                  <a:pt x="0" y="0"/>
                </a:lnTo>
                <a:lnTo>
                  <a:pt x="459" y="0"/>
                </a:lnTo>
                <a:close/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4</a:t>
            </a:r>
          </a:p>
        </p:txBody>
      </p:sp>
      <p:sp>
        <p:nvSpPr>
          <p:cNvPr id="39" name="Freeform 18">
            <a:extLst>
              <a:ext uri="{FF2B5EF4-FFF2-40B4-BE49-F238E27FC236}">
                <a16:creationId xmlns:a16="http://schemas.microsoft.com/office/drawing/2014/main" id="{66FD1525-E08D-47C7-BA5F-941722A67130}"/>
              </a:ext>
            </a:extLst>
          </p:cNvPr>
          <p:cNvSpPr>
            <a:spLocks/>
          </p:cNvSpPr>
          <p:nvPr/>
        </p:nvSpPr>
        <p:spPr bwMode="auto">
          <a:xfrm>
            <a:off x="2174953" y="2471445"/>
            <a:ext cx="683229" cy="591142"/>
          </a:xfrm>
          <a:custGeom>
            <a:avLst/>
            <a:gdLst>
              <a:gd name="T0" fmla="*/ 0 w 460"/>
              <a:gd name="T1" fmla="*/ 398 h 398"/>
              <a:gd name="T2" fmla="*/ 230 w 460"/>
              <a:gd name="T3" fmla="*/ 0 h 398"/>
              <a:gd name="T4" fmla="*/ 460 w 460"/>
              <a:gd name="T5" fmla="*/ 398 h 398"/>
              <a:gd name="T6" fmla="*/ 0 w 460"/>
              <a:gd name="T7" fmla="*/ 398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60" h="398">
                <a:moveTo>
                  <a:pt x="0" y="398"/>
                </a:moveTo>
                <a:lnTo>
                  <a:pt x="230" y="0"/>
                </a:lnTo>
                <a:lnTo>
                  <a:pt x="460" y="398"/>
                </a:lnTo>
                <a:lnTo>
                  <a:pt x="0" y="398"/>
                </a:ln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01</a:t>
            </a:r>
          </a:p>
        </p:txBody>
      </p:sp>
      <p:sp>
        <p:nvSpPr>
          <p:cNvPr id="40" name="Freeform 13">
            <a:extLst>
              <a:ext uri="{FF2B5EF4-FFF2-40B4-BE49-F238E27FC236}">
                <a16:creationId xmlns:a16="http://schemas.microsoft.com/office/drawing/2014/main" id="{36F3F8AB-C5F0-413E-8B02-4E4D61DFC7D9}"/>
              </a:ext>
            </a:extLst>
          </p:cNvPr>
          <p:cNvSpPr>
            <a:spLocks/>
          </p:cNvSpPr>
          <p:nvPr/>
        </p:nvSpPr>
        <p:spPr bwMode="auto">
          <a:xfrm>
            <a:off x="287490" y="4689621"/>
            <a:ext cx="2508843" cy="275079"/>
          </a:xfrm>
          <a:prstGeom prst="roundRect">
            <a:avLst/>
          </a:prstGeom>
          <a:solidFill>
            <a:schemeClr val="accent2"/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5</a:t>
            </a:r>
          </a:p>
        </p:txBody>
      </p:sp>
      <p:sp>
        <p:nvSpPr>
          <p:cNvPr id="41" name="Freeform 13">
            <a:extLst>
              <a:ext uri="{FF2B5EF4-FFF2-40B4-BE49-F238E27FC236}">
                <a16:creationId xmlns:a16="http://schemas.microsoft.com/office/drawing/2014/main" id="{398FBD13-18C7-4631-9242-B17D48CBE345}"/>
              </a:ext>
            </a:extLst>
          </p:cNvPr>
          <p:cNvSpPr>
            <a:spLocks/>
          </p:cNvSpPr>
          <p:nvPr/>
        </p:nvSpPr>
        <p:spPr bwMode="auto">
          <a:xfrm>
            <a:off x="2978462" y="4689621"/>
            <a:ext cx="2508843" cy="275079"/>
          </a:xfrm>
          <a:prstGeom prst="roundRect">
            <a:avLst/>
          </a:prstGeom>
          <a:solidFill>
            <a:schemeClr val="accent3"/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6</a:t>
            </a:r>
          </a:p>
        </p:txBody>
      </p:sp>
      <p:sp>
        <p:nvSpPr>
          <p:cNvPr id="42" name="Freeform 13">
            <a:extLst>
              <a:ext uri="{FF2B5EF4-FFF2-40B4-BE49-F238E27FC236}">
                <a16:creationId xmlns:a16="http://schemas.microsoft.com/office/drawing/2014/main" id="{0F66B5FD-3EFA-43A4-867A-45372425BCE0}"/>
              </a:ext>
            </a:extLst>
          </p:cNvPr>
          <p:cNvSpPr>
            <a:spLocks/>
          </p:cNvSpPr>
          <p:nvPr/>
        </p:nvSpPr>
        <p:spPr bwMode="auto">
          <a:xfrm>
            <a:off x="5669434" y="4689621"/>
            <a:ext cx="2648044" cy="275079"/>
          </a:xfrm>
          <a:prstGeom prst="roundRect">
            <a:avLst/>
          </a:prstGeom>
          <a:solidFill>
            <a:schemeClr val="accent5"/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7</a:t>
            </a:r>
          </a:p>
        </p:txBody>
      </p:sp>
      <p:sp>
        <p:nvSpPr>
          <p:cNvPr id="43" name="Text Placeholder 1">
            <a:extLst>
              <a:ext uri="{FF2B5EF4-FFF2-40B4-BE49-F238E27FC236}">
                <a16:creationId xmlns:a16="http://schemas.microsoft.com/office/drawing/2014/main" id="{DD0A641E-4C10-4D8E-8484-79F5114B4082}"/>
              </a:ext>
            </a:extLst>
          </p:cNvPr>
          <p:cNvSpPr txBox="1">
            <a:spLocks/>
          </p:cNvSpPr>
          <p:nvPr/>
        </p:nvSpPr>
        <p:spPr>
          <a:xfrm>
            <a:off x="287490" y="5069286"/>
            <a:ext cx="2508843" cy="169143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lIns="45720" tIns="45720" rIns="0" bIns="0" anchor="ctr"/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n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8975" indent="-2936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2349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5388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l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9075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5872F0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Recognized as “Challenger” in Gartner Magic Quadrant 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5872F0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Developed Active/Active Platform to further support uptime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5872F0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Sales partnership with leading Nordic carrier, Telenor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5872F0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Launched social media as a channel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Text Placeholder 1">
            <a:extLst>
              <a:ext uri="{FF2B5EF4-FFF2-40B4-BE49-F238E27FC236}">
                <a16:creationId xmlns:a16="http://schemas.microsoft.com/office/drawing/2014/main" id="{789B2DDF-65B3-4C79-8107-C6A66A704759}"/>
              </a:ext>
            </a:extLst>
          </p:cNvPr>
          <p:cNvSpPr txBox="1">
            <a:spLocks/>
          </p:cNvSpPr>
          <p:nvPr/>
        </p:nvSpPr>
        <p:spPr>
          <a:xfrm>
            <a:off x="2978462" y="5069286"/>
            <a:ext cx="2508843" cy="169143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45720" tIns="45720" rIns="0" bIns="0" anchor="ctr"/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n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8975" indent="-2936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2349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5388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l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9075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34C0BC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&gt;30% CC growth in UK and Sweden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34C0BC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Continued geographic and vertical expansion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34C0BC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Established nearshoring in Sofia, Bulgaria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34C0BC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Launched embedded Softphone capabilities</a:t>
            </a:r>
          </a:p>
        </p:txBody>
      </p:sp>
      <p:sp>
        <p:nvSpPr>
          <p:cNvPr id="45" name="Text Placeholder 1">
            <a:extLst>
              <a:ext uri="{FF2B5EF4-FFF2-40B4-BE49-F238E27FC236}">
                <a16:creationId xmlns:a16="http://schemas.microsoft.com/office/drawing/2014/main" id="{5D1D6B36-27D7-41C3-9CB9-101C356E012D}"/>
              </a:ext>
            </a:extLst>
          </p:cNvPr>
          <p:cNvSpPr txBox="1">
            <a:spLocks/>
          </p:cNvSpPr>
          <p:nvPr/>
        </p:nvSpPr>
        <p:spPr>
          <a:xfrm>
            <a:off x="5669434" y="5069285"/>
            <a:ext cx="2648044" cy="169143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45720" tIns="45720" rIns="0" bIns="0" anchor="ctr"/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n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8975" indent="-2936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2349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5388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l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9075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B442D6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Awarded the If Insurance contract. Europe’s biggest </a:t>
            </a: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CCaaS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 contract with 3,000 agents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B442D6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Introduced innovative Unified Agent Application with extensive low code integration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B442D6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Arial" panose="020B0604020202020204" pitchFamily="34" charset="0"/>
              </a:rPr>
              <a:t>Separated from the Systems Integration business unit, and began operations as standalone business</a:t>
            </a:r>
          </a:p>
        </p:txBody>
      </p:sp>
      <p:sp>
        <p:nvSpPr>
          <p:cNvPr id="46" name="Freeform 18">
            <a:extLst>
              <a:ext uri="{FF2B5EF4-FFF2-40B4-BE49-F238E27FC236}">
                <a16:creationId xmlns:a16="http://schemas.microsoft.com/office/drawing/2014/main" id="{A822F9CE-2A1C-458E-A708-94CF22B43EEE}"/>
              </a:ext>
            </a:extLst>
          </p:cNvPr>
          <p:cNvSpPr>
            <a:spLocks/>
          </p:cNvSpPr>
          <p:nvPr/>
        </p:nvSpPr>
        <p:spPr bwMode="auto">
          <a:xfrm>
            <a:off x="10060040" y="2452115"/>
            <a:ext cx="683229" cy="626705"/>
          </a:xfrm>
          <a:custGeom>
            <a:avLst/>
            <a:gdLst>
              <a:gd name="T0" fmla="*/ 0 w 460"/>
              <a:gd name="T1" fmla="*/ 398 h 398"/>
              <a:gd name="T2" fmla="*/ 230 w 460"/>
              <a:gd name="T3" fmla="*/ 0 h 398"/>
              <a:gd name="T4" fmla="*/ 460 w 460"/>
              <a:gd name="T5" fmla="*/ 398 h 398"/>
              <a:gd name="T6" fmla="*/ 0 w 460"/>
              <a:gd name="T7" fmla="*/ 398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60" h="398">
                <a:moveTo>
                  <a:pt x="0" y="398"/>
                </a:moveTo>
                <a:lnTo>
                  <a:pt x="230" y="0"/>
                </a:lnTo>
                <a:lnTo>
                  <a:pt x="460" y="398"/>
                </a:lnTo>
                <a:lnTo>
                  <a:pt x="0" y="398"/>
                </a:ln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7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FFB7876-6C8F-4864-9D8C-AD0317142BDA}"/>
              </a:ext>
            </a:extLst>
          </p:cNvPr>
          <p:cNvCxnSpPr>
            <a:cxnSpLocks/>
            <a:endCxn id="48" idx="2"/>
          </p:cNvCxnSpPr>
          <p:nvPr/>
        </p:nvCxnSpPr>
        <p:spPr>
          <a:xfrm flipV="1">
            <a:off x="10401655" y="1405624"/>
            <a:ext cx="7441" cy="1046492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DEB262B5-6234-41EF-AF28-8A563A428A5D}"/>
              </a:ext>
            </a:extLst>
          </p:cNvPr>
          <p:cNvSpPr/>
          <p:nvPr/>
        </p:nvSpPr>
        <p:spPr>
          <a:xfrm>
            <a:off x="9949764" y="697738"/>
            <a:ext cx="918663" cy="707886"/>
          </a:xfrm>
          <a:prstGeom prst="rect">
            <a:avLst/>
          </a:prstGeom>
        </p:spPr>
        <p:txBody>
          <a:bodyPr wrap="square" lIns="45720" tIns="45720" rIns="4572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7</a:t>
            </a:r>
          </a:p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Demerged and rebranded to </a:t>
            </a:r>
            <a:r>
              <a:rPr kumimoji="0" lang="en-GB" sz="10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Puzzel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charset="0"/>
              <a:ea typeface="+mn-ea"/>
              <a:cs typeface="+mn-cs"/>
            </a:endParaRPr>
          </a:p>
        </p:txBody>
      </p:sp>
      <p:sp>
        <p:nvSpPr>
          <p:cNvPr id="49" name="Freeform 7">
            <a:extLst>
              <a:ext uri="{FF2B5EF4-FFF2-40B4-BE49-F238E27FC236}">
                <a16:creationId xmlns:a16="http://schemas.microsoft.com/office/drawing/2014/main" id="{A65DAE61-FFED-42AE-ABBE-194A2C3938D6}"/>
              </a:ext>
            </a:extLst>
          </p:cNvPr>
          <p:cNvSpPr>
            <a:spLocks/>
          </p:cNvSpPr>
          <p:nvPr/>
        </p:nvSpPr>
        <p:spPr bwMode="auto">
          <a:xfrm>
            <a:off x="9455804" y="2472188"/>
            <a:ext cx="681744" cy="589657"/>
          </a:xfrm>
          <a:custGeom>
            <a:avLst/>
            <a:gdLst>
              <a:gd name="T0" fmla="*/ 459 w 459"/>
              <a:gd name="T1" fmla="*/ 0 h 397"/>
              <a:gd name="T2" fmla="*/ 230 w 459"/>
              <a:gd name="T3" fmla="*/ 397 h 397"/>
              <a:gd name="T4" fmla="*/ 0 w 459"/>
              <a:gd name="T5" fmla="*/ 0 h 397"/>
              <a:gd name="T6" fmla="*/ 459 w 459"/>
              <a:gd name="T7" fmla="*/ 0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9" h="397">
                <a:moveTo>
                  <a:pt x="459" y="0"/>
                </a:moveTo>
                <a:lnTo>
                  <a:pt x="230" y="397"/>
                </a:lnTo>
                <a:lnTo>
                  <a:pt x="0" y="0"/>
                </a:lnTo>
                <a:lnTo>
                  <a:pt x="459" y="0"/>
                </a:lnTo>
                <a:close/>
              </a:path>
            </a:pathLst>
          </a:custGeom>
          <a:solidFill>
            <a:srgbClr val="F69686"/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6</a:t>
            </a:r>
          </a:p>
        </p:txBody>
      </p:sp>
      <p:sp>
        <p:nvSpPr>
          <p:cNvPr id="50" name="Freeform 18">
            <a:extLst>
              <a:ext uri="{FF2B5EF4-FFF2-40B4-BE49-F238E27FC236}">
                <a16:creationId xmlns:a16="http://schemas.microsoft.com/office/drawing/2014/main" id="{CB8638A0-1D1D-4D29-A51A-1AF646490AC6}"/>
              </a:ext>
            </a:extLst>
          </p:cNvPr>
          <p:cNvSpPr>
            <a:spLocks/>
          </p:cNvSpPr>
          <p:nvPr/>
        </p:nvSpPr>
        <p:spPr bwMode="auto">
          <a:xfrm>
            <a:off x="8900727" y="2452115"/>
            <a:ext cx="683229" cy="591142"/>
          </a:xfrm>
          <a:custGeom>
            <a:avLst/>
            <a:gdLst>
              <a:gd name="T0" fmla="*/ 0 w 460"/>
              <a:gd name="T1" fmla="*/ 398 h 398"/>
              <a:gd name="T2" fmla="*/ 230 w 460"/>
              <a:gd name="T3" fmla="*/ 0 h 398"/>
              <a:gd name="T4" fmla="*/ 460 w 460"/>
              <a:gd name="T5" fmla="*/ 398 h 398"/>
              <a:gd name="T6" fmla="*/ 0 w 460"/>
              <a:gd name="T7" fmla="*/ 398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60" h="398">
                <a:moveTo>
                  <a:pt x="0" y="398"/>
                </a:moveTo>
                <a:lnTo>
                  <a:pt x="230" y="0"/>
                </a:lnTo>
                <a:lnTo>
                  <a:pt x="460" y="398"/>
                </a:lnTo>
                <a:lnTo>
                  <a:pt x="0" y="398"/>
                </a:lnTo>
                <a:close/>
              </a:path>
            </a:pathLst>
          </a:custGeom>
          <a:solidFill>
            <a:schemeClr val="tx2"/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5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4454F79-19F0-43E2-B086-389CFCADD1AD}"/>
              </a:ext>
            </a:extLst>
          </p:cNvPr>
          <p:cNvSpPr/>
          <p:nvPr/>
        </p:nvSpPr>
        <p:spPr>
          <a:xfrm>
            <a:off x="9289487" y="3318000"/>
            <a:ext cx="995442" cy="553998"/>
          </a:xfrm>
          <a:prstGeom prst="rect">
            <a:avLst/>
          </a:prstGeom>
        </p:spPr>
        <p:txBody>
          <a:bodyPr wrap="square" lIns="45720" tIns="45720" rIns="4572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69686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6</a:t>
            </a:r>
          </a:p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Established office in Bulgaria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B699C64-53D7-4764-8809-95F7EFE63E98}"/>
              </a:ext>
            </a:extLst>
          </p:cNvPr>
          <p:cNvCxnSpPr>
            <a:cxnSpLocks/>
            <a:stCxn id="51" idx="0"/>
            <a:endCxn id="49" idx="1"/>
          </p:cNvCxnSpPr>
          <p:nvPr/>
        </p:nvCxnSpPr>
        <p:spPr>
          <a:xfrm flipV="1">
            <a:off x="9787208" y="3061845"/>
            <a:ext cx="10211" cy="256155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812FD282-4048-45EC-B07A-2CB6B05AD70E}"/>
              </a:ext>
            </a:extLst>
          </p:cNvPr>
          <p:cNvSpPr/>
          <p:nvPr/>
        </p:nvSpPr>
        <p:spPr>
          <a:xfrm>
            <a:off x="9911375" y="3916446"/>
            <a:ext cx="995442" cy="707886"/>
          </a:xfrm>
          <a:prstGeom prst="rect">
            <a:avLst/>
          </a:prstGeom>
        </p:spPr>
        <p:txBody>
          <a:bodyPr wrap="square" lIns="45720" tIns="45720" rIns="4572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7</a:t>
            </a:r>
          </a:p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Established second office in Bulgaria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D226DB39-98F7-425D-9492-9FFDAFFBD295}"/>
              </a:ext>
            </a:extLst>
          </p:cNvPr>
          <p:cNvCxnSpPr>
            <a:cxnSpLocks/>
            <a:stCxn id="53" idx="0"/>
          </p:cNvCxnSpPr>
          <p:nvPr/>
        </p:nvCxnSpPr>
        <p:spPr>
          <a:xfrm flipH="1" flipV="1">
            <a:off x="10403562" y="3078822"/>
            <a:ext cx="5534" cy="837624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Freeform 7">
            <a:extLst>
              <a:ext uri="{FF2B5EF4-FFF2-40B4-BE49-F238E27FC236}">
                <a16:creationId xmlns:a16="http://schemas.microsoft.com/office/drawing/2014/main" id="{9F077473-5DA2-C243-934A-CA710D043627}"/>
              </a:ext>
            </a:extLst>
          </p:cNvPr>
          <p:cNvSpPr>
            <a:spLocks/>
          </p:cNvSpPr>
          <p:nvPr/>
        </p:nvSpPr>
        <p:spPr bwMode="auto">
          <a:xfrm>
            <a:off x="10665761" y="2472188"/>
            <a:ext cx="681744" cy="589657"/>
          </a:xfrm>
          <a:custGeom>
            <a:avLst/>
            <a:gdLst>
              <a:gd name="T0" fmla="*/ 459 w 459"/>
              <a:gd name="T1" fmla="*/ 0 h 397"/>
              <a:gd name="T2" fmla="*/ 230 w 459"/>
              <a:gd name="T3" fmla="*/ 397 h 397"/>
              <a:gd name="T4" fmla="*/ 0 w 459"/>
              <a:gd name="T5" fmla="*/ 0 h 397"/>
              <a:gd name="T6" fmla="*/ 459 w 459"/>
              <a:gd name="T7" fmla="*/ 0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9" h="397">
                <a:moveTo>
                  <a:pt x="459" y="0"/>
                </a:moveTo>
                <a:lnTo>
                  <a:pt x="230" y="397"/>
                </a:lnTo>
                <a:lnTo>
                  <a:pt x="0" y="0"/>
                </a:lnTo>
                <a:lnTo>
                  <a:pt x="459" y="0"/>
                </a:lnTo>
                <a:close/>
              </a:path>
            </a:pathLst>
          </a:custGeom>
          <a:solidFill>
            <a:schemeClr val="tx2"/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8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ECC1C9B-ECAD-E64B-B45E-D08F5EEC0154}"/>
              </a:ext>
            </a:extLst>
          </p:cNvPr>
          <p:cNvSpPr/>
          <p:nvPr/>
        </p:nvSpPr>
        <p:spPr>
          <a:xfrm>
            <a:off x="10430355" y="3329855"/>
            <a:ext cx="1143809" cy="553998"/>
          </a:xfrm>
          <a:prstGeom prst="rect">
            <a:avLst/>
          </a:prstGeom>
        </p:spPr>
        <p:txBody>
          <a:bodyPr wrap="square" lIns="45720" tIns="45720" rIns="4572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EB156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8</a:t>
            </a:r>
          </a:p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Office in Finland</a:t>
            </a:r>
          </a:p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Bots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B474A6D-A8FF-5441-8E03-9D6649BD290E}"/>
              </a:ext>
            </a:extLst>
          </p:cNvPr>
          <p:cNvCxnSpPr>
            <a:cxnSpLocks/>
            <a:stCxn id="56" idx="0"/>
          </p:cNvCxnSpPr>
          <p:nvPr/>
        </p:nvCxnSpPr>
        <p:spPr>
          <a:xfrm flipV="1">
            <a:off x="11002260" y="3055363"/>
            <a:ext cx="0" cy="27449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EF9D853E-1F19-9741-B645-0E52BD719B5E}"/>
              </a:ext>
            </a:extLst>
          </p:cNvPr>
          <p:cNvSpPr/>
          <p:nvPr/>
        </p:nvSpPr>
        <p:spPr>
          <a:xfrm>
            <a:off x="10492732" y="1483263"/>
            <a:ext cx="1057811" cy="707886"/>
          </a:xfrm>
          <a:prstGeom prst="rect">
            <a:avLst/>
          </a:prstGeom>
        </p:spPr>
        <p:txBody>
          <a:bodyPr wrap="square" lIns="45720" tIns="45720" rIns="4572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EB156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8</a:t>
            </a:r>
          </a:p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Won Largest European </a:t>
            </a:r>
            <a:r>
              <a:rPr kumimoji="0" lang="en-GB" sz="10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CCaaaS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 deal If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EDE9411-C7E0-3F49-8DEE-9D960EC4E45B}"/>
              </a:ext>
            </a:extLst>
          </p:cNvPr>
          <p:cNvCxnSpPr>
            <a:cxnSpLocks/>
          </p:cNvCxnSpPr>
          <p:nvPr/>
        </p:nvCxnSpPr>
        <p:spPr>
          <a:xfrm flipV="1">
            <a:off x="11002260" y="2191149"/>
            <a:ext cx="0" cy="31443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435A716-88D7-F24E-AD00-D35D61DD6A1D}"/>
              </a:ext>
            </a:extLst>
          </p:cNvPr>
          <p:cNvCxnSpPr>
            <a:cxnSpLocks/>
          </p:cNvCxnSpPr>
          <p:nvPr/>
        </p:nvCxnSpPr>
        <p:spPr>
          <a:xfrm flipH="1" flipV="1">
            <a:off x="6890645" y="2136156"/>
            <a:ext cx="2165" cy="36225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353C8F28-9816-5A49-8EF7-25582E63F04E}"/>
              </a:ext>
            </a:extLst>
          </p:cNvPr>
          <p:cNvSpPr/>
          <p:nvPr/>
        </p:nvSpPr>
        <p:spPr>
          <a:xfrm>
            <a:off x="6486536" y="1432062"/>
            <a:ext cx="808218" cy="707886"/>
          </a:xfrm>
          <a:prstGeom prst="rect">
            <a:avLst/>
          </a:prstGeom>
        </p:spPr>
        <p:txBody>
          <a:bodyPr wrap="square" lIns="45720" tIns="45720" rIns="4572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67C63B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0</a:t>
            </a:r>
          </a:p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Acquired by </a:t>
            </a:r>
            <a:r>
              <a:rPr kumimoji="0" lang="en-GB" sz="10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Herkules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 Capital</a:t>
            </a:r>
          </a:p>
        </p:txBody>
      </p:sp>
      <p:sp>
        <p:nvSpPr>
          <p:cNvPr id="74" name="Freeform 13">
            <a:extLst>
              <a:ext uri="{FF2B5EF4-FFF2-40B4-BE49-F238E27FC236}">
                <a16:creationId xmlns:a16="http://schemas.microsoft.com/office/drawing/2014/main" id="{06A4DDFC-1FD1-FF47-A822-438C98CFADBD}"/>
              </a:ext>
            </a:extLst>
          </p:cNvPr>
          <p:cNvSpPr>
            <a:spLocks/>
          </p:cNvSpPr>
          <p:nvPr/>
        </p:nvSpPr>
        <p:spPr bwMode="auto">
          <a:xfrm>
            <a:off x="8435562" y="4689621"/>
            <a:ext cx="2178897" cy="275079"/>
          </a:xfrm>
          <a:prstGeom prst="roundRect">
            <a:avLst/>
          </a:prstGeom>
          <a:solidFill>
            <a:schemeClr val="tx2"/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8</a:t>
            </a:r>
          </a:p>
        </p:txBody>
      </p:sp>
      <p:sp>
        <p:nvSpPr>
          <p:cNvPr id="75" name="Text Placeholder 1">
            <a:extLst>
              <a:ext uri="{FF2B5EF4-FFF2-40B4-BE49-F238E27FC236}">
                <a16:creationId xmlns:a16="http://schemas.microsoft.com/office/drawing/2014/main" id="{DDC477A1-1662-284E-9CBA-D40363852D63}"/>
              </a:ext>
            </a:extLst>
          </p:cNvPr>
          <p:cNvSpPr txBox="1">
            <a:spLocks/>
          </p:cNvSpPr>
          <p:nvPr/>
        </p:nvSpPr>
        <p:spPr>
          <a:xfrm>
            <a:off x="8435562" y="5069285"/>
            <a:ext cx="2178897" cy="169143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45720" tIns="45720" rIns="0" bIns="0" anchor="ctr"/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n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8975" indent="-2936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2349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5388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l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9075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Expanded geographical presence to Finland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Launched new chatbot functions and GDPR compliant solutions</a:t>
            </a:r>
          </a:p>
          <a:p>
            <a:pPr marL="184150" marR="0" lvl="0" indent="-1841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Fourth consecutive year as “Challenger” in Gartner Magic Quadrant, further improved from previous years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8E0D1615-A2CF-0C4B-A57C-B8F2A8D9DF58}"/>
              </a:ext>
            </a:extLst>
          </p:cNvPr>
          <p:cNvCxnSpPr>
            <a:cxnSpLocks/>
          </p:cNvCxnSpPr>
          <p:nvPr/>
        </p:nvCxnSpPr>
        <p:spPr>
          <a:xfrm flipV="1">
            <a:off x="6890598" y="3030741"/>
            <a:ext cx="1" cy="22656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1D5A3D6D-DAC1-CF41-865E-60113C7DAF71}"/>
              </a:ext>
            </a:extLst>
          </p:cNvPr>
          <p:cNvSpPr/>
          <p:nvPr/>
        </p:nvSpPr>
        <p:spPr>
          <a:xfrm>
            <a:off x="6899602" y="3130512"/>
            <a:ext cx="1020380" cy="707886"/>
          </a:xfrm>
          <a:prstGeom prst="rect">
            <a:avLst/>
          </a:prstGeom>
        </p:spPr>
        <p:txBody>
          <a:bodyPr wrap="square" lIns="45720" tIns="45720" rIns="4572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67C63B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0</a:t>
            </a:r>
          </a:p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Increased investments in </a:t>
            </a:r>
            <a:r>
              <a:rPr kumimoji="0" lang="en-GB" sz="10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CCaaS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 offering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596A9E16-0E23-6343-88B6-3A3F3A651D2C}"/>
              </a:ext>
            </a:extLst>
          </p:cNvPr>
          <p:cNvCxnSpPr>
            <a:cxnSpLocks/>
          </p:cNvCxnSpPr>
          <p:nvPr/>
        </p:nvCxnSpPr>
        <p:spPr>
          <a:xfrm flipH="1">
            <a:off x="6875720" y="3257301"/>
            <a:ext cx="299976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0A1FF8B7-5E6A-6E4C-912E-4C5B98A43CDB}"/>
              </a:ext>
            </a:extLst>
          </p:cNvPr>
          <p:cNvCxnSpPr>
            <a:cxnSpLocks/>
            <a:endCxn id="70" idx="2"/>
          </p:cNvCxnSpPr>
          <p:nvPr/>
        </p:nvCxnSpPr>
        <p:spPr>
          <a:xfrm flipH="1" flipV="1">
            <a:off x="7918550" y="2030511"/>
            <a:ext cx="1432" cy="440934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id="{BF33F323-1A89-434A-B37C-CA66D5E556E3}"/>
              </a:ext>
            </a:extLst>
          </p:cNvPr>
          <p:cNvSpPr/>
          <p:nvPr/>
        </p:nvSpPr>
        <p:spPr>
          <a:xfrm>
            <a:off x="7459218" y="1476513"/>
            <a:ext cx="918663" cy="553998"/>
          </a:xfrm>
          <a:prstGeom prst="rect">
            <a:avLst/>
          </a:prstGeom>
        </p:spPr>
        <p:txBody>
          <a:bodyPr wrap="square" lIns="45720" tIns="45720" rIns="4572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5872F0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2</a:t>
            </a:r>
          </a:p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Initiate growth initiative in UK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9FC7110B-610B-9544-A45C-2E2BD44BEC6D}"/>
              </a:ext>
            </a:extLst>
          </p:cNvPr>
          <p:cNvCxnSpPr>
            <a:cxnSpLocks/>
          </p:cNvCxnSpPr>
          <p:nvPr/>
        </p:nvCxnSpPr>
        <p:spPr>
          <a:xfrm flipV="1">
            <a:off x="9244590" y="2030511"/>
            <a:ext cx="4497" cy="42160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9FA1782D-2A10-F24D-9FC5-7EA65A6B76A9}"/>
              </a:ext>
            </a:extLst>
          </p:cNvPr>
          <p:cNvSpPr/>
          <p:nvPr/>
        </p:nvSpPr>
        <p:spPr>
          <a:xfrm>
            <a:off x="8787507" y="1476513"/>
            <a:ext cx="918663" cy="553998"/>
          </a:xfrm>
          <a:prstGeom prst="rect">
            <a:avLst/>
          </a:prstGeom>
        </p:spPr>
        <p:txBody>
          <a:bodyPr wrap="square" lIns="45720" tIns="45720" rIns="4572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EB1562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2015</a:t>
            </a:r>
          </a:p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Recognized by</a:t>
            </a:r>
            <a:b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t>Gartner in MQ</a:t>
            </a:r>
          </a:p>
        </p:txBody>
      </p:sp>
    </p:spTree>
    <p:extLst>
      <p:ext uri="{BB962C8B-B14F-4D97-AF65-F5344CB8AC3E}">
        <p14:creationId xmlns:p14="http://schemas.microsoft.com/office/powerpoint/2010/main" val="2405479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C9CF680-54F7-4729-8560-8854E7A586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C9CF680-54F7-4729-8560-8854E7A586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C6B6F42-0288-419E-B993-2A7E843551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Rounded MT Bold" panose="020F0704030504030204" pitchFamily="34" charset="77"/>
              <a:ea typeface="+mn-ea"/>
              <a:cs typeface="+mn-cs"/>
              <a:sym typeface="Arial Rounded MT Bold" panose="020F0704030504030204" pitchFamily="34" charset="77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E75F26-00EC-472C-9140-9B44642738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/>
              <a:t>Demonstrated ability to maintain growth through innovation and geographical expansion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31928C0-D8E5-447B-9EF3-A3C4105BB11D}"/>
              </a:ext>
            </a:extLst>
          </p:cNvPr>
          <p:cNvGrpSpPr/>
          <p:nvPr/>
        </p:nvGrpSpPr>
        <p:grpSpPr>
          <a:xfrm>
            <a:off x="746026" y="1923976"/>
            <a:ext cx="10699948" cy="1671537"/>
            <a:chOff x="4672140" y="1219805"/>
            <a:chExt cx="7076962" cy="1388028"/>
          </a:xfrm>
        </p:grpSpPr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id="{19843158-9586-4FEA-9488-62BC6F99A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2140" y="1219806"/>
              <a:ext cx="1670502" cy="273195"/>
            </a:xfrm>
            <a:prstGeom prst="roundRect">
              <a:avLst/>
            </a:prstGeom>
            <a:solidFill>
              <a:schemeClr val="accent2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Medium" panose="020B0603020102020204"/>
                  <a:ea typeface="+mn-ea"/>
                  <a:cs typeface="Arial" panose="020B0604020202020204" pitchFamily="34" charset="0"/>
                </a:rPr>
                <a:t>2015</a:t>
              </a:r>
            </a:p>
          </p:txBody>
        </p:sp>
        <p:sp>
          <p:nvSpPr>
            <p:cNvPr id="50" name="Text Placeholder 1">
              <a:extLst>
                <a:ext uri="{FF2B5EF4-FFF2-40B4-BE49-F238E27FC236}">
                  <a16:creationId xmlns:a16="http://schemas.microsoft.com/office/drawing/2014/main" id="{51152962-6F7D-4898-BA15-F9835E45FC77}"/>
                </a:ext>
              </a:extLst>
            </p:cNvPr>
            <p:cNvSpPr txBox="1">
              <a:spLocks/>
            </p:cNvSpPr>
            <p:nvPr/>
          </p:nvSpPr>
          <p:spPr>
            <a:xfrm>
              <a:off x="4672140" y="1532092"/>
              <a:ext cx="1670502" cy="10757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lIns="72000" tIns="36000" rIns="36000" bIns="0" anchor="t"/>
            <a:lstStyle>
              <a:lvl1pPr marL="342900" indent="-3429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n"/>
                <a:tabLst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8975" indent="-293688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indent="-23495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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95388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l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9075" indent="-2286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7313" marR="0" lvl="0" indent="-8731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872F0"/>
                </a:buClr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Recognized as “Challenger” in Gartner Magic Quadrant for CCaaS</a:t>
              </a:r>
            </a:p>
            <a:p>
              <a:pPr marL="87313" marR="0" lvl="0" indent="-8731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872F0"/>
                </a:buClr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Developed Active/Active Platform to further support uptime</a:t>
              </a:r>
            </a:p>
            <a:p>
              <a:pPr marL="87313" marR="0" lvl="0" indent="-8731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872F0"/>
                </a:buClr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Sales partnership with leading Nordic carrier, Telenor</a:t>
              </a:r>
            </a:p>
            <a:p>
              <a:pPr marL="87313" marR="0" lvl="0" indent="-8731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872F0"/>
                </a:buClr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Launched social media as a channel</a:t>
              </a:r>
            </a:p>
          </p:txBody>
        </p:sp>
        <p:sp>
          <p:nvSpPr>
            <p:cNvPr id="48" name="Freeform 13">
              <a:extLst>
                <a:ext uri="{FF2B5EF4-FFF2-40B4-BE49-F238E27FC236}">
                  <a16:creationId xmlns:a16="http://schemas.microsoft.com/office/drawing/2014/main" id="{E6717365-269C-4F06-AFE6-49993C4CE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4293" y="1219805"/>
              <a:ext cx="1670502" cy="273195"/>
            </a:xfrm>
            <a:prstGeom prst="roundRect">
              <a:avLst/>
            </a:prstGeom>
            <a:solidFill>
              <a:srgbClr val="40D3CF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Medium" panose="020B0603020102020204"/>
                  <a:ea typeface="+mn-ea"/>
                  <a:cs typeface="Arial" panose="020B0604020202020204" pitchFamily="34" charset="0"/>
                </a:rPr>
                <a:t>2016</a:t>
              </a:r>
            </a:p>
          </p:txBody>
        </p:sp>
        <p:sp>
          <p:nvSpPr>
            <p:cNvPr id="51" name="Text Placeholder 1">
              <a:extLst>
                <a:ext uri="{FF2B5EF4-FFF2-40B4-BE49-F238E27FC236}">
                  <a16:creationId xmlns:a16="http://schemas.microsoft.com/office/drawing/2014/main" id="{DCB64FE7-06A8-4083-999A-54B4A6B877DB}"/>
                </a:ext>
              </a:extLst>
            </p:cNvPr>
            <p:cNvSpPr txBox="1">
              <a:spLocks/>
            </p:cNvSpPr>
            <p:nvPr/>
          </p:nvSpPr>
          <p:spPr>
            <a:xfrm>
              <a:off x="6474293" y="1532090"/>
              <a:ext cx="1670502" cy="10757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lIns="72000" tIns="36000" rIns="36000" bIns="0" anchor="t"/>
            <a:lstStyle>
              <a:defPPr>
                <a:defRPr lang="nb-NO"/>
              </a:defPPr>
              <a:lvl1pPr marL="87313" indent="-87313">
                <a:spcBef>
                  <a:spcPts val="0"/>
                </a:spcBef>
                <a:spcAft>
                  <a:spcPts val="300"/>
                </a:spcAft>
                <a:buClr>
                  <a:schemeClr val="accent2"/>
                </a:buClr>
                <a:buSzPct val="90000"/>
                <a:buFont typeface="Arial" panose="020B0604020202020204" pitchFamily="34" charset="0"/>
                <a:buChar char="•"/>
                <a:tabLst/>
                <a:defRPr sz="800">
                  <a:latin typeface="Franklin Gothic Book" panose="020B0503020102020204" pitchFamily="34" charset="0"/>
                  <a:cs typeface="Arial" panose="020B0604020202020204" pitchFamily="34" charset="0"/>
                </a:defRPr>
              </a:lvl1pPr>
              <a:lvl2pPr marL="688975" indent="-293688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indent="-234950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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195388" indent="-228600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l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489075" indent="-228600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itchFamily="34" charset="0"/>
                <a:buChar char="»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87313" marR="0" lvl="0" indent="-8731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34C0BC"/>
                </a:buClr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&gt;30% CC growth in UK and Sweden</a:t>
              </a:r>
            </a:p>
            <a:p>
              <a:pPr marL="87313" marR="0" lvl="0" indent="-8731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34C0BC"/>
                </a:buClr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Continued geographic and vertical expansion</a:t>
              </a:r>
            </a:p>
            <a:p>
              <a:pPr marL="87313" marR="0" lvl="0" indent="-8731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34C0BC"/>
                </a:buClr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Established nearshoring in Sofia, Bulgaria</a:t>
              </a:r>
            </a:p>
            <a:p>
              <a:pPr marL="87313" marR="0" lvl="0" indent="-8731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34C0BC"/>
                </a:buClr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Launched embedded Softphone capabilities</a:t>
              </a: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46CE07C2-8596-49B6-92F3-E20324C34E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6446" y="1219806"/>
              <a:ext cx="1670502" cy="273195"/>
            </a:xfrm>
            <a:prstGeom prst="roundRect">
              <a:avLst/>
            </a:prstGeom>
            <a:solidFill>
              <a:srgbClr val="FF9900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Medium" panose="020B0603020102020204"/>
                  <a:ea typeface="+mn-ea"/>
                  <a:cs typeface="Arial" panose="020B0604020202020204" pitchFamily="34" charset="0"/>
                </a:rPr>
                <a:t>2017</a:t>
              </a:r>
            </a:p>
          </p:txBody>
        </p:sp>
        <p:sp>
          <p:nvSpPr>
            <p:cNvPr id="52" name="Text Placeholder 1">
              <a:extLst>
                <a:ext uri="{FF2B5EF4-FFF2-40B4-BE49-F238E27FC236}">
                  <a16:creationId xmlns:a16="http://schemas.microsoft.com/office/drawing/2014/main" id="{6560EA00-029F-48DB-A498-53EAC7E1E3CC}"/>
                </a:ext>
              </a:extLst>
            </p:cNvPr>
            <p:cNvSpPr txBox="1">
              <a:spLocks/>
            </p:cNvSpPr>
            <p:nvPr/>
          </p:nvSpPr>
          <p:spPr>
            <a:xfrm>
              <a:off x="8276446" y="1532092"/>
              <a:ext cx="1670502" cy="10757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lIns="72000" tIns="36000" rIns="36000" bIns="0" anchor="t"/>
            <a:lstStyle>
              <a:defPPr>
                <a:defRPr lang="nb-NO"/>
              </a:defPPr>
              <a:lvl1pPr marL="87313" indent="-87313">
                <a:spcBef>
                  <a:spcPts val="0"/>
                </a:spcBef>
                <a:spcAft>
                  <a:spcPts val="300"/>
                </a:spcAft>
                <a:buClr>
                  <a:schemeClr val="accent2"/>
                </a:buClr>
                <a:buSzPct val="90000"/>
                <a:buFont typeface="Arial" panose="020B0604020202020204" pitchFamily="34" charset="0"/>
                <a:buChar char="•"/>
                <a:tabLst/>
                <a:defRPr sz="800">
                  <a:latin typeface="Franklin Gothic Book" panose="020B0503020102020204" pitchFamily="34" charset="0"/>
                  <a:cs typeface="Arial" panose="020B0604020202020204" pitchFamily="34" charset="0"/>
                </a:defRPr>
              </a:lvl1pPr>
              <a:lvl2pPr marL="688975" indent="-293688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indent="-234950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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195388" indent="-228600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l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489075" indent="-228600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itchFamily="34" charset="0"/>
                <a:buChar char="»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87313" marR="0" lvl="0" indent="-8731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9900"/>
                </a:buClr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Awarded the If Insurance contract. Europe’s biggest CCaaS contract with 3,000 agents</a:t>
              </a:r>
            </a:p>
            <a:p>
              <a:pPr marL="87313" marR="0" lvl="0" indent="-8731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9900"/>
                </a:buClr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Introduced innovative Unified Agent Application with extensive low code integration</a:t>
              </a:r>
            </a:p>
            <a:p>
              <a:pPr marL="87313" marR="0" lvl="0" indent="-8731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9900"/>
                </a:buClr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Separated from the Systems Integration business unit, and began operations as standalone business</a:t>
              </a:r>
            </a:p>
          </p:txBody>
        </p:sp>
        <p:sp>
          <p:nvSpPr>
            <p:cNvPr id="111" name="Freeform 13">
              <a:extLst>
                <a:ext uri="{FF2B5EF4-FFF2-40B4-BE49-F238E27FC236}">
                  <a16:creationId xmlns:a16="http://schemas.microsoft.com/office/drawing/2014/main" id="{9A617DE2-F401-421A-9F9E-4DC2C4EEF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8600" y="1219806"/>
              <a:ext cx="1670502" cy="273195"/>
            </a:xfrm>
            <a:prstGeom prst="roundRect">
              <a:avLst/>
            </a:prstGeom>
            <a:solidFill>
              <a:schemeClr val="accent5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Medium" panose="020B0603020102020204"/>
                  <a:ea typeface="+mn-ea"/>
                  <a:cs typeface="Arial" panose="020B0604020202020204" pitchFamily="34" charset="0"/>
                </a:rPr>
                <a:t>2018</a:t>
              </a:r>
            </a:p>
          </p:txBody>
        </p:sp>
        <p:sp>
          <p:nvSpPr>
            <p:cNvPr id="112" name="Text Placeholder 1">
              <a:extLst>
                <a:ext uri="{FF2B5EF4-FFF2-40B4-BE49-F238E27FC236}">
                  <a16:creationId xmlns:a16="http://schemas.microsoft.com/office/drawing/2014/main" id="{9186BD2C-F07F-4384-B946-0D62DD277078}"/>
                </a:ext>
              </a:extLst>
            </p:cNvPr>
            <p:cNvSpPr txBox="1">
              <a:spLocks/>
            </p:cNvSpPr>
            <p:nvPr/>
          </p:nvSpPr>
          <p:spPr>
            <a:xfrm>
              <a:off x="10078600" y="1532092"/>
              <a:ext cx="1670502" cy="10757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lIns="72000" tIns="36000" rIns="36000" bIns="0" anchor="t"/>
            <a:lstStyle>
              <a:defPPr>
                <a:defRPr lang="nb-NO"/>
              </a:defPPr>
              <a:lvl1pPr marL="87313" indent="-87313">
                <a:spcBef>
                  <a:spcPts val="0"/>
                </a:spcBef>
                <a:spcAft>
                  <a:spcPts val="300"/>
                </a:spcAft>
                <a:buClr>
                  <a:schemeClr val="accent2"/>
                </a:buClr>
                <a:buSzPct val="90000"/>
                <a:buFont typeface="Arial" panose="020B0604020202020204" pitchFamily="34" charset="0"/>
                <a:buChar char="•"/>
                <a:tabLst/>
                <a:defRPr sz="800">
                  <a:latin typeface="Franklin Gothic Book" panose="020B0503020102020204" pitchFamily="34" charset="0"/>
                  <a:cs typeface="Arial" panose="020B0604020202020204" pitchFamily="34" charset="0"/>
                </a:defRPr>
              </a:lvl1pPr>
              <a:lvl2pPr marL="688975" indent="-293688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indent="-234950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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195388" indent="-228600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Wingdings" panose="05000000000000000000" pitchFamily="2" charset="2"/>
                <a:buChar char="l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489075" indent="-228600"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Font typeface="Arial" pitchFamily="34" charset="0"/>
                <a:buChar char="»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87313" marR="0" lvl="0" indent="-8731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B442D6"/>
                </a:buClr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Expanded geographical presence to Finland</a:t>
              </a:r>
            </a:p>
            <a:p>
              <a:pPr marL="87313" marR="0" lvl="0" indent="-8731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B442D6"/>
                </a:buClr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Launched new chatbot functions and GDPR compliant solutions</a:t>
              </a:r>
            </a:p>
            <a:p>
              <a:pPr marL="87313" marR="0" lvl="0" indent="-8731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B442D6"/>
                </a:buClr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rPr>
                <a:t>Fourth consecutive year as “Challenger” in Gartner Magic Quadrant, further improved from previous years</a:t>
              </a:r>
            </a:p>
          </p:txBody>
        </p:sp>
      </p:grp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5C327A3-B441-4080-BA6D-8AA6BBBFFFE5}"/>
              </a:ext>
            </a:extLst>
          </p:cNvPr>
          <p:cNvSpPr/>
          <p:nvPr/>
        </p:nvSpPr>
        <p:spPr>
          <a:xfrm>
            <a:off x="9003504" y="4742816"/>
            <a:ext cx="1254946" cy="397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emerged and rebranded to Puzzel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02CF370-D3ED-43C9-85A7-7EE3D2E14A03}"/>
              </a:ext>
            </a:extLst>
          </p:cNvPr>
          <p:cNvSpPr/>
          <p:nvPr/>
        </p:nvSpPr>
        <p:spPr>
          <a:xfrm>
            <a:off x="3111874" y="4742815"/>
            <a:ext cx="1254946" cy="397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Initiate growth initiative in UK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0712C335-5C18-472F-8AC1-70D1B9E2B4D1}"/>
              </a:ext>
            </a:extLst>
          </p:cNvPr>
          <p:cNvSpPr/>
          <p:nvPr/>
        </p:nvSpPr>
        <p:spPr>
          <a:xfrm>
            <a:off x="6648182" y="4743416"/>
            <a:ext cx="1254946" cy="397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Recognized by</a:t>
            </a:r>
            <a:b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</a:b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Gartner in MQ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C7AE36C-6708-4214-8874-33E962C8204A}"/>
              </a:ext>
            </a:extLst>
          </p:cNvPr>
          <p:cNvSpPr/>
          <p:nvPr/>
        </p:nvSpPr>
        <p:spPr>
          <a:xfrm>
            <a:off x="809162" y="4742815"/>
            <a:ext cx="1147065" cy="9134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Acquired by Herkules Capita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Increased investments in CCaaS offering</a:t>
            </a:r>
          </a:p>
        </p:txBody>
      </p:sp>
      <p:sp>
        <p:nvSpPr>
          <p:cNvPr id="9" name="Arrow: Up-Down 8">
            <a:extLst>
              <a:ext uri="{FF2B5EF4-FFF2-40B4-BE49-F238E27FC236}">
                <a16:creationId xmlns:a16="http://schemas.microsoft.com/office/drawing/2014/main" id="{E2605D99-E845-4B3E-B3F1-893DB4B27CA4}"/>
              </a:ext>
            </a:extLst>
          </p:cNvPr>
          <p:cNvSpPr/>
          <p:nvPr/>
        </p:nvSpPr>
        <p:spPr>
          <a:xfrm rot="5400000">
            <a:off x="6007835" y="-912678"/>
            <a:ext cx="176330" cy="10699948"/>
          </a:xfrm>
          <a:prstGeom prst="upDownArrow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592AFC4-26AC-4699-B60E-12813EB9AD55}"/>
              </a:ext>
            </a:extLst>
          </p:cNvPr>
          <p:cNvGrpSpPr/>
          <p:nvPr/>
        </p:nvGrpSpPr>
        <p:grpSpPr>
          <a:xfrm>
            <a:off x="1166695" y="4220808"/>
            <a:ext cx="9858611" cy="432976"/>
            <a:chOff x="1999535" y="3418399"/>
            <a:chExt cx="9858611" cy="432976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518BD43-ACDC-4B20-A76F-EB17EB6AFFC6}"/>
                </a:ext>
              </a:extLst>
            </p:cNvPr>
            <p:cNvSpPr>
              <a:spLocks/>
            </p:cNvSpPr>
            <p:nvPr/>
          </p:nvSpPr>
          <p:spPr>
            <a:xfrm>
              <a:off x="4356187" y="3419375"/>
              <a:ext cx="432000" cy="432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>
                  <a:rot lat="0" lon="0" rev="0"/>
                </a:camera>
                <a:lightRig rig="threePt" dir="t"/>
              </a:scene3d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2012</a:t>
              </a: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DE382184-12A3-41E0-AF56-A4D3BC531FC7}"/>
                </a:ext>
              </a:extLst>
            </p:cNvPr>
            <p:cNvSpPr>
              <a:spLocks/>
            </p:cNvSpPr>
            <p:nvPr/>
          </p:nvSpPr>
          <p:spPr>
            <a:xfrm>
              <a:off x="5534513" y="3419375"/>
              <a:ext cx="432000" cy="432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2013</a:t>
              </a: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08796666-D731-4172-AFD5-99D924F6764C}"/>
                </a:ext>
              </a:extLst>
            </p:cNvPr>
            <p:cNvSpPr>
              <a:spLocks/>
            </p:cNvSpPr>
            <p:nvPr/>
          </p:nvSpPr>
          <p:spPr>
            <a:xfrm>
              <a:off x="7891165" y="3419375"/>
              <a:ext cx="432000" cy="432000"/>
            </a:xfrm>
            <a:prstGeom prst="ellipse">
              <a:avLst/>
            </a:prstGeom>
            <a:solidFill>
              <a:srgbClr val="597A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2015</a:t>
              </a: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97634E3C-3180-4A05-9516-7D79FF9840E8}"/>
                </a:ext>
              </a:extLst>
            </p:cNvPr>
            <p:cNvSpPr>
              <a:spLocks/>
            </p:cNvSpPr>
            <p:nvPr/>
          </p:nvSpPr>
          <p:spPr>
            <a:xfrm>
              <a:off x="9069491" y="3419375"/>
              <a:ext cx="432000" cy="432000"/>
            </a:xfrm>
            <a:prstGeom prst="ellipse">
              <a:avLst/>
            </a:prstGeom>
            <a:solidFill>
              <a:srgbClr val="40D3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2016</a:t>
              </a: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B5371BC2-028A-4803-A5D0-9E1DA361FC33}"/>
                </a:ext>
              </a:extLst>
            </p:cNvPr>
            <p:cNvSpPr>
              <a:spLocks/>
            </p:cNvSpPr>
            <p:nvPr/>
          </p:nvSpPr>
          <p:spPr>
            <a:xfrm>
              <a:off x="11426146" y="3418399"/>
              <a:ext cx="432000" cy="432000"/>
            </a:xfrm>
            <a:prstGeom prst="ellipse">
              <a:avLst/>
            </a:prstGeom>
            <a:solidFill>
              <a:srgbClr val="B450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2018</a:t>
              </a: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81168774-2B9D-4301-9115-8D8B9F0948DE}"/>
                </a:ext>
              </a:extLst>
            </p:cNvPr>
            <p:cNvSpPr>
              <a:spLocks/>
            </p:cNvSpPr>
            <p:nvPr/>
          </p:nvSpPr>
          <p:spPr>
            <a:xfrm>
              <a:off x="6712839" y="3419375"/>
              <a:ext cx="432000" cy="432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2014</a:t>
              </a: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CF38E953-9A0F-4FD4-98CF-38A5B1EE15CF}"/>
                </a:ext>
              </a:extLst>
            </p:cNvPr>
            <p:cNvSpPr>
              <a:spLocks/>
            </p:cNvSpPr>
            <p:nvPr/>
          </p:nvSpPr>
          <p:spPr>
            <a:xfrm>
              <a:off x="10247817" y="3418399"/>
              <a:ext cx="432000" cy="432000"/>
            </a:xfrm>
            <a:prstGeom prst="ellipse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2017</a:t>
              </a: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D20A31E5-C7B4-48D0-A8E4-A21087A1F98C}"/>
                </a:ext>
              </a:extLst>
            </p:cNvPr>
            <p:cNvSpPr>
              <a:spLocks/>
            </p:cNvSpPr>
            <p:nvPr/>
          </p:nvSpPr>
          <p:spPr>
            <a:xfrm>
              <a:off x="1999535" y="3419375"/>
              <a:ext cx="432000" cy="432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>
                  <a:rot lat="0" lon="0" rev="0"/>
                </a:camera>
                <a:lightRig rig="threePt" dir="t"/>
              </a:scene3d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2010</a:t>
              </a: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1C98FA78-A117-489B-9921-99D076C188A4}"/>
                </a:ext>
              </a:extLst>
            </p:cNvPr>
            <p:cNvSpPr>
              <a:spLocks/>
            </p:cNvSpPr>
            <p:nvPr/>
          </p:nvSpPr>
          <p:spPr>
            <a:xfrm>
              <a:off x="3177861" y="3419375"/>
              <a:ext cx="432000" cy="432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>
                  <a:rot lat="0" lon="0" rev="0"/>
                </a:camera>
                <a:lightRig rig="threePt" dir="t"/>
              </a:scene3d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201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52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9C4A1C-0530-4E9D-ADA5-7758A84E32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 Recognized L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275C4D-6F16-42A5-816A-5174EAEC1C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/>
              <a:t>Highlights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026DB325-BC92-4102-887B-411BD4EE7F96}"/>
              </a:ext>
            </a:extLst>
          </p:cNvPr>
          <p:cNvSpPr txBox="1">
            <a:spLocks/>
          </p:cNvSpPr>
          <p:nvPr/>
        </p:nvSpPr>
        <p:spPr>
          <a:xfrm>
            <a:off x="614938" y="1673021"/>
            <a:ext cx="10085146" cy="2505853"/>
          </a:xfrm>
          <a:prstGeom prst="rect">
            <a:avLst/>
          </a:prstGeom>
        </p:spPr>
        <p:txBody>
          <a:bodyPr>
            <a:normAutofit/>
          </a:bodyPr>
          <a:lstStyle>
            <a:lvl1pPr marL="184150" indent="-1841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charset="0"/>
              <a:buChar char="•"/>
              <a:tabLst/>
              <a:defRPr sz="17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623888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90000"/>
              <a:buFont typeface="Arial" charset="0"/>
              <a:buChar char="•"/>
              <a:tabLst/>
              <a:defRPr sz="15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2pPr>
            <a:lvl3pPr marL="1071563" indent="-1571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3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3pPr>
            <a:lvl4pPr marL="1558925" indent="-1873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2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4pPr>
            <a:lvl5pPr marL="2000250" indent="-1714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1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50" marR="0" lvl="1" indent="-1841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7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Puzzel</a:t>
            </a:r>
            <a:r>
              <a:rPr kumimoji="0" lang="en-GB" sz="17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 4 years in a row in the Gartner‘s Magic Quadrant for </a:t>
            </a:r>
            <a:r>
              <a:rPr kumimoji="0" lang="en-GB" sz="17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CCaaS</a:t>
            </a:r>
            <a:r>
              <a:rPr kumimoji="0" lang="en-GB" sz="17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*</a:t>
            </a:r>
          </a:p>
          <a:p>
            <a:pPr marL="184150" marR="0" lvl="1" indent="-1841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" sz="17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Pricing, understanding of business requirements and functional capabilities</a:t>
            </a:r>
            <a:endParaRPr kumimoji="0" lang="en-GB" sz="1700" b="0" i="0" u="none" strike="noStrike" kern="120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charset="0"/>
            </a:endParaRPr>
          </a:p>
          <a:p>
            <a:pPr marL="184150" marR="0" lvl="1" indent="-1841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" sz="17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Easy to configure advanced omni-channel solutions</a:t>
            </a:r>
            <a:endParaRPr kumimoji="0" lang="en-GB" sz="1700" b="0" i="0" u="none" strike="noStrike" kern="120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charset="0"/>
            </a:endParaRPr>
          </a:p>
          <a:p>
            <a:pPr marL="184150" marR="0" lvl="1" indent="-1841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" sz="17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Successful execution of rebrand strategy and ability to demonstrate the value of the </a:t>
            </a:r>
            <a:r>
              <a:rPr kumimoji="0" lang="en" sz="17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CCaaS</a:t>
            </a:r>
            <a:r>
              <a:rPr kumimoji="0" lang="en" sz="17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 solution</a:t>
            </a:r>
            <a:endParaRPr kumimoji="0" lang="en-GB" sz="1700" b="0" i="0" u="none" strike="noStrike" kern="120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88EAA8-D644-4F54-A17C-C45228F5C0FA}"/>
              </a:ext>
            </a:extLst>
          </p:cNvPr>
          <p:cNvSpPr txBox="1"/>
          <p:nvPr/>
        </p:nvSpPr>
        <p:spPr>
          <a:xfrm>
            <a:off x="283465" y="6439743"/>
            <a:ext cx="2245980" cy="41825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74747"/>
              </a:buClr>
              <a:buSzPct val="100000"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Source: *</a:t>
            </a:r>
            <a:r>
              <a:rPr kumimoji="0" lang="en" sz="700" b="0" i="0" u="none" strike="noStrike" kern="1200" cap="none" spc="0" normalizeH="0" baseline="0" noProof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Reference to the 2018 version of the report.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74747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74747"/>
              </a:buClr>
              <a:buSzPct val="100000"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74747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C313492-7132-074F-A950-AA62F5979150}"/>
              </a:ext>
            </a:extLst>
          </p:cNvPr>
          <p:cNvGrpSpPr/>
          <p:nvPr/>
        </p:nvGrpSpPr>
        <p:grpSpPr>
          <a:xfrm>
            <a:off x="2277552" y="4178271"/>
            <a:ext cx="1766539" cy="1706756"/>
            <a:chOff x="2287177" y="4334133"/>
            <a:chExt cx="1766539" cy="1706756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F4D13AB-A111-F14B-8483-235097214CB2}"/>
                </a:ext>
              </a:extLst>
            </p:cNvPr>
            <p:cNvGrpSpPr/>
            <p:nvPr/>
          </p:nvGrpSpPr>
          <p:grpSpPr>
            <a:xfrm>
              <a:off x="2287177" y="4334133"/>
              <a:ext cx="1766539" cy="1706756"/>
              <a:chOff x="370855" y="2831148"/>
              <a:chExt cx="978136" cy="945034"/>
            </a:xfrm>
          </p:grpSpPr>
          <p:sp>
            <p:nvSpPr>
              <p:cNvPr id="9" name="Rounded Rectangle 8">
                <a:extLst>
                  <a:ext uri="{FF2B5EF4-FFF2-40B4-BE49-F238E27FC236}">
                    <a16:creationId xmlns:a16="http://schemas.microsoft.com/office/drawing/2014/main" id="{2776680C-35EB-5140-862F-F53247037381}"/>
                  </a:ext>
                </a:extLst>
              </p:cNvPr>
              <p:cNvSpPr/>
              <p:nvPr/>
            </p:nvSpPr>
            <p:spPr>
              <a:xfrm>
                <a:off x="409500" y="2831148"/>
                <a:ext cx="893138" cy="945034"/>
              </a:xfrm>
              <a:prstGeom prst="roundRect">
                <a:avLst>
                  <a:gd name="adj" fmla="val 8774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C374347-69A9-6249-B007-C4F8F7A59B31}"/>
                  </a:ext>
                </a:extLst>
              </p:cNvPr>
              <p:cNvSpPr txBox="1"/>
              <p:nvPr/>
            </p:nvSpPr>
            <p:spPr>
              <a:xfrm>
                <a:off x="370855" y="2849040"/>
                <a:ext cx="978136" cy="4601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4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rPr>
                  <a:t>20</a:t>
                </a:r>
                <a:r>
                  <a:rPr kumimoji="0" lang="en-GB" sz="3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rPr>
                  <a:t>+</a:t>
                </a:r>
                <a:endParaRPr kumimoji="0" lang="en-GB" sz="4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A4806DD-4CE8-7F40-A831-2D7676E81EF4}"/>
                  </a:ext>
                </a:extLst>
              </p:cNvPr>
              <p:cNvSpPr txBox="1"/>
              <p:nvPr/>
            </p:nvSpPr>
            <p:spPr>
              <a:xfrm>
                <a:off x="370855" y="3322156"/>
                <a:ext cx="978136" cy="4090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8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rPr>
                  <a:t>Years</a:t>
                </a:r>
                <a:endPara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rPr>
                  <a:t>Experience</a:t>
                </a:r>
                <a:endPara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8C7A8F5-708D-AC4F-8096-2EDA758D63ED}"/>
                </a:ext>
              </a:extLst>
            </p:cNvPr>
            <p:cNvCxnSpPr>
              <a:cxnSpLocks/>
            </p:cNvCxnSpPr>
            <p:nvPr/>
          </p:nvCxnSpPr>
          <p:spPr>
            <a:xfrm>
              <a:off x="2356971" y="5187511"/>
              <a:ext cx="161303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C547C22-88AD-AE4D-8D40-5CA1EA10CCA6}"/>
              </a:ext>
            </a:extLst>
          </p:cNvPr>
          <p:cNvGrpSpPr/>
          <p:nvPr/>
        </p:nvGrpSpPr>
        <p:grpSpPr>
          <a:xfrm>
            <a:off x="4030170" y="4178271"/>
            <a:ext cx="1766539" cy="1706756"/>
            <a:chOff x="370855" y="2831148"/>
            <a:chExt cx="978136" cy="945034"/>
          </a:xfrm>
        </p:grpSpPr>
        <p:sp>
          <p:nvSpPr>
            <p:cNvPr id="23" name="Rounded Rectangle 22">
              <a:extLst>
                <a:ext uri="{FF2B5EF4-FFF2-40B4-BE49-F238E27FC236}">
                  <a16:creationId xmlns:a16="http://schemas.microsoft.com/office/drawing/2014/main" id="{E462C94E-37E7-B941-BDA9-F1F630858B8C}"/>
                </a:ext>
              </a:extLst>
            </p:cNvPr>
            <p:cNvSpPr/>
            <p:nvPr/>
          </p:nvSpPr>
          <p:spPr>
            <a:xfrm>
              <a:off x="409500" y="2831148"/>
              <a:ext cx="893138" cy="945034"/>
            </a:xfrm>
            <a:prstGeom prst="roundRect">
              <a:avLst>
                <a:gd name="adj" fmla="val 877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1614A65-8CF8-A64D-9950-024090C542A3}"/>
                </a:ext>
              </a:extLst>
            </p:cNvPr>
            <p:cNvSpPr txBox="1"/>
            <p:nvPr/>
          </p:nvSpPr>
          <p:spPr>
            <a:xfrm>
              <a:off x="370855" y="2849040"/>
              <a:ext cx="978136" cy="4601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900</a:t>
              </a:r>
              <a:r>
                <a:rPr kumimoji="0" lang="en-GB" sz="3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+</a:t>
              </a:r>
              <a:endParaRPr kumimoji="0" lang="en-GB" sz="4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C2B91C8-8ADE-F14A-9939-71596506E817}"/>
                </a:ext>
              </a:extLst>
            </p:cNvPr>
            <p:cNvSpPr txBox="1"/>
            <p:nvPr/>
          </p:nvSpPr>
          <p:spPr>
            <a:xfrm>
              <a:off x="370855" y="3411882"/>
              <a:ext cx="978136" cy="2215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Customers</a:t>
              </a:r>
            </a:p>
          </p:txBody>
        </p:sp>
      </p:grp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920B3C4-6EC7-A345-82E0-1C1E134A02AC}"/>
              </a:ext>
            </a:extLst>
          </p:cNvPr>
          <p:cNvCxnSpPr>
            <a:cxnSpLocks/>
          </p:cNvCxnSpPr>
          <p:nvPr/>
        </p:nvCxnSpPr>
        <p:spPr>
          <a:xfrm>
            <a:off x="4099964" y="5031649"/>
            <a:ext cx="161303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5186BB8-1B2E-DF4E-AE07-5C5E4CB5473C}"/>
              </a:ext>
            </a:extLst>
          </p:cNvPr>
          <p:cNvGrpSpPr/>
          <p:nvPr/>
        </p:nvGrpSpPr>
        <p:grpSpPr>
          <a:xfrm>
            <a:off x="5782788" y="4178271"/>
            <a:ext cx="1766539" cy="1706756"/>
            <a:chOff x="5792413" y="4334133"/>
            <a:chExt cx="1766539" cy="1706756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2ED80F3B-1EDB-D640-B0AF-F291CC8F1412}"/>
                </a:ext>
              </a:extLst>
            </p:cNvPr>
            <p:cNvGrpSpPr/>
            <p:nvPr/>
          </p:nvGrpSpPr>
          <p:grpSpPr>
            <a:xfrm>
              <a:off x="5792413" y="4334133"/>
              <a:ext cx="1766539" cy="1706756"/>
              <a:chOff x="370855" y="2831148"/>
              <a:chExt cx="978136" cy="945034"/>
            </a:xfrm>
          </p:grpSpPr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FE9F7083-CA15-6144-8EEC-36653EFC7CEB}"/>
                  </a:ext>
                </a:extLst>
              </p:cNvPr>
              <p:cNvSpPr/>
              <p:nvPr/>
            </p:nvSpPr>
            <p:spPr>
              <a:xfrm>
                <a:off x="409500" y="2831148"/>
                <a:ext cx="893138" cy="945034"/>
              </a:xfrm>
              <a:prstGeom prst="roundRect">
                <a:avLst>
                  <a:gd name="adj" fmla="val 8774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9F7FEE3-BE21-2C40-A5F7-43B9ABDF5E02}"/>
                  </a:ext>
                </a:extLst>
              </p:cNvPr>
              <p:cNvSpPr txBox="1"/>
              <p:nvPr/>
            </p:nvSpPr>
            <p:spPr>
              <a:xfrm>
                <a:off x="370855" y="2849040"/>
                <a:ext cx="978136" cy="4601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4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rPr>
                  <a:t>25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738E06FD-FFE1-1245-B62B-46C3E9880E34}"/>
                  </a:ext>
                </a:extLst>
              </p:cNvPr>
              <p:cNvSpPr txBox="1"/>
              <p:nvPr/>
            </p:nvSpPr>
            <p:spPr>
              <a:xfrm>
                <a:off x="370855" y="3411882"/>
                <a:ext cx="978136" cy="2215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rPr>
                  <a:t>Countries</a:t>
                </a:r>
              </a:p>
            </p:txBody>
          </p:sp>
        </p:grp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A290A4C4-2509-B64A-96CB-2EC037BC6215}"/>
                </a:ext>
              </a:extLst>
            </p:cNvPr>
            <p:cNvCxnSpPr>
              <a:cxnSpLocks/>
            </p:cNvCxnSpPr>
            <p:nvPr/>
          </p:nvCxnSpPr>
          <p:spPr>
            <a:xfrm>
              <a:off x="5862207" y="5187511"/>
              <a:ext cx="1615678" cy="1569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65FAEEE-0183-DC41-82E0-2241A745CE02}"/>
              </a:ext>
            </a:extLst>
          </p:cNvPr>
          <p:cNvGrpSpPr/>
          <p:nvPr/>
        </p:nvGrpSpPr>
        <p:grpSpPr>
          <a:xfrm>
            <a:off x="7549327" y="4178271"/>
            <a:ext cx="1766539" cy="1706756"/>
            <a:chOff x="7558952" y="4334133"/>
            <a:chExt cx="1766539" cy="1706756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6EFAE461-206F-1745-B7E0-F356BB717C71}"/>
                </a:ext>
              </a:extLst>
            </p:cNvPr>
            <p:cNvGrpSpPr/>
            <p:nvPr/>
          </p:nvGrpSpPr>
          <p:grpSpPr>
            <a:xfrm>
              <a:off x="7558952" y="4334133"/>
              <a:ext cx="1766539" cy="1706756"/>
              <a:chOff x="370855" y="2831148"/>
              <a:chExt cx="978136" cy="945034"/>
            </a:xfrm>
          </p:grpSpPr>
          <p:sp>
            <p:nvSpPr>
              <p:cNvPr id="35" name="Rounded Rectangle 34">
                <a:extLst>
                  <a:ext uri="{FF2B5EF4-FFF2-40B4-BE49-F238E27FC236}">
                    <a16:creationId xmlns:a16="http://schemas.microsoft.com/office/drawing/2014/main" id="{B2A7F402-CACD-FC42-ACAC-1247F6388FDC}"/>
                  </a:ext>
                </a:extLst>
              </p:cNvPr>
              <p:cNvSpPr/>
              <p:nvPr/>
            </p:nvSpPr>
            <p:spPr>
              <a:xfrm>
                <a:off x="409500" y="2831148"/>
                <a:ext cx="893138" cy="945034"/>
              </a:xfrm>
              <a:prstGeom prst="roundRect">
                <a:avLst>
                  <a:gd name="adj" fmla="val 8774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0A1F7225-DA5B-0046-868E-EA3D187DBAA0}"/>
                  </a:ext>
                </a:extLst>
              </p:cNvPr>
              <p:cNvSpPr txBox="1"/>
              <p:nvPr/>
            </p:nvSpPr>
            <p:spPr>
              <a:xfrm>
                <a:off x="370855" y="2849040"/>
                <a:ext cx="978136" cy="4601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4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rPr>
                  <a:t>4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7EBAF475-E611-BD42-BF56-C0E30959893D}"/>
                  </a:ext>
                </a:extLst>
              </p:cNvPr>
              <p:cNvSpPr txBox="1"/>
              <p:nvPr/>
            </p:nvSpPr>
            <p:spPr>
              <a:xfrm>
                <a:off x="370855" y="3411882"/>
                <a:ext cx="978136" cy="2215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anklin Gothic Book" panose="020B0503020102020204"/>
                    <a:ea typeface="+mn-ea"/>
                    <a:cs typeface="+mn-cs"/>
                  </a:rPr>
                  <a:t>Continents</a:t>
                </a:r>
              </a:p>
            </p:txBody>
          </p:sp>
        </p:grp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4E0368C8-EDD6-0E42-9E09-BB0003B16203}"/>
                </a:ext>
              </a:extLst>
            </p:cNvPr>
            <p:cNvCxnSpPr>
              <a:cxnSpLocks/>
            </p:cNvCxnSpPr>
            <p:nvPr/>
          </p:nvCxnSpPr>
          <p:spPr>
            <a:xfrm>
              <a:off x="7628746" y="5187511"/>
              <a:ext cx="161303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07DDAC4E-581A-074C-84FE-7B265C1FBC56}"/>
              </a:ext>
            </a:extLst>
          </p:cNvPr>
          <p:cNvSpPr txBox="1"/>
          <p:nvPr/>
        </p:nvSpPr>
        <p:spPr>
          <a:xfrm>
            <a:off x="-468086" y="4898571"/>
            <a:ext cx="0" cy="0"/>
          </a:xfrm>
          <a:prstGeom prst="rect">
            <a:avLst/>
          </a:prstGeom>
          <a:noFill/>
        </p:spPr>
        <p:txBody>
          <a:bodyPr wrap="none" rtlCol="0">
            <a:normAutofit fontScale="250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err="1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594293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Elbow Connector 36"/>
          <p:cNvCxnSpPr>
            <a:cxnSpLocks/>
          </p:cNvCxnSpPr>
          <p:nvPr/>
        </p:nvCxnSpPr>
        <p:spPr>
          <a:xfrm rot="5400000">
            <a:off x="7982131" y="4102937"/>
            <a:ext cx="387005" cy="4293114"/>
          </a:xfrm>
          <a:prstGeom prst="bentConnector2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4" name="Elbow Connector 33"/>
          <p:cNvCxnSpPr>
            <a:cxnSpLocks/>
            <a:stCxn id="35" idx="2"/>
          </p:cNvCxnSpPr>
          <p:nvPr/>
        </p:nvCxnSpPr>
        <p:spPr>
          <a:xfrm rot="5400000">
            <a:off x="9563294" y="3146195"/>
            <a:ext cx="427436" cy="2481706"/>
          </a:xfrm>
          <a:prstGeom prst="bentConnector2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cxnSpLocks/>
            <a:stCxn id="33" idx="0"/>
          </p:cNvCxnSpPr>
          <p:nvPr/>
        </p:nvCxnSpPr>
        <p:spPr>
          <a:xfrm rot="16200000" flipH="1" flipV="1">
            <a:off x="8194063" y="-206697"/>
            <a:ext cx="350396" cy="3704718"/>
          </a:xfrm>
          <a:prstGeom prst="bentConnector4">
            <a:avLst>
              <a:gd name="adj1" fmla="val -65240"/>
              <a:gd name="adj2" fmla="val 63234"/>
            </a:avLst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Elbow Connector 3"/>
          <p:cNvCxnSpPr>
            <a:cxnSpLocks/>
          </p:cNvCxnSpPr>
          <p:nvPr/>
        </p:nvCxnSpPr>
        <p:spPr>
          <a:xfrm rot="16200000" flipH="1">
            <a:off x="2646068" y="452749"/>
            <a:ext cx="606018" cy="2692407"/>
          </a:xfrm>
          <a:prstGeom prst="bentConnector4">
            <a:avLst>
              <a:gd name="adj1" fmla="val -37722"/>
              <a:gd name="adj2" fmla="val 99643"/>
            </a:avLst>
          </a:prstGeom>
          <a:ln w="9525">
            <a:solidFill>
              <a:srgbClr val="F59C2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/>
          <p:cNvSpPr/>
          <p:nvPr/>
        </p:nvSpPr>
        <p:spPr>
          <a:xfrm>
            <a:off x="319475" y="4412912"/>
            <a:ext cx="1650622" cy="657283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99.99% Uptime, fully redundant </a:t>
            </a:r>
          </a:p>
        </p:txBody>
      </p:sp>
      <p:cxnSp>
        <p:nvCxnSpPr>
          <p:cNvPr id="31" name="Elbow Connector 30"/>
          <p:cNvCxnSpPr>
            <a:cxnSpLocks/>
          </p:cNvCxnSpPr>
          <p:nvPr/>
        </p:nvCxnSpPr>
        <p:spPr>
          <a:xfrm rot="5400000" flipH="1" flipV="1">
            <a:off x="1814209" y="3317663"/>
            <a:ext cx="425827" cy="1764672"/>
          </a:xfrm>
          <a:prstGeom prst="bentConnector2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y We Win?</a:t>
            </a:r>
          </a:p>
        </p:txBody>
      </p:sp>
      <p:sp>
        <p:nvSpPr>
          <p:cNvPr id="6" name="Freeform 71"/>
          <p:cNvSpPr>
            <a:spLocks/>
          </p:cNvSpPr>
          <p:nvPr/>
        </p:nvSpPr>
        <p:spPr bwMode="auto">
          <a:xfrm>
            <a:off x="2723330" y="1210096"/>
            <a:ext cx="3307241" cy="2503559"/>
          </a:xfrm>
          <a:custGeom>
            <a:avLst/>
            <a:gdLst>
              <a:gd name="T0" fmla="*/ 179 w 182"/>
              <a:gd name="T1" fmla="*/ 0 h 190"/>
              <a:gd name="T2" fmla="*/ 0 w 182"/>
              <a:gd name="T3" fmla="*/ 134 h 190"/>
              <a:gd name="T4" fmla="*/ 182 w 182"/>
              <a:gd name="T5" fmla="*/ 190 h 190"/>
              <a:gd name="T6" fmla="*/ 179 w 182"/>
              <a:gd name="T7" fmla="*/ 0 h 190"/>
              <a:gd name="T8" fmla="*/ 0 60000 65536"/>
              <a:gd name="T9" fmla="*/ 0 60000 65536"/>
              <a:gd name="T10" fmla="*/ 0 60000 65536"/>
              <a:gd name="T11" fmla="*/ 0 60000 65536"/>
              <a:gd name="T12" fmla="*/ 0 w 182"/>
              <a:gd name="T13" fmla="*/ 0 h 190"/>
              <a:gd name="T14" fmla="*/ 182 w 182"/>
              <a:gd name="T15" fmla="*/ 190 h 19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2" h="190">
                <a:moveTo>
                  <a:pt x="179" y="0"/>
                </a:moveTo>
                <a:cubicBezTo>
                  <a:pt x="96" y="1"/>
                  <a:pt x="24" y="55"/>
                  <a:pt x="0" y="134"/>
                </a:cubicBezTo>
                <a:lnTo>
                  <a:pt x="182" y="190"/>
                </a:lnTo>
                <a:lnTo>
                  <a:pt x="179" y="0"/>
                </a:lnTo>
                <a:close/>
              </a:path>
            </a:pathLst>
          </a:custGeom>
          <a:solidFill>
            <a:schemeClr val="accent4"/>
          </a:solidFill>
          <a:ln w="60325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7" name="Freeform 82"/>
          <p:cNvSpPr>
            <a:spLocks/>
          </p:cNvSpPr>
          <p:nvPr/>
        </p:nvSpPr>
        <p:spPr bwMode="auto">
          <a:xfrm>
            <a:off x="5975643" y="1197086"/>
            <a:ext cx="3307241" cy="2516568"/>
          </a:xfrm>
          <a:custGeom>
            <a:avLst/>
            <a:gdLst>
              <a:gd name="T0" fmla="*/ 182 w 182"/>
              <a:gd name="T1" fmla="*/ 129 h 191"/>
              <a:gd name="T2" fmla="*/ 3 w 182"/>
              <a:gd name="T3" fmla="*/ 1 h 191"/>
              <a:gd name="T4" fmla="*/ 0 w 182"/>
              <a:gd name="T5" fmla="*/ 1 h 191"/>
              <a:gd name="T6" fmla="*/ 3 w 182"/>
              <a:gd name="T7" fmla="*/ 191 h 191"/>
              <a:gd name="T8" fmla="*/ 182 w 182"/>
              <a:gd name="T9" fmla="*/ 129 h 19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2"/>
              <a:gd name="T16" fmla="*/ 0 h 191"/>
              <a:gd name="T17" fmla="*/ 182 w 182"/>
              <a:gd name="T18" fmla="*/ 191 h 19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2" h="191">
                <a:moveTo>
                  <a:pt x="182" y="129"/>
                </a:moveTo>
                <a:cubicBezTo>
                  <a:pt x="156" y="52"/>
                  <a:pt x="84" y="1"/>
                  <a:pt x="3" y="1"/>
                </a:cubicBezTo>
                <a:cubicBezTo>
                  <a:pt x="2" y="0"/>
                  <a:pt x="1" y="1"/>
                  <a:pt x="0" y="1"/>
                </a:cubicBezTo>
                <a:lnTo>
                  <a:pt x="3" y="191"/>
                </a:lnTo>
                <a:lnTo>
                  <a:pt x="182" y="129"/>
                </a:lnTo>
                <a:close/>
              </a:path>
            </a:pathLst>
          </a:custGeom>
          <a:solidFill>
            <a:schemeClr val="accent5"/>
          </a:solidFill>
          <a:ln w="60325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8" name="Freeform 93"/>
          <p:cNvSpPr>
            <a:spLocks/>
          </p:cNvSpPr>
          <p:nvPr/>
        </p:nvSpPr>
        <p:spPr bwMode="auto">
          <a:xfrm>
            <a:off x="6030571" y="2896962"/>
            <a:ext cx="3451789" cy="2807108"/>
          </a:xfrm>
          <a:custGeom>
            <a:avLst/>
            <a:gdLst>
              <a:gd name="T0" fmla="*/ 113 w 190"/>
              <a:gd name="T1" fmla="*/ 213 h 213"/>
              <a:gd name="T2" fmla="*/ 190 w 190"/>
              <a:gd name="T3" fmla="*/ 62 h 213"/>
              <a:gd name="T4" fmla="*/ 179 w 190"/>
              <a:gd name="T5" fmla="*/ 0 h 213"/>
              <a:gd name="T6" fmla="*/ 0 w 190"/>
              <a:gd name="T7" fmla="*/ 62 h 213"/>
              <a:gd name="T8" fmla="*/ 113 w 190"/>
              <a:gd name="T9" fmla="*/ 213 h 2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90"/>
              <a:gd name="T16" fmla="*/ 0 h 213"/>
              <a:gd name="T17" fmla="*/ 190 w 190"/>
              <a:gd name="T18" fmla="*/ 213 h 2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90" h="213">
                <a:moveTo>
                  <a:pt x="113" y="213"/>
                </a:moveTo>
                <a:cubicBezTo>
                  <a:pt x="161" y="178"/>
                  <a:pt x="190" y="121"/>
                  <a:pt x="190" y="62"/>
                </a:cubicBezTo>
                <a:cubicBezTo>
                  <a:pt x="190" y="40"/>
                  <a:pt x="186" y="20"/>
                  <a:pt x="179" y="0"/>
                </a:cubicBezTo>
                <a:lnTo>
                  <a:pt x="0" y="62"/>
                </a:lnTo>
                <a:lnTo>
                  <a:pt x="113" y="213"/>
                </a:lnTo>
                <a:close/>
              </a:path>
            </a:pathLst>
          </a:custGeom>
          <a:solidFill>
            <a:schemeClr val="accent6"/>
          </a:solidFill>
          <a:ln w="60325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9" name="Freeform 104"/>
          <p:cNvSpPr>
            <a:spLocks/>
          </p:cNvSpPr>
          <p:nvPr/>
        </p:nvSpPr>
        <p:spPr bwMode="auto">
          <a:xfrm>
            <a:off x="4050274" y="3713654"/>
            <a:ext cx="4051660" cy="2491995"/>
          </a:xfrm>
          <a:custGeom>
            <a:avLst/>
            <a:gdLst>
              <a:gd name="T0" fmla="*/ 0 w 223"/>
              <a:gd name="T1" fmla="*/ 155 h 189"/>
              <a:gd name="T2" fmla="*/ 109 w 223"/>
              <a:gd name="T3" fmla="*/ 189 h 189"/>
              <a:gd name="T4" fmla="*/ 223 w 223"/>
              <a:gd name="T5" fmla="*/ 151 h 189"/>
              <a:gd name="T6" fmla="*/ 109 w 223"/>
              <a:gd name="T7" fmla="*/ 0 h 189"/>
              <a:gd name="T8" fmla="*/ 0 w 223"/>
              <a:gd name="T9" fmla="*/ 155 h 18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23"/>
              <a:gd name="T16" fmla="*/ 0 h 189"/>
              <a:gd name="T17" fmla="*/ 223 w 223"/>
              <a:gd name="T18" fmla="*/ 189 h 18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23" h="189">
                <a:moveTo>
                  <a:pt x="0" y="155"/>
                </a:moveTo>
                <a:cubicBezTo>
                  <a:pt x="32" y="178"/>
                  <a:pt x="70" y="189"/>
                  <a:pt x="109" y="189"/>
                </a:cubicBezTo>
                <a:cubicBezTo>
                  <a:pt x="150" y="189"/>
                  <a:pt x="190" y="176"/>
                  <a:pt x="223" y="151"/>
                </a:cubicBezTo>
                <a:lnTo>
                  <a:pt x="109" y="0"/>
                </a:lnTo>
                <a:lnTo>
                  <a:pt x="0" y="155"/>
                </a:lnTo>
                <a:close/>
              </a:path>
            </a:pathLst>
          </a:custGeom>
          <a:solidFill>
            <a:schemeClr val="accent2"/>
          </a:solidFill>
          <a:ln w="60325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10" name="Freeform 115"/>
          <p:cNvSpPr>
            <a:spLocks/>
          </p:cNvSpPr>
          <p:nvPr/>
        </p:nvSpPr>
        <p:spPr bwMode="auto">
          <a:xfrm>
            <a:off x="2559992" y="2976463"/>
            <a:ext cx="3470579" cy="2781089"/>
          </a:xfrm>
          <a:custGeom>
            <a:avLst/>
            <a:gdLst>
              <a:gd name="T0" fmla="*/ 9 w 191"/>
              <a:gd name="T1" fmla="*/ 0 h 211"/>
              <a:gd name="T2" fmla="*/ 1 w 191"/>
              <a:gd name="T3" fmla="*/ 55 h 211"/>
              <a:gd name="T4" fmla="*/ 82 w 191"/>
              <a:gd name="T5" fmla="*/ 211 h 211"/>
              <a:gd name="T6" fmla="*/ 191 w 191"/>
              <a:gd name="T7" fmla="*/ 56 h 211"/>
              <a:gd name="T8" fmla="*/ 9 w 191"/>
              <a:gd name="T9" fmla="*/ 0 h 2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91"/>
              <a:gd name="T16" fmla="*/ 0 h 211"/>
              <a:gd name="T17" fmla="*/ 191 w 191"/>
              <a:gd name="T18" fmla="*/ 211 h 2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91" h="211">
                <a:moveTo>
                  <a:pt x="9" y="0"/>
                </a:moveTo>
                <a:cubicBezTo>
                  <a:pt x="3" y="18"/>
                  <a:pt x="1" y="37"/>
                  <a:pt x="1" y="55"/>
                </a:cubicBezTo>
                <a:cubicBezTo>
                  <a:pt x="0" y="118"/>
                  <a:pt x="31" y="176"/>
                  <a:pt x="82" y="211"/>
                </a:cubicBezTo>
                <a:lnTo>
                  <a:pt x="191" y="56"/>
                </a:lnTo>
                <a:lnTo>
                  <a:pt x="9" y="0"/>
                </a:lnTo>
                <a:close/>
              </a:path>
            </a:pathLst>
          </a:custGeom>
          <a:solidFill>
            <a:schemeClr val="accent3"/>
          </a:solidFill>
          <a:ln w="60325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11" name="Oval 46"/>
          <p:cNvSpPr>
            <a:spLocks noChangeArrowheads="1"/>
          </p:cNvSpPr>
          <p:nvPr/>
        </p:nvSpPr>
        <p:spPr bwMode="auto">
          <a:xfrm>
            <a:off x="5093801" y="2721086"/>
            <a:ext cx="1817368" cy="1867069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72F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97621" y="3037609"/>
            <a:ext cx="1009729" cy="1219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Content Placeholder 2"/>
          <p:cNvSpPr txBox="1">
            <a:spLocks/>
          </p:cNvSpPr>
          <p:nvPr/>
        </p:nvSpPr>
        <p:spPr>
          <a:xfrm>
            <a:off x="3300211" y="2218460"/>
            <a:ext cx="2615644" cy="425828"/>
          </a:xfrm>
          <a:prstGeom prst="rect">
            <a:avLst/>
          </a:prstGeom>
          <a:noFill/>
        </p:spPr>
        <p:txBody>
          <a:bodyPr vert="horz" lIns="91440" tIns="91440" rIns="91440" bIns="91440" rtlCol="0">
            <a:no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Wingdings" panose="05000000000000000000" pitchFamily="2" charset="2"/>
              <a:buChar char="n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8975" indent="-2936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2349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5388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Wingdings" panose="05000000000000000000" pitchFamily="2" charset="2"/>
              <a:buChar char="l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9075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Arial" panose="020B0604020202020204" pitchFamily="34" charset="0"/>
              </a:rPr>
              <a:t>Total cost of ownership</a:t>
            </a:r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6190612" y="2214355"/>
            <a:ext cx="2186882" cy="434039"/>
          </a:xfrm>
          <a:prstGeom prst="rect">
            <a:avLst/>
          </a:prstGeom>
          <a:noFill/>
        </p:spPr>
        <p:txBody>
          <a:bodyPr vert="horz" lIns="91440" tIns="91440" rIns="91440" bIns="91440" rtlCol="0">
            <a:norm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Wingdings" panose="05000000000000000000" pitchFamily="2" charset="2"/>
              <a:buChar char="n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8975" indent="-2936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2349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5388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Wingdings" panose="05000000000000000000" pitchFamily="2" charset="2"/>
              <a:buChar char="l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9075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Arial" panose="020B0604020202020204" pitchFamily="34" charset="0"/>
              </a:rPr>
              <a:t>Omni-channel</a:t>
            </a:r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7211520" y="3905194"/>
            <a:ext cx="1817368" cy="425828"/>
          </a:xfrm>
          <a:prstGeom prst="rect">
            <a:avLst/>
          </a:prstGeom>
          <a:noFill/>
        </p:spPr>
        <p:txBody>
          <a:bodyPr vert="horz" lIns="91440" tIns="91440" rIns="91440" bIns="91440" rtlCol="0">
            <a:no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Wingdings" panose="05000000000000000000" pitchFamily="2" charset="2"/>
              <a:buChar char="n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8975" indent="-2936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2349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5388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Wingdings" panose="05000000000000000000" pitchFamily="2" charset="2"/>
              <a:buChar char="l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9075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Arial" panose="020B0604020202020204" pitchFamily="34" charset="0"/>
              </a:rPr>
              <a:t>Collaboration</a:t>
            </a:r>
          </a:p>
        </p:txBody>
      </p:sp>
      <p:sp>
        <p:nvSpPr>
          <p:cNvPr id="17" name="Content Placeholder 2"/>
          <p:cNvSpPr txBox="1">
            <a:spLocks/>
          </p:cNvSpPr>
          <p:nvPr/>
        </p:nvSpPr>
        <p:spPr>
          <a:xfrm>
            <a:off x="3359998" y="3905194"/>
            <a:ext cx="1380551" cy="425828"/>
          </a:xfrm>
          <a:prstGeom prst="rect">
            <a:avLst/>
          </a:prstGeom>
          <a:noFill/>
        </p:spPr>
        <p:txBody>
          <a:bodyPr vert="horz" wrap="none" lIns="91440" tIns="91440" rIns="91440" bIns="91440" rtlCol="0">
            <a:no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Wingdings" panose="05000000000000000000" pitchFamily="2" charset="2"/>
              <a:buChar char="n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8975" indent="-2936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2349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5388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Wingdings" panose="05000000000000000000" pitchFamily="2" charset="2"/>
              <a:buChar char="l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9075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Arial" panose="020B0604020202020204" pitchFamily="34" charset="0"/>
              </a:rPr>
              <a:t>Reliable &amp; Secure</a:t>
            </a:r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5009345" y="5159486"/>
            <a:ext cx="1986280" cy="425828"/>
          </a:xfrm>
          <a:prstGeom prst="rect">
            <a:avLst/>
          </a:prstGeom>
          <a:noFill/>
        </p:spPr>
        <p:txBody>
          <a:bodyPr vert="horz" wrap="none" lIns="91440" tIns="91440" rIns="91440" bIns="91440" rtlCol="0">
            <a:no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Wingdings" panose="05000000000000000000" pitchFamily="2" charset="2"/>
              <a:buChar char="n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8975" indent="-2936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2349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5388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Wingdings" panose="05000000000000000000" pitchFamily="2" charset="2"/>
              <a:buChar char="l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9075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15A40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Arial" panose="020B0604020202020204" pitchFamily="34" charset="0"/>
              </a:rPr>
              <a:t>Customer success</a:t>
            </a:r>
          </a:p>
        </p:txBody>
      </p:sp>
      <p:sp>
        <p:nvSpPr>
          <p:cNvPr id="22" name="Rounded Rectangle 21"/>
          <p:cNvSpPr>
            <a:spLocks/>
          </p:cNvSpPr>
          <p:nvPr/>
        </p:nvSpPr>
        <p:spPr>
          <a:xfrm>
            <a:off x="777563" y="1495943"/>
            <a:ext cx="1650622" cy="745084"/>
          </a:xfrm>
          <a:prstGeom prst="roundRect">
            <a:avLst/>
          </a:prstGeom>
          <a:solidFill>
            <a:schemeClr val="accent4"/>
          </a:solidFill>
          <a:ln cap="flat">
            <a:solidFill>
              <a:srgbClr val="F59C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elf service and 100% multi-tenant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9241077" y="1470464"/>
            <a:ext cx="1961086" cy="790946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Unified native support for all channels with own IP</a:t>
            </a:r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10139386" y="2721086"/>
            <a:ext cx="1756958" cy="1452244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Flexible API an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e-packaged integrations extends market reach and provides turn-key solutions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9445206" y="5341723"/>
            <a:ext cx="1756957" cy="71427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Marked leading logos, reference stories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5E0B177-3651-4C90-9AB9-A762529BF2D9}"/>
              </a:ext>
            </a:extLst>
          </p:cNvPr>
          <p:cNvCxnSpPr>
            <a:cxnSpLocks/>
            <a:stCxn id="9" idx="1"/>
          </p:cNvCxnSpPr>
          <p:nvPr/>
        </p:nvCxnSpPr>
        <p:spPr>
          <a:xfrm flipH="1">
            <a:off x="6029076" y="6205649"/>
            <a:ext cx="1606" cy="237348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84507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A919A9-C27B-4752-AEAA-50DF12D01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GB" sz="8000"/>
              <a:t>Core slides </a:t>
            </a:r>
            <a:br>
              <a:rPr lang="en-GB" sz="8000"/>
            </a:br>
            <a:r>
              <a:rPr lang="en-GB" sz="5300"/>
              <a:t>Puzzel Contact Centre</a:t>
            </a:r>
            <a:endParaRPr lang="nb-NO" sz="5300"/>
          </a:p>
        </p:txBody>
      </p:sp>
    </p:spTree>
    <p:extLst>
      <p:ext uri="{BB962C8B-B14F-4D97-AF65-F5344CB8AC3E}">
        <p14:creationId xmlns:p14="http://schemas.microsoft.com/office/powerpoint/2010/main" val="17931673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E7937B-590D-0541-AF2E-7C35A1A0F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000">
                <a:solidFill>
                  <a:srgbClr val="EB1562"/>
                </a:solidFill>
              </a:rPr>
              <a:t>Unified comprehensive offering</a:t>
            </a:r>
            <a:endParaRPr lang="nb-NO" sz="300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AACB22F-2F7C-4A57-B577-35339D22CB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1153" y="755130"/>
            <a:ext cx="10033353" cy="396679"/>
          </a:xfrm>
        </p:spPr>
        <p:txBody>
          <a:bodyPr/>
          <a:lstStyle/>
          <a:p>
            <a:r>
              <a:rPr lang="en-GB"/>
              <a:t>Tailored to solve customer interactions</a:t>
            </a:r>
            <a:endParaRPr lang="nb-NO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0D02930-D0BE-E249-BA94-F9402A5F51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6575" y="3196138"/>
            <a:ext cx="2497931" cy="270404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7EF3866-8E2F-AE41-8C7D-14FC709BFC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8800" y="1733014"/>
            <a:ext cx="748098" cy="74809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CC64D4C8-88BE-544F-B1F7-4AED7A4754E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9066" y="1733014"/>
            <a:ext cx="753366" cy="74809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75E6D1DA-75B8-BB4C-AFBA-8777EDA7B9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4600" y="1733014"/>
            <a:ext cx="753366" cy="74809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9E25B8A-6339-964F-963F-DDA6BA6BD9B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134" y="1733014"/>
            <a:ext cx="753366" cy="74809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3469018-22D0-4E42-BF4F-0A8CB38DBFA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5668" y="1733014"/>
            <a:ext cx="748098" cy="748098"/>
          </a:xfrm>
          <a:prstGeom prst="rect">
            <a:avLst/>
          </a:prstGeom>
        </p:spPr>
      </p:pic>
      <p:grpSp>
        <p:nvGrpSpPr>
          <p:cNvPr id="53" name="Group 52">
            <a:extLst>
              <a:ext uri="{FF2B5EF4-FFF2-40B4-BE49-F238E27FC236}">
                <a16:creationId xmlns:a16="http://schemas.microsoft.com/office/drawing/2014/main" id="{CA1AB36C-8D7C-634E-9C46-BC8024A21C3A}"/>
              </a:ext>
            </a:extLst>
          </p:cNvPr>
          <p:cNvGrpSpPr/>
          <p:nvPr/>
        </p:nvGrpSpPr>
        <p:grpSpPr>
          <a:xfrm>
            <a:off x="-145413" y="1674696"/>
            <a:ext cx="4921672" cy="4225485"/>
            <a:chOff x="-145413" y="1674696"/>
            <a:chExt cx="4921672" cy="4225485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932CCB1-8DE0-1641-9A8E-BF9CB72799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06" t="1" r="5057" b="35220"/>
            <a:stretch/>
          </p:blipFill>
          <p:spPr>
            <a:xfrm>
              <a:off x="-145413" y="1674696"/>
              <a:ext cx="4921672" cy="3749845"/>
            </a:xfrm>
            <a:prstGeom prst="rect">
              <a:avLst/>
            </a:prstGeom>
          </p:spPr>
        </p:pic>
        <p:sp>
          <p:nvSpPr>
            <p:cNvPr id="30" name="Text Placeholder 15">
              <a:extLst>
                <a:ext uri="{FF2B5EF4-FFF2-40B4-BE49-F238E27FC236}">
                  <a16:creationId xmlns:a16="http://schemas.microsoft.com/office/drawing/2014/main" id="{4AF2A5DE-D1E0-FB42-9ED4-4C722FEA9B79}"/>
                </a:ext>
              </a:extLst>
            </p:cNvPr>
            <p:cNvSpPr txBox="1">
              <a:spLocks/>
            </p:cNvSpPr>
            <p:nvPr/>
          </p:nvSpPr>
          <p:spPr>
            <a:xfrm>
              <a:off x="923234" y="5424541"/>
              <a:ext cx="3565902" cy="475640"/>
            </a:xfrm>
            <a:prstGeom prst="rect">
              <a:avLst/>
            </a:prstGeom>
          </p:spPr>
          <p:txBody>
            <a:bodyPr vert="horz" lIns="0" tIns="45720" rIns="91440" bIns="45720" rtlCol="0" anchor="t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Clr>
                  <a:schemeClr val="tx2"/>
                </a:buClr>
                <a:buSzPct val="100000"/>
                <a:buFontTx/>
                <a:buNone/>
                <a:tabLst/>
                <a:defRPr sz="2000" b="1" i="0" kern="1200" baseline="0">
                  <a:solidFill>
                    <a:schemeClr val="tx1"/>
                  </a:solidFill>
                  <a:latin typeface="Arial Rounded MT Bold" charset="0"/>
                  <a:ea typeface="Arial Rounded MT Bold" charset="0"/>
                  <a:cs typeface="Arial Rounded MT Bold" charset="0"/>
                </a:defRPr>
              </a:lvl1pPr>
              <a:lvl2pPr marL="4572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rgbClr val="575D6B"/>
                </a:buClr>
                <a:buSzPct val="90000"/>
                <a:buFontTx/>
                <a:buNone/>
                <a:tabLst/>
                <a:defRPr sz="1500" b="0" kern="1200" baseline="0">
                  <a:solidFill>
                    <a:schemeClr val="tx1"/>
                  </a:solidFill>
                  <a:latin typeface="Franklin Gothic Book" charset="0"/>
                  <a:ea typeface="Franklin Gothic Book" charset="0"/>
                  <a:cs typeface="Franklin Gothic Book" charset="0"/>
                </a:defRPr>
              </a:lvl2pPr>
              <a:lvl3pPr marL="9144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rgbClr val="575D6B"/>
                </a:buClr>
                <a:buSzPct val="110000"/>
                <a:buFontTx/>
                <a:buNone/>
                <a:tabLst/>
                <a:defRPr sz="1300" b="0" kern="1200" baseline="0">
                  <a:solidFill>
                    <a:schemeClr val="tx1"/>
                  </a:solidFill>
                  <a:latin typeface="Franklin Gothic Book" charset="0"/>
                  <a:ea typeface="Franklin Gothic Book" charset="0"/>
                  <a:cs typeface="Franklin Gothic Book" charset="0"/>
                </a:defRPr>
              </a:lvl3pPr>
              <a:lvl4pPr marL="13716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rgbClr val="575D6B"/>
                </a:buClr>
                <a:buSzPct val="110000"/>
                <a:buFontTx/>
                <a:buNone/>
                <a:tabLst/>
                <a:defRPr sz="1200" b="0" kern="1200" baseline="0">
                  <a:solidFill>
                    <a:schemeClr val="tx1"/>
                  </a:solidFill>
                  <a:latin typeface="Franklin Gothic Book" charset="0"/>
                  <a:ea typeface="Franklin Gothic Book" charset="0"/>
                  <a:cs typeface="Franklin Gothic Book" charset="0"/>
                </a:defRPr>
              </a:lvl4pPr>
              <a:lvl5pPr marL="18288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rgbClr val="575D6B"/>
                </a:buClr>
                <a:buSzPct val="110000"/>
                <a:buFontTx/>
                <a:buNone/>
                <a:tabLst/>
                <a:defRPr sz="1100" b="0" kern="1200" baseline="0">
                  <a:solidFill>
                    <a:schemeClr val="tx1"/>
                  </a:solidFill>
                  <a:latin typeface="Franklin Gothic Book" charset="0"/>
                  <a:ea typeface="Franklin Gothic Book" charset="0"/>
                  <a:cs typeface="Franklin Gothic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EB1562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Arial Rounded MT Bold" charset="0"/>
                </a:rPr>
                <a:t>Cloud Contact Centre</a:t>
              </a:r>
              <a:endParaRPr kumimoji="0" lang="nb-NO" sz="2400" b="1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Arial Rounded MT Bold" charset="0"/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FFA34BDD-31A2-934D-80DD-E66D8DC6C34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3215" y="1726814"/>
            <a:ext cx="748098" cy="74809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876ECFA-EA6B-6045-A6A1-512434693B3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0113" y="3429000"/>
            <a:ext cx="2164638" cy="2343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571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3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900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900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3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900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3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900" decel="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3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900" decel="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3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900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000"/>
                            </p:stCondLst>
                            <p:childTnLst>
                              <p:par>
                                <p:cTn id="59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2000"/>
                            </p:stCondLst>
                            <p:childTnLst>
                              <p:par>
                                <p:cTn id="66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E7937B-590D-0541-AF2E-7C35A1A0F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000">
                <a:solidFill>
                  <a:srgbClr val="EB1562"/>
                </a:solidFill>
              </a:rPr>
              <a:t>Cloud based Contact Centre</a:t>
            </a:r>
            <a:endParaRPr lang="en-GB" sz="30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73CEDE3-2247-D542-8555-A57460886C5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8237" y="586153"/>
            <a:ext cx="4959909" cy="536916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22B5C22-7FCB-3A49-94C8-6DC911AE0E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719" y="1238575"/>
            <a:ext cx="966260" cy="95950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255C917-846E-D549-BDAB-FBD93E0DA3A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997" y="4290824"/>
            <a:ext cx="955647" cy="94896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D0E5351-D0A8-0B4F-A4AA-04BF48F035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525" y="4290824"/>
            <a:ext cx="363415" cy="36341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9AD00CA-088A-E145-9AAA-B414C9D77B5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9989" y="1244493"/>
            <a:ext cx="363415" cy="363415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879B4806-98C8-1D49-AC2B-7FB365490DFE}"/>
              </a:ext>
            </a:extLst>
          </p:cNvPr>
          <p:cNvSpPr txBox="1"/>
          <p:nvPr/>
        </p:nvSpPr>
        <p:spPr>
          <a:xfrm>
            <a:off x="1986458" y="1238576"/>
            <a:ext cx="3856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EB1562"/>
                </a:solidFill>
                <a:effectLst/>
                <a:uLnTx/>
                <a:uFillTx/>
                <a:latin typeface="Arial Rounded MT Bold" panose="020F0704030504030204" pitchFamily="34" charset="77"/>
                <a:ea typeface="+mn-ea"/>
                <a:cs typeface="+mn-cs"/>
              </a:rPr>
              <a:t>Including: Administration Porta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EB1FF35-9BF6-D24F-9C02-770BC06E4320}"/>
              </a:ext>
            </a:extLst>
          </p:cNvPr>
          <p:cNvCxnSpPr>
            <a:cxnSpLocks/>
          </p:cNvCxnSpPr>
          <p:nvPr/>
        </p:nvCxnSpPr>
        <p:spPr>
          <a:xfrm>
            <a:off x="1684894" y="1776382"/>
            <a:ext cx="5369049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E5251EAA-FE59-F24B-8217-BFBABE73BFE3}"/>
              </a:ext>
            </a:extLst>
          </p:cNvPr>
          <p:cNvSpPr txBox="1">
            <a:spLocks/>
          </p:cNvSpPr>
          <p:nvPr/>
        </p:nvSpPr>
        <p:spPr>
          <a:xfrm>
            <a:off x="1589989" y="1924006"/>
            <a:ext cx="6365092" cy="1015663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Report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Queue Managemen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all Flow Too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User Managemen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Quality Monitor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API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7D88E7E-FCF2-4846-ACFC-ACAC8F594772}"/>
              </a:ext>
            </a:extLst>
          </p:cNvPr>
          <p:cNvSpPr txBox="1"/>
          <p:nvPr/>
        </p:nvSpPr>
        <p:spPr>
          <a:xfrm>
            <a:off x="1986458" y="4254229"/>
            <a:ext cx="3856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Arial Rounded MT Bold" panose="020F0704030504030204" pitchFamily="34" charset="77"/>
                <a:ea typeface="+mn-ea"/>
                <a:cs typeface="+mn-cs"/>
              </a:rPr>
              <a:t>Additional Modul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FC1F6DC-F86A-944B-83B6-E6FEA0AB456E}"/>
              </a:ext>
            </a:extLst>
          </p:cNvPr>
          <p:cNvCxnSpPr>
            <a:cxnSpLocks/>
          </p:cNvCxnSpPr>
          <p:nvPr/>
        </p:nvCxnSpPr>
        <p:spPr>
          <a:xfrm>
            <a:off x="1684894" y="4806549"/>
            <a:ext cx="5369049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15C8A616-AB17-3441-8FAB-0AC10BC2B53B}"/>
              </a:ext>
            </a:extLst>
          </p:cNvPr>
          <p:cNvSpPr txBox="1">
            <a:spLocks/>
          </p:cNvSpPr>
          <p:nvPr/>
        </p:nvSpPr>
        <p:spPr>
          <a:xfrm>
            <a:off x="1589989" y="4939659"/>
            <a:ext cx="6365092" cy="1015663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Ticket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Workforce Managemen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peech Analytic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Knowledge bas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ayment</a:t>
            </a:r>
          </a:p>
        </p:txBody>
      </p:sp>
    </p:spTree>
    <p:extLst>
      <p:ext uri="{BB962C8B-B14F-4D97-AF65-F5344CB8AC3E}">
        <p14:creationId xmlns:p14="http://schemas.microsoft.com/office/powerpoint/2010/main" val="3116232573"/>
      </p:ext>
    </p:extLst>
  </p:cSld>
  <p:clrMapOvr>
    <a:masterClrMapping/>
  </p:clrMapOvr>
  <p:transition spd="slow">
    <p:wip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360A00C-6079-C04E-B575-9F7162E1EA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hannel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BCC3BB4-61BB-EC49-BA69-E20A424C79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20878" y="745110"/>
            <a:ext cx="10033353" cy="396679"/>
          </a:xfrm>
        </p:spPr>
        <p:txBody>
          <a:bodyPr/>
          <a:lstStyle/>
          <a:p>
            <a:r>
              <a:rPr lang="en-GB"/>
              <a:t>Puzzel cor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39EF0F5-698D-CA46-ACB8-B15B793B53CF}"/>
              </a:ext>
            </a:extLst>
          </p:cNvPr>
          <p:cNvGrpSpPr/>
          <p:nvPr/>
        </p:nvGrpSpPr>
        <p:grpSpPr>
          <a:xfrm>
            <a:off x="7313651" y="1390901"/>
            <a:ext cx="1542879" cy="1125807"/>
            <a:chOff x="7313651" y="1448651"/>
            <a:chExt cx="1542879" cy="1125807"/>
          </a:xfrm>
        </p:grpSpPr>
        <p:sp>
          <p:nvSpPr>
            <p:cNvPr id="43" name="Rounded Rectangle 42">
              <a:extLst>
                <a:ext uri="{FF2B5EF4-FFF2-40B4-BE49-F238E27FC236}">
                  <a16:creationId xmlns:a16="http://schemas.microsoft.com/office/drawing/2014/main" id="{6EB42B39-E0D8-074D-B099-A5DF0E86C383}"/>
                </a:ext>
              </a:extLst>
            </p:cNvPr>
            <p:cNvSpPr/>
            <p:nvPr/>
          </p:nvSpPr>
          <p:spPr>
            <a:xfrm>
              <a:off x="7313651" y="2264140"/>
              <a:ext cx="1542879" cy="289146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AB5ABD8B-00FE-6F4E-8BCA-E99FF4407284}"/>
                </a:ext>
              </a:extLst>
            </p:cNvPr>
            <p:cNvSpPr txBox="1"/>
            <p:nvPr/>
          </p:nvSpPr>
          <p:spPr>
            <a:xfrm>
              <a:off x="7789255" y="2242969"/>
              <a:ext cx="591670" cy="331489"/>
            </a:xfrm>
            <a:prstGeom prst="rect">
              <a:avLst/>
            </a:prstGeom>
            <a:noFill/>
          </p:spPr>
          <p:txBody>
            <a:bodyPr wrap="none" rtlCol="0">
              <a:normAutofit fontScale="92500" lnSpcReduction="1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Email</a:t>
              </a:r>
            </a:p>
          </p:txBody>
        </p:sp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0C1FA123-7BD7-B64B-8F46-14B4FD30D7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25881" y="1448651"/>
              <a:ext cx="718418" cy="713394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C62C37E-DC39-2046-9045-8E1C63E1557A}"/>
              </a:ext>
            </a:extLst>
          </p:cNvPr>
          <p:cNvGrpSpPr/>
          <p:nvPr/>
        </p:nvGrpSpPr>
        <p:grpSpPr>
          <a:xfrm>
            <a:off x="9824576" y="1390901"/>
            <a:ext cx="1542879" cy="1125807"/>
            <a:chOff x="9846988" y="1448651"/>
            <a:chExt cx="1542879" cy="1125807"/>
          </a:xfrm>
        </p:grpSpPr>
        <p:sp>
          <p:nvSpPr>
            <p:cNvPr id="47" name="Rounded Rectangle 46">
              <a:extLst>
                <a:ext uri="{FF2B5EF4-FFF2-40B4-BE49-F238E27FC236}">
                  <a16:creationId xmlns:a16="http://schemas.microsoft.com/office/drawing/2014/main" id="{9F808906-6BD9-974C-B7F4-58FA402FDF5A}"/>
                </a:ext>
              </a:extLst>
            </p:cNvPr>
            <p:cNvSpPr/>
            <p:nvPr/>
          </p:nvSpPr>
          <p:spPr>
            <a:xfrm>
              <a:off x="9846988" y="2264140"/>
              <a:ext cx="1542879" cy="289146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B8AAD02A-48E5-6842-90F0-5D4CA68507BC}"/>
                </a:ext>
              </a:extLst>
            </p:cNvPr>
            <p:cNvSpPr txBox="1"/>
            <p:nvPr/>
          </p:nvSpPr>
          <p:spPr>
            <a:xfrm>
              <a:off x="10322593" y="2242969"/>
              <a:ext cx="591669" cy="331489"/>
            </a:xfrm>
            <a:prstGeom prst="rect">
              <a:avLst/>
            </a:prstGeom>
            <a:noFill/>
          </p:spPr>
          <p:txBody>
            <a:bodyPr wrap="none" rtlCol="0">
              <a:normAutofit fontScale="92500" lnSpcReduction="1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SMS</a:t>
              </a:r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A8785EF6-9B59-F443-85BB-A4FA5BEC01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61730" y="1448651"/>
              <a:ext cx="713394" cy="713394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66B6269-8D68-294D-AA6E-DE86D4B06FFC}"/>
              </a:ext>
            </a:extLst>
          </p:cNvPr>
          <p:cNvGrpSpPr/>
          <p:nvPr/>
        </p:nvGrpSpPr>
        <p:grpSpPr>
          <a:xfrm>
            <a:off x="4930215" y="1390901"/>
            <a:ext cx="1542879" cy="1125807"/>
            <a:chOff x="4930215" y="1448651"/>
            <a:chExt cx="1542879" cy="1125807"/>
          </a:xfrm>
        </p:grpSpPr>
        <p:sp>
          <p:nvSpPr>
            <p:cNvPr id="51" name="Rounded Rectangle 50">
              <a:extLst>
                <a:ext uri="{FF2B5EF4-FFF2-40B4-BE49-F238E27FC236}">
                  <a16:creationId xmlns:a16="http://schemas.microsoft.com/office/drawing/2014/main" id="{857EAA71-DBB2-C649-BF63-1B6138753D71}"/>
                </a:ext>
              </a:extLst>
            </p:cNvPr>
            <p:cNvSpPr/>
            <p:nvPr/>
          </p:nvSpPr>
          <p:spPr>
            <a:xfrm>
              <a:off x="4930215" y="2264140"/>
              <a:ext cx="1542879" cy="289146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0657AE54-8ABC-1B4E-9469-259CB5D06EB5}"/>
                </a:ext>
              </a:extLst>
            </p:cNvPr>
            <p:cNvSpPr txBox="1"/>
            <p:nvPr/>
          </p:nvSpPr>
          <p:spPr>
            <a:xfrm>
              <a:off x="5405819" y="2242969"/>
              <a:ext cx="591670" cy="331489"/>
            </a:xfrm>
            <a:prstGeom prst="rect">
              <a:avLst/>
            </a:prstGeom>
            <a:noFill/>
          </p:spPr>
          <p:txBody>
            <a:bodyPr wrap="none" rtlCol="0">
              <a:normAutofit fontScale="92500" lnSpcReduction="1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Social</a:t>
              </a:r>
            </a:p>
          </p:txBody>
        </p:sp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2CC70ECD-9073-564C-BFCE-2E36B6412F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2445" y="1448651"/>
              <a:ext cx="718418" cy="713394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A0B2EC6-9D23-AA45-97E8-3A14D2DA2C02}"/>
              </a:ext>
            </a:extLst>
          </p:cNvPr>
          <p:cNvGrpSpPr/>
          <p:nvPr/>
        </p:nvGrpSpPr>
        <p:grpSpPr>
          <a:xfrm>
            <a:off x="628038" y="1390901"/>
            <a:ext cx="1542879" cy="1125807"/>
            <a:chOff x="628038" y="1448651"/>
            <a:chExt cx="1542879" cy="1125807"/>
          </a:xfrm>
        </p:grpSpPr>
        <p:sp>
          <p:nvSpPr>
            <p:cNvPr id="55" name="Rounded Rectangle 54">
              <a:extLst>
                <a:ext uri="{FF2B5EF4-FFF2-40B4-BE49-F238E27FC236}">
                  <a16:creationId xmlns:a16="http://schemas.microsoft.com/office/drawing/2014/main" id="{5D081E9D-79C0-6D40-8AEF-BCE57D332887}"/>
                </a:ext>
              </a:extLst>
            </p:cNvPr>
            <p:cNvSpPr/>
            <p:nvPr/>
          </p:nvSpPr>
          <p:spPr>
            <a:xfrm>
              <a:off x="628038" y="2264140"/>
              <a:ext cx="1542879" cy="289146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5B417811-8012-B746-B401-AF6B31195C8E}"/>
                </a:ext>
              </a:extLst>
            </p:cNvPr>
            <p:cNvSpPr txBox="1"/>
            <p:nvPr/>
          </p:nvSpPr>
          <p:spPr>
            <a:xfrm>
              <a:off x="1103643" y="2242969"/>
              <a:ext cx="591669" cy="331489"/>
            </a:xfrm>
            <a:prstGeom prst="rect">
              <a:avLst/>
            </a:prstGeom>
            <a:noFill/>
          </p:spPr>
          <p:txBody>
            <a:bodyPr wrap="none" rtlCol="0">
              <a:normAutofit fontScale="92500" lnSpcReduction="1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Voice</a:t>
              </a:r>
            </a:p>
          </p:txBody>
        </p:sp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A70BE443-DC04-4143-8435-DC7473813B9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2780" y="1448651"/>
              <a:ext cx="713394" cy="713394"/>
            </a:xfrm>
            <a:prstGeom prst="rect">
              <a:avLst/>
            </a:prstGeom>
          </p:spPr>
        </p:pic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F2E458E-3FFB-3F42-A490-E78D6A052403}"/>
              </a:ext>
            </a:extLst>
          </p:cNvPr>
          <p:cNvGrpSpPr/>
          <p:nvPr/>
        </p:nvGrpSpPr>
        <p:grpSpPr>
          <a:xfrm>
            <a:off x="2681690" y="1390901"/>
            <a:ext cx="1542879" cy="1125807"/>
            <a:chOff x="2681690" y="1448651"/>
            <a:chExt cx="1542879" cy="1125807"/>
          </a:xfrm>
        </p:grpSpPr>
        <p:sp>
          <p:nvSpPr>
            <p:cNvPr id="59" name="Rounded Rectangle 58">
              <a:extLst>
                <a:ext uri="{FF2B5EF4-FFF2-40B4-BE49-F238E27FC236}">
                  <a16:creationId xmlns:a16="http://schemas.microsoft.com/office/drawing/2014/main" id="{EE8EAE0D-3A31-4047-9E10-75F3ACB504D0}"/>
                </a:ext>
              </a:extLst>
            </p:cNvPr>
            <p:cNvSpPr/>
            <p:nvPr/>
          </p:nvSpPr>
          <p:spPr>
            <a:xfrm>
              <a:off x="2681690" y="2264140"/>
              <a:ext cx="1542879" cy="289146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76BCFDDA-D9FE-5141-B029-866063302DA9}"/>
                </a:ext>
              </a:extLst>
            </p:cNvPr>
            <p:cNvSpPr txBox="1"/>
            <p:nvPr/>
          </p:nvSpPr>
          <p:spPr>
            <a:xfrm>
              <a:off x="3157294" y="2242969"/>
              <a:ext cx="591670" cy="331489"/>
            </a:xfrm>
            <a:prstGeom prst="rect">
              <a:avLst/>
            </a:prstGeom>
            <a:noFill/>
          </p:spPr>
          <p:txBody>
            <a:bodyPr wrap="none" rtlCol="0">
              <a:normAutofit fontScale="92500" lnSpcReduction="1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Chat</a:t>
              </a:r>
            </a:p>
          </p:txBody>
        </p:sp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A793C050-3AD9-0F40-89D9-09A9483814A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3920" y="1448651"/>
              <a:ext cx="718418" cy="713394"/>
            </a:xfrm>
            <a:prstGeom prst="rect">
              <a:avLst/>
            </a:prstGeom>
          </p:spPr>
        </p:pic>
      </p:grpSp>
      <p:pic>
        <p:nvPicPr>
          <p:cNvPr id="62" name="Picture 61">
            <a:extLst>
              <a:ext uri="{FF2B5EF4-FFF2-40B4-BE49-F238E27FC236}">
                <a16:creationId xmlns:a16="http://schemas.microsoft.com/office/drawing/2014/main" id="{30CB82C7-7AE4-8A43-83A1-05B52CE79C7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184" y="5032710"/>
            <a:ext cx="672040" cy="667341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F74EE657-6646-8042-953D-1C676CE2F0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3408" y="5072037"/>
            <a:ext cx="664659" cy="660011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C8E7D225-1199-C640-9048-C5DE0386EC6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6915" y="5141372"/>
            <a:ext cx="252757" cy="252757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A2C6F62D-2DF3-474E-8CDF-1F8164E470A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9061" y="5090999"/>
            <a:ext cx="252757" cy="252757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78156DE3-5D6B-4B4E-9D21-5ACF2474D083}"/>
              </a:ext>
            </a:extLst>
          </p:cNvPr>
          <p:cNvSpPr txBox="1"/>
          <p:nvPr/>
        </p:nvSpPr>
        <p:spPr>
          <a:xfrm>
            <a:off x="1737915" y="5032711"/>
            <a:ext cx="39740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EB1562"/>
                </a:solidFill>
                <a:effectLst/>
                <a:uLnTx/>
                <a:uFillTx/>
                <a:latin typeface="Arial Rounded MT Bold" panose="020F0704030504030204" pitchFamily="34" charset="77"/>
                <a:ea typeface="+mn-ea"/>
                <a:cs typeface="+mn-cs"/>
              </a:rPr>
              <a:t>Including: Administration Portal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FD3D820D-AF09-304A-BCBF-2D4AADBE7B5E}"/>
              </a:ext>
            </a:extLst>
          </p:cNvPr>
          <p:cNvCxnSpPr>
            <a:cxnSpLocks/>
          </p:cNvCxnSpPr>
          <p:nvPr/>
        </p:nvCxnSpPr>
        <p:spPr>
          <a:xfrm>
            <a:off x="1528176" y="5461463"/>
            <a:ext cx="4073144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714F89B5-F69F-E049-BF27-420FCE219AC4}"/>
              </a:ext>
            </a:extLst>
          </p:cNvPr>
          <p:cNvSpPr txBox="1">
            <a:spLocks/>
          </p:cNvSpPr>
          <p:nvPr/>
        </p:nvSpPr>
        <p:spPr>
          <a:xfrm>
            <a:off x="1462169" y="5509432"/>
            <a:ext cx="4426963" cy="1032334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Report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Queue Management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all Flow Tool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User Management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Quality Monitor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API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E3F34B7-53F2-1747-9012-CA8F09BD23FE}"/>
              </a:ext>
            </a:extLst>
          </p:cNvPr>
          <p:cNvSpPr txBox="1"/>
          <p:nvPr/>
        </p:nvSpPr>
        <p:spPr>
          <a:xfrm>
            <a:off x="7054112" y="5092422"/>
            <a:ext cx="26824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Arial Rounded MT Bold" panose="020F0704030504030204" pitchFamily="34" charset="77"/>
                <a:ea typeface="+mn-ea"/>
                <a:cs typeface="+mn-cs"/>
              </a:rPr>
              <a:t>Additonal Modules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17EE68F2-C59C-984A-A980-86AF55CF04E5}"/>
              </a:ext>
            </a:extLst>
          </p:cNvPr>
          <p:cNvCxnSpPr>
            <a:cxnSpLocks/>
          </p:cNvCxnSpPr>
          <p:nvPr/>
        </p:nvCxnSpPr>
        <p:spPr>
          <a:xfrm>
            <a:off x="6774034" y="5477617"/>
            <a:ext cx="3930606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8F06DEFB-C9EE-AC47-9D8F-D00B36326D90}"/>
              </a:ext>
            </a:extLst>
          </p:cNvPr>
          <p:cNvSpPr txBox="1">
            <a:spLocks/>
          </p:cNvSpPr>
          <p:nvPr/>
        </p:nvSpPr>
        <p:spPr>
          <a:xfrm>
            <a:off x="6708027" y="5523306"/>
            <a:ext cx="4426963" cy="1032334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Ticket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Workforce Management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peech Analytic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Knowledge base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aymen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E48AF35-29A0-8049-8498-FFA543C4B8C3}"/>
              </a:ext>
            </a:extLst>
          </p:cNvPr>
          <p:cNvSpPr txBox="1">
            <a:spLocks/>
          </p:cNvSpPr>
          <p:nvPr/>
        </p:nvSpPr>
        <p:spPr>
          <a:xfrm>
            <a:off x="576011" y="2451191"/>
            <a:ext cx="1736403" cy="218034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oftphone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Outbound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ialer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IVR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Record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all Back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D25BF5C4-CB67-0845-A660-C26CDCF65E13}"/>
              </a:ext>
            </a:extLst>
          </p:cNvPr>
          <p:cNvSpPr txBox="1">
            <a:spLocks/>
          </p:cNvSpPr>
          <p:nvPr/>
        </p:nvSpPr>
        <p:spPr>
          <a:xfrm>
            <a:off x="2361530" y="2451191"/>
            <a:ext cx="2186087" cy="218034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Multi-device support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esign Flexibility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urvey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tructured Messages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URL Tracking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4E0ADA0-780F-1B45-9BE7-5E415594D56B}"/>
              </a:ext>
            </a:extLst>
          </p:cNvPr>
          <p:cNvSpPr txBox="1">
            <a:spLocks/>
          </p:cNvSpPr>
          <p:nvPr/>
        </p:nvSpPr>
        <p:spPr>
          <a:xfrm>
            <a:off x="4596733" y="2451191"/>
            <a:ext cx="2268149" cy="218034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Facebook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Twitter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WhatsApp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TrustPilot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Advanced Routing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2D3B0FA-4C76-B549-B5DA-8680E1DD00A7}"/>
              </a:ext>
            </a:extLst>
          </p:cNvPr>
          <p:cNvSpPr txBox="1">
            <a:spLocks/>
          </p:cNvSpPr>
          <p:nvPr/>
        </p:nvSpPr>
        <p:spPr>
          <a:xfrm>
            <a:off x="6913998" y="2451191"/>
            <a:ext cx="2533650" cy="218034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Email System Agnostic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Advanced Rout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chedul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RM Access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MS Exchange Intergration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81A093A-CC09-D645-8366-5BD756854971}"/>
              </a:ext>
            </a:extLst>
          </p:cNvPr>
          <p:cNvSpPr txBox="1">
            <a:spLocks/>
          </p:cNvSpPr>
          <p:nvPr/>
        </p:nvSpPr>
        <p:spPr>
          <a:xfrm>
            <a:off x="9496765" y="2451191"/>
            <a:ext cx="2453797" cy="218034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hortcode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Numbers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Inbound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Outbound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Message Templates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11"/>
              </a:buBlip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Alphanumeric Originator</a:t>
            </a:r>
          </a:p>
        </p:txBody>
      </p:sp>
    </p:spTree>
    <p:extLst>
      <p:ext uri="{BB962C8B-B14F-4D97-AF65-F5344CB8AC3E}">
        <p14:creationId xmlns:p14="http://schemas.microsoft.com/office/powerpoint/2010/main" val="369301955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D43CA0-0ED3-394F-8F74-E3D050B38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pera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E3D5FBE-BB0C-C741-83F4-BB4138727D20}"/>
              </a:ext>
            </a:extLst>
          </p:cNvPr>
          <p:cNvSpPr txBox="1"/>
          <p:nvPr/>
        </p:nvSpPr>
        <p:spPr>
          <a:xfrm>
            <a:off x="3190030" y="1091414"/>
            <a:ext cx="6539758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Arial Rounded MT Bold" panose="020F0704030504030204" pitchFamily="34" charset="77"/>
                <a:ea typeface="+mn-ea"/>
                <a:cs typeface="+mn-cs"/>
              </a:rPr>
              <a:t>99,99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69BF68-D184-904E-B40A-38085BE7573B}"/>
              </a:ext>
            </a:extLst>
          </p:cNvPr>
          <p:cNvSpPr txBox="1"/>
          <p:nvPr/>
        </p:nvSpPr>
        <p:spPr>
          <a:xfrm>
            <a:off x="2968045" y="3280741"/>
            <a:ext cx="603716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0" i="0" u="none" strike="noStrike" kern="1200" cap="none" spc="300" normalizeH="0" baseline="0" noProof="0">
                <a:ln>
                  <a:noFill/>
                </a:ln>
                <a:solidFill>
                  <a:srgbClr val="EB1562"/>
                </a:solidFill>
                <a:effectLst/>
                <a:uLnTx/>
                <a:uFillTx/>
                <a:latin typeface="Arial Rounded MT Bold" panose="020F0704030504030204" pitchFamily="34" charset="77"/>
                <a:ea typeface="+mn-ea"/>
                <a:cs typeface="+mn-cs"/>
              </a:rPr>
              <a:t>Availabilit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BA0FE5-9F18-1A41-9F6F-928FDC96BD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3220" y="5470070"/>
            <a:ext cx="1905000" cy="11938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D7D392A-E4B1-6E4F-A5F9-82EE5E5809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70070"/>
            <a:ext cx="1905000" cy="11938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37FA82E-E206-FD4B-87CC-47A0C4A45A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610" y="5470070"/>
            <a:ext cx="1905000" cy="11938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E28CD23-5D7F-3A42-8AD5-D60DCF036CCB}"/>
              </a:ext>
            </a:extLst>
          </p:cNvPr>
          <p:cNvSpPr txBox="1"/>
          <p:nvPr/>
        </p:nvSpPr>
        <p:spPr>
          <a:xfrm>
            <a:off x="365107" y="5099241"/>
            <a:ext cx="4731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Puzzel is certified against industry standards:</a:t>
            </a:r>
          </a:p>
        </p:txBody>
      </p:sp>
    </p:spTree>
    <p:extLst>
      <p:ext uri="{BB962C8B-B14F-4D97-AF65-F5344CB8AC3E}">
        <p14:creationId xmlns:p14="http://schemas.microsoft.com/office/powerpoint/2010/main" val="41574484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F2736DB1-2D26-F749-A212-99F9F2F539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467" y="5272485"/>
            <a:ext cx="5817968" cy="654755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ED4FB925-30D9-E14D-8449-D299597B5BD2}"/>
              </a:ext>
            </a:extLst>
          </p:cNvPr>
          <p:cNvGrpSpPr/>
          <p:nvPr/>
        </p:nvGrpSpPr>
        <p:grpSpPr>
          <a:xfrm>
            <a:off x="1" y="1244272"/>
            <a:ext cx="12192000" cy="3101645"/>
            <a:chOff x="744461" y="1671958"/>
            <a:chExt cx="10686602" cy="271867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A7AFB059-4B35-B84D-A9BE-BB8FA82607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44461" y="1671984"/>
              <a:ext cx="1529238" cy="2718646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A9F04DC7-CCD7-E24B-99A7-27978B0FDF9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01824" y="1671983"/>
              <a:ext cx="1529239" cy="2718646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1A07A594-7EB1-4C47-B9FC-C2D0D3408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372586" y="1671982"/>
              <a:ext cx="1529238" cy="2718645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F348FD64-C13E-FC42-9B51-918512248BF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852387" y="1671958"/>
              <a:ext cx="1529238" cy="2718646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720ECD58-1552-8A42-A2A3-368AD28CF88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73710" y="1671958"/>
              <a:ext cx="1529239" cy="2718646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669566EF-7A50-7249-95E0-50C3AA521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328678" y="1671958"/>
              <a:ext cx="1529238" cy="2718646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F2C7C08B-BFA2-0E4B-B2C0-85E671AA7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804128" y="1671959"/>
              <a:ext cx="1529239" cy="27186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8300359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id="{1E63573A-6FE9-524B-8964-C365803036FC}"/>
              </a:ext>
            </a:extLst>
          </p:cNvPr>
          <p:cNvSpPr/>
          <p:nvPr/>
        </p:nvSpPr>
        <p:spPr>
          <a:xfrm>
            <a:off x="-1" y="3553254"/>
            <a:ext cx="6036979" cy="1684106"/>
          </a:xfrm>
          <a:prstGeom prst="rect">
            <a:avLst/>
          </a:prstGeom>
          <a:solidFill>
            <a:schemeClr val="tx1">
              <a:lumMod val="60000"/>
              <a:lumOff val="4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75E2557-04B4-7344-B91E-E9E32B414326}"/>
              </a:ext>
            </a:extLst>
          </p:cNvPr>
          <p:cNvSpPr/>
          <p:nvPr/>
        </p:nvSpPr>
        <p:spPr>
          <a:xfrm>
            <a:off x="6036978" y="3553254"/>
            <a:ext cx="6155022" cy="1690638"/>
          </a:xfrm>
          <a:prstGeom prst="rect">
            <a:avLst/>
          </a:prstGeom>
          <a:solidFill>
            <a:schemeClr val="accent3">
              <a:lumMod val="60000"/>
              <a:lumOff val="4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233D677-0600-8A4D-BA42-F924DC6E1E57}"/>
              </a:ext>
            </a:extLst>
          </p:cNvPr>
          <p:cNvSpPr/>
          <p:nvPr/>
        </p:nvSpPr>
        <p:spPr>
          <a:xfrm>
            <a:off x="6036978" y="5246629"/>
            <a:ext cx="6155022" cy="1611371"/>
          </a:xfrm>
          <a:prstGeom prst="rect">
            <a:avLst/>
          </a:prstGeom>
          <a:solidFill>
            <a:schemeClr val="accent6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9A95AF0-CC78-BA4F-AEB6-548FF3215B25}"/>
              </a:ext>
            </a:extLst>
          </p:cNvPr>
          <p:cNvSpPr/>
          <p:nvPr/>
        </p:nvSpPr>
        <p:spPr>
          <a:xfrm>
            <a:off x="-1" y="5236119"/>
            <a:ext cx="6036979" cy="1621881"/>
          </a:xfrm>
          <a:prstGeom prst="rect">
            <a:avLst/>
          </a:prstGeom>
          <a:solidFill>
            <a:schemeClr val="accent4">
              <a:lumMod val="60000"/>
              <a:lumOff val="4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F17533A-9A0E-AE4B-B4CF-9D5101036F07}"/>
              </a:ext>
            </a:extLst>
          </p:cNvPr>
          <p:cNvSpPr/>
          <p:nvPr/>
        </p:nvSpPr>
        <p:spPr>
          <a:xfrm>
            <a:off x="0" y="2057290"/>
            <a:ext cx="12192000" cy="1497205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70962" y="2605837"/>
            <a:ext cx="120417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Medium" panose="020B0603020102020204"/>
                <a:ea typeface="Calibri"/>
                <a:cs typeface="Calibri"/>
                <a:sym typeface="Calibri"/>
              </a:rPr>
              <a:t>Channel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70962" y="4195252"/>
            <a:ext cx="9509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Medium" panose="020B0603020102020204"/>
                <a:ea typeface="Calibri"/>
                <a:cs typeface="Calibri"/>
                <a:sym typeface="Calibri"/>
              </a:rPr>
              <a:t>Agent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70962" y="5847004"/>
            <a:ext cx="165301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Medium" panose="020B0603020102020204"/>
                <a:ea typeface="Calibri"/>
                <a:cs typeface="Calibri"/>
                <a:sym typeface="Calibri"/>
              </a:rPr>
              <a:t>Management</a:t>
            </a:r>
          </a:p>
        </p:txBody>
      </p:sp>
      <p:sp>
        <p:nvSpPr>
          <p:cNvPr id="27" name="Rectangle 26"/>
          <p:cNvSpPr/>
          <p:nvPr/>
        </p:nvSpPr>
        <p:spPr>
          <a:xfrm>
            <a:off x="470962" y="1217501"/>
            <a:ext cx="13662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Medium" panose="020B0603020102020204"/>
                <a:ea typeface="Calibri"/>
                <a:cs typeface="Calibri"/>
                <a:sym typeface="Calibri"/>
              </a:rPr>
              <a:t>Customers</a:t>
            </a:r>
          </a:p>
        </p:txBody>
      </p:sp>
      <p:sp>
        <p:nvSpPr>
          <p:cNvPr id="28" name="Rectangle 27"/>
          <p:cNvSpPr/>
          <p:nvPr/>
        </p:nvSpPr>
        <p:spPr>
          <a:xfrm>
            <a:off x="9776770" y="4198518"/>
            <a:ext cx="20052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Medium" panose="020B0603020102020204"/>
                <a:ea typeface="Calibri"/>
                <a:cs typeface="Calibri"/>
                <a:sym typeface="Calibri"/>
              </a:rPr>
              <a:t>Self-Servic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0386075" y="5852259"/>
            <a:ext cx="139589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Medium" panose="020B0603020102020204"/>
                <a:ea typeface="Calibri"/>
                <a:cs typeface="Calibri"/>
                <a:sym typeface="Calibri"/>
              </a:rPr>
              <a:t>Knowledge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415763" y="1217501"/>
            <a:ext cx="13662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Medium" panose="020B0603020102020204"/>
                <a:ea typeface="Calibri"/>
                <a:cs typeface="Calibri"/>
                <a:sym typeface="Calibri"/>
              </a:rPr>
              <a:t>Customer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0577794" y="2605837"/>
            <a:ext cx="120417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Medium" panose="020B0603020102020204"/>
                <a:ea typeface="Calibri"/>
                <a:cs typeface="Calibri"/>
                <a:sym typeface="Calibri"/>
              </a:rPr>
              <a:t>Channel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908536" cy="657283"/>
          </a:xfrm>
        </p:spPr>
        <p:txBody>
          <a:bodyPr>
            <a:noAutofit/>
          </a:bodyPr>
          <a:lstStyle/>
          <a:p>
            <a:r>
              <a:rPr lang="en-GB"/>
              <a:t>The world of customer service - bringing all the pieces together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0236" y="5615864"/>
            <a:ext cx="1900485" cy="1012785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0468" y="3884197"/>
            <a:ext cx="1922262" cy="102222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DE5D570-6AE0-1C43-B19C-8600BB727D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3141" y="1036556"/>
            <a:ext cx="762000" cy="762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E9F4CB2-51FA-1D48-BF22-1AA94B0FC1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9412" y="1056930"/>
            <a:ext cx="762000" cy="762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232B272-19C9-2146-B0D3-91B88EE7B56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599" y="1036556"/>
            <a:ext cx="762000" cy="762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DBFE1B3-5296-D042-B35D-04797CE134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6870" y="1036556"/>
            <a:ext cx="762000" cy="762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6A13DEC-B2AC-5A4B-969F-B0073D26C17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2614" y="5697172"/>
            <a:ext cx="762000" cy="762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26A51ED-F5C9-3447-A8E2-04B5B75234B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1226" y="3779957"/>
            <a:ext cx="1206568" cy="123069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DC39683-7B1A-5149-9F85-28F711AEF17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3625" y="5615864"/>
            <a:ext cx="893720" cy="849111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713B2FE9-86B9-F54A-A6A3-9BCD80444EFB}"/>
              </a:ext>
            </a:extLst>
          </p:cNvPr>
          <p:cNvGrpSpPr/>
          <p:nvPr/>
        </p:nvGrpSpPr>
        <p:grpSpPr>
          <a:xfrm>
            <a:off x="3160468" y="2510070"/>
            <a:ext cx="6036151" cy="591644"/>
            <a:chOff x="3150891" y="2510570"/>
            <a:chExt cx="6036151" cy="591644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236473" y="2511070"/>
              <a:ext cx="608242" cy="590645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338653" y="2511070"/>
              <a:ext cx="591644" cy="590645"/>
            </a:xfrm>
            <a:prstGeom prst="rect">
              <a:avLst/>
            </a:prstGeom>
          </p:spPr>
        </p:pic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6424235" y="2511070"/>
              <a:ext cx="591644" cy="590645"/>
            </a:xfrm>
            <a:prstGeom prst="rect">
              <a:avLst/>
            </a:prstGeom>
          </p:spPr>
        </p:pic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7509817" y="2511070"/>
              <a:ext cx="591644" cy="590645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150891" y="2511070"/>
              <a:ext cx="591644" cy="590645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95A7B16-3419-634B-9008-69234C0E05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95398" y="2510570"/>
              <a:ext cx="591644" cy="5916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017405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754CD81-E0C4-4E3D-B86B-037E87C0DE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754CD81-E0C4-4E3D-B86B-037E87C0DE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F4B538ED-C475-472E-9EA6-DFF2EF5AB4E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Rounded MT Bold" panose="020F0704030504030204" pitchFamily="34" charset="0"/>
              <a:ea typeface="+mn-ea"/>
              <a:cs typeface="+mn-cs"/>
              <a:sym typeface="Arial Rounded MT Bold" panose="020F0704030504030204" pitchFamily="34" charset="0"/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03B960E-DC08-495B-B7AD-3362F58AE16C}"/>
              </a:ext>
            </a:extLst>
          </p:cNvPr>
          <p:cNvGrpSpPr/>
          <p:nvPr/>
        </p:nvGrpSpPr>
        <p:grpSpPr>
          <a:xfrm>
            <a:off x="436809" y="2359660"/>
            <a:ext cx="11459534" cy="3873500"/>
            <a:chOff x="436809" y="2551326"/>
            <a:chExt cx="11459534" cy="3770574"/>
          </a:xfrm>
        </p:grpSpPr>
        <p:sp>
          <p:nvSpPr>
            <p:cNvPr id="71" name="Rounded Rectangle 70">
              <a:extLst>
                <a:ext uri="{FF2B5EF4-FFF2-40B4-BE49-F238E27FC236}">
                  <a16:creationId xmlns:a16="http://schemas.microsoft.com/office/drawing/2014/main" id="{913E483B-81D0-421B-AB2B-A20EA4BD97D5}"/>
                </a:ext>
              </a:extLst>
            </p:cNvPr>
            <p:cNvSpPr/>
            <p:nvPr/>
          </p:nvSpPr>
          <p:spPr>
            <a:xfrm>
              <a:off x="436809" y="2551326"/>
              <a:ext cx="11459534" cy="3770574"/>
            </a:xfrm>
            <a:prstGeom prst="roundRect">
              <a:avLst>
                <a:gd name="adj" fmla="val 777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72" name="Rounded Rectangle 71">
              <a:extLst>
                <a:ext uri="{FF2B5EF4-FFF2-40B4-BE49-F238E27FC236}">
                  <a16:creationId xmlns:a16="http://schemas.microsoft.com/office/drawing/2014/main" id="{BB4C5D37-413D-4E4F-AF89-C24F3A48D679}"/>
                </a:ext>
              </a:extLst>
            </p:cNvPr>
            <p:cNvSpPr/>
            <p:nvPr/>
          </p:nvSpPr>
          <p:spPr>
            <a:xfrm>
              <a:off x="489031" y="2605163"/>
              <a:ext cx="11353671" cy="3660000"/>
            </a:xfrm>
            <a:prstGeom prst="roundRect">
              <a:avLst>
                <a:gd name="adj" fmla="val 667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30BBC50-094A-429C-AEE6-D12A28F95B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ull suite omni-channel contact centre solution 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C25F5772-4EE4-4554-805B-30205730059C}"/>
              </a:ext>
            </a:extLst>
          </p:cNvPr>
          <p:cNvSpPr txBox="1">
            <a:spLocks/>
          </p:cNvSpPr>
          <p:nvPr/>
        </p:nvSpPr>
        <p:spPr bwMode="auto">
          <a:xfrm>
            <a:off x="3921110" y="2451007"/>
            <a:ext cx="4375180" cy="273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180975" indent="-180975" algn="l" rtl="0" eaLnBrk="1" fontAlgn="base" hangingPunct="1">
              <a:spcBef>
                <a:spcPts val="1008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lang="en-US" sz="1000" kern="1200" baseline="0" dirty="0">
                <a:solidFill>
                  <a:schemeClr val="tx1"/>
                </a:solidFill>
                <a:latin typeface="Century Gothic" pitchFamily="34" charset="0"/>
                <a:ea typeface="Verdana" pitchFamily="34" charset="0"/>
                <a:cs typeface="Verdana" pitchFamily="34" charset="0"/>
              </a:defRPr>
            </a:lvl1pPr>
            <a:lvl2pPr marL="536575" indent="-180975" algn="l" rtl="0" eaLnBrk="1" fontAlgn="base" hangingPunct="1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lang="en-US" sz="900" kern="1200" baseline="0" dirty="0">
                <a:solidFill>
                  <a:schemeClr val="tx1"/>
                </a:solidFill>
                <a:latin typeface="Century Gothic" pitchFamily="34" charset="0"/>
                <a:ea typeface="Verdana" pitchFamily="34" charset="0"/>
                <a:cs typeface="Verdana" pitchFamily="34" charset="0"/>
              </a:defRPr>
            </a:lvl2pPr>
            <a:lvl3pPr marL="900113" indent="-180975" algn="l" rtl="0" eaLnBrk="1" fontAlgn="base" hangingPunct="1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 lang="en-US" sz="900" kern="1200" baseline="0" dirty="0">
                <a:solidFill>
                  <a:schemeClr val="tx1"/>
                </a:solidFill>
                <a:latin typeface="Century Gothic" pitchFamily="34" charset="0"/>
                <a:ea typeface="Verdana" pitchFamily="34" charset="0"/>
                <a:cs typeface="Verdana" pitchFamily="34" charset="0"/>
              </a:defRPr>
            </a:lvl3pPr>
            <a:lvl4pPr marL="1255713" indent="-180975" algn="l" rtl="0" eaLnBrk="1" fontAlgn="base" hangingPunct="1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lang="en-US" sz="800" i="0" kern="1200" baseline="0" dirty="0">
                <a:solidFill>
                  <a:schemeClr val="tx1"/>
                </a:solidFill>
                <a:latin typeface="Century Gothic" pitchFamily="34" charset="0"/>
                <a:ea typeface="Verdana" pitchFamily="34" charset="0"/>
                <a:cs typeface="Verdana" pitchFamily="34" charset="0"/>
              </a:defRPr>
            </a:lvl4pPr>
            <a:lvl5pPr marL="1611313" indent="-174625" algn="l" rtl="0" eaLnBrk="1" fontAlgn="base" hangingPunct="1">
              <a:spcBef>
                <a:spcPts val="288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»"/>
              <a:defRPr lang="en-GB" sz="800" i="1" kern="1200" baseline="0" dirty="0">
                <a:solidFill>
                  <a:schemeClr val="tx1"/>
                </a:solidFill>
                <a:latin typeface="Century Gothic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008"/>
              </a:spcBef>
              <a:spcAft>
                <a:spcPts val="0"/>
              </a:spcAft>
              <a:buClr>
                <a:srgbClr val="515665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GB" sz="1400" b="0" i="0" u="none" strike="noStrike" kern="1200" cap="all" spc="0" normalizeH="0" baseline="0" noProof="0">
                <a:ln>
                  <a:noFill/>
                </a:ln>
                <a:solidFill>
                  <a:srgbClr val="EB1562"/>
                </a:solidFill>
                <a:effectLst/>
                <a:uLnTx/>
                <a:uFillTx/>
                <a:latin typeface="Franklin Gothic Medium" panose="020B0603020102020204" pitchFamily="34" charset="0"/>
                <a:ea typeface="Verdana" pitchFamily="34" charset="0"/>
                <a:cs typeface="Verdana" pitchFamily="34" charset="0"/>
              </a:rPr>
              <a:t>The customer experience</a:t>
            </a:r>
          </a:p>
        </p:txBody>
      </p:sp>
      <p:pic>
        <p:nvPicPr>
          <p:cNvPr id="48" name="image9.jpeg">
            <a:extLst>
              <a:ext uri="{FF2B5EF4-FFF2-40B4-BE49-F238E27FC236}">
                <a16:creationId xmlns:a16="http://schemas.microsoft.com/office/drawing/2014/main" id="{A6E5E4FB-1869-490F-9517-C4F645B06372}"/>
              </a:ext>
            </a:extLst>
          </p:cNvPr>
          <p:cNvPicPr/>
          <p:nvPr/>
        </p:nvPicPr>
        <p:blipFill rotWithShape="1">
          <a:blip r:embed="rId8" cstate="print"/>
          <a:srcRect b="3138"/>
          <a:stretch/>
        </p:blipFill>
        <p:spPr>
          <a:xfrm>
            <a:off x="4077126" y="2752999"/>
            <a:ext cx="4037749" cy="267066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A1301D75-9B0B-416F-9A15-2D42309541E1}"/>
              </a:ext>
            </a:extLst>
          </p:cNvPr>
          <p:cNvGrpSpPr/>
          <p:nvPr/>
        </p:nvGrpSpPr>
        <p:grpSpPr>
          <a:xfrm>
            <a:off x="3514285" y="5598971"/>
            <a:ext cx="4982016" cy="425824"/>
            <a:chOff x="642160" y="5352506"/>
            <a:chExt cx="3405581" cy="425824"/>
          </a:xfrm>
        </p:grpSpPr>
        <p:sp>
          <p:nvSpPr>
            <p:cNvPr id="9" name="Rectangle 58">
              <a:extLst>
                <a:ext uri="{FF2B5EF4-FFF2-40B4-BE49-F238E27FC236}">
                  <a16:creationId xmlns:a16="http://schemas.microsoft.com/office/drawing/2014/main" id="{63CE8A74-7B67-4744-AD30-1C7E98FA355A}"/>
                </a:ext>
              </a:extLst>
            </p:cNvPr>
            <p:cNvSpPr/>
            <p:nvPr/>
          </p:nvSpPr>
          <p:spPr>
            <a:xfrm>
              <a:off x="642160" y="5353175"/>
              <a:ext cx="3405581" cy="425155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1B9C9BE-7617-4C91-831E-EF830DFD8049}"/>
                </a:ext>
              </a:extLst>
            </p:cNvPr>
            <p:cNvSpPr txBox="1"/>
            <p:nvPr/>
          </p:nvSpPr>
          <p:spPr>
            <a:xfrm>
              <a:off x="877500" y="5381014"/>
              <a:ext cx="192479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EB1562"/>
                  </a:solidFill>
                  <a:effectLst/>
                  <a:uLnTx/>
                  <a:uFillTx/>
                  <a:latin typeface="Arial Rounded MT Bold" panose="020F0704030504030204" pitchFamily="34" charset="77"/>
                  <a:ea typeface="+mn-ea"/>
                  <a:cs typeface="+mn-cs"/>
                </a:rPr>
                <a:t>Administration </a:t>
              </a:r>
              <a:b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EB1562"/>
                  </a:solidFill>
                  <a:effectLst/>
                  <a:uLnTx/>
                  <a:uFillTx/>
                  <a:latin typeface="Arial Rounded MT Bold" panose="020F0704030504030204" pitchFamily="34" charset="77"/>
                  <a:ea typeface="+mn-ea"/>
                  <a:cs typeface="+mn-cs"/>
                </a:rPr>
              </a:b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EB1562"/>
                  </a:solidFill>
                  <a:effectLst/>
                  <a:uLnTx/>
                  <a:uFillTx/>
                  <a:latin typeface="Arial Rounded MT Bold" panose="020F0704030504030204" pitchFamily="34" charset="77"/>
                  <a:ea typeface="+mn-ea"/>
                  <a:cs typeface="+mn-cs"/>
                </a:rPr>
                <a:t>Portal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D82FE3C-C1A0-4381-BB11-79E9460EDC47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005" y="5409631"/>
              <a:ext cx="199817" cy="335542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CFFCFDD-1BA3-4915-908E-B0261706E7A8}"/>
                </a:ext>
              </a:extLst>
            </p:cNvPr>
            <p:cNvSpPr txBox="1">
              <a:spLocks/>
            </p:cNvSpPr>
            <p:nvPr/>
          </p:nvSpPr>
          <p:spPr>
            <a:xfrm>
              <a:off x="1472161" y="5353245"/>
              <a:ext cx="1263759" cy="407804"/>
            </a:xfrm>
            <a:prstGeom prst="rect">
              <a:avLst/>
            </a:prstGeom>
            <a:noFill/>
          </p:spPr>
          <p:txBody>
            <a:bodyPr wrap="square" numCol="1" rtlCol="0" anchor="ctr">
              <a:spAutoFit/>
            </a:bodyPr>
            <a:lstStyle>
              <a:defPPr>
                <a:defRPr lang="nb-NO"/>
              </a:defPPr>
              <a:lvl1pPr marL="342900" indent="-342900">
                <a:buSzPct val="150000"/>
                <a:buBlip>
                  <a:blip r:embed="rId10"/>
                </a:buBlip>
                <a:defRPr sz="1100"/>
              </a:lvl1pPr>
            </a:lstStyle>
            <a:p>
              <a:pPr marL="85725" marR="0" lvl="0" indent="-85725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50000"/>
                <a:buFontTx/>
                <a:buBlip>
                  <a:blip r:embed="rId10"/>
                </a:buBlip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Reporting</a:t>
              </a:r>
            </a:p>
            <a:p>
              <a:pPr marL="85725" marR="0" lvl="0" indent="-85725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50000"/>
                <a:buFontTx/>
                <a:buBlip>
                  <a:blip r:embed="rId10"/>
                </a:buBlip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Queue Management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4D4D953-2346-458F-B169-A056EB78CFA9}"/>
                </a:ext>
              </a:extLst>
            </p:cNvPr>
            <p:cNvSpPr txBox="1">
              <a:spLocks/>
            </p:cNvSpPr>
            <p:nvPr/>
          </p:nvSpPr>
          <p:spPr>
            <a:xfrm>
              <a:off x="2291772" y="5352506"/>
              <a:ext cx="1193611" cy="407804"/>
            </a:xfrm>
            <a:prstGeom prst="rect">
              <a:avLst/>
            </a:prstGeom>
            <a:noFill/>
          </p:spPr>
          <p:txBody>
            <a:bodyPr wrap="square" numCol="1" rtlCol="0" anchor="ctr">
              <a:spAutoFit/>
            </a:bodyPr>
            <a:lstStyle>
              <a:defPPr>
                <a:defRPr lang="nb-NO"/>
              </a:defPPr>
              <a:lvl1pPr marL="342900" indent="-342900">
                <a:buSzPct val="150000"/>
                <a:buBlip>
                  <a:blip r:embed="rId10"/>
                </a:buBlip>
                <a:defRPr sz="1100"/>
              </a:lvl1pPr>
            </a:lstStyle>
            <a:p>
              <a:pPr marL="85725" marR="0" lvl="0" indent="-85725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50000"/>
                <a:buFontTx/>
                <a:buBlip>
                  <a:blip r:embed="rId10"/>
                </a:buBlip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Call Flow Tool</a:t>
              </a:r>
            </a:p>
            <a:p>
              <a:pPr marL="85725" marR="0" lvl="0" indent="-85725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50000"/>
                <a:buFontTx/>
                <a:buBlip>
                  <a:blip r:embed="rId10"/>
                </a:buBlip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User Management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369091C-D7BE-4835-8CA7-804E14227994}"/>
                </a:ext>
              </a:extLst>
            </p:cNvPr>
            <p:cNvSpPr txBox="1">
              <a:spLocks/>
            </p:cNvSpPr>
            <p:nvPr/>
          </p:nvSpPr>
          <p:spPr>
            <a:xfrm>
              <a:off x="3057587" y="5364995"/>
              <a:ext cx="872199" cy="407804"/>
            </a:xfrm>
            <a:prstGeom prst="rect">
              <a:avLst/>
            </a:prstGeom>
            <a:noFill/>
          </p:spPr>
          <p:txBody>
            <a:bodyPr wrap="square" numCol="1" rtlCol="0" anchor="ctr">
              <a:spAutoFit/>
            </a:bodyPr>
            <a:lstStyle>
              <a:defPPr>
                <a:defRPr lang="nb-NO"/>
              </a:defPPr>
              <a:lvl1pPr marL="342900" indent="-342900">
                <a:buSzPct val="150000"/>
                <a:buBlip>
                  <a:blip r:embed="rId10"/>
                </a:buBlip>
                <a:defRPr sz="1100"/>
              </a:lvl1pPr>
            </a:lstStyle>
            <a:p>
              <a:pPr marL="85725" marR="0" lvl="0" indent="-85725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50000"/>
                <a:buFontTx/>
                <a:buBlip>
                  <a:blip r:embed="rId10"/>
                </a:buBlip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Quality Monitoring</a:t>
              </a:r>
            </a:p>
            <a:p>
              <a:pPr marL="85725" marR="0" lvl="0" indent="-85725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50000"/>
                <a:buFontTx/>
                <a:buBlip>
                  <a:blip r:embed="rId10"/>
                </a:buBlip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API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0B32F85E-0C10-482E-8C88-EC959A8DF49C}"/>
              </a:ext>
            </a:extLst>
          </p:cNvPr>
          <p:cNvGrpSpPr/>
          <p:nvPr/>
        </p:nvGrpSpPr>
        <p:grpSpPr>
          <a:xfrm>
            <a:off x="436809" y="1097128"/>
            <a:ext cx="11306189" cy="974402"/>
            <a:chOff x="820477" y="1448664"/>
            <a:chExt cx="10617093" cy="1008000"/>
          </a:xfrm>
        </p:grpSpPr>
        <p:sp>
          <p:nvSpPr>
            <p:cNvPr id="65" name="Rectangle 16">
              <a:extLst>
                <a:ext uri="{FF2B5EF4-FFF2-40B4-BE49-F238E27FC236}">
                  <a16:creationId xmlns:a16="http://schemas.microsoft.com/office/drawing/2014/main" id="{E927819A-7675-4946-A455-36A3D8B78E19}"/>
                </a:ext>
              </a:extLst>
            </p:cNvPr>
            <p:cNvSpPr/>
            <p:nvPr/>
          </p:nvSpPr>
          <p:spPr>
            <a:xfrm>
              <a:off x="820477" y="1448664"/>
              <a:ext cx="3204000" cy="1008000"/>
            </a:xfrm>
            <a:prstGeom prst="roundRect">
              <a:avLst/>
            </a:prstGeom>
            <a:solidFill>
              <a:schemeClr val="tx2"/>
            </a:solidFill>
            <a:ln w="1270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40792" rIns="72000" bIns="396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Flexible agent platform with possibility for customized interface</a:t>
              </a:r>
            </a:p>
          </p:txBody>
        </p:sp>
        <p:sp>
          <p:nvSpPr>
            <p:cNvPr id="66" name="Rectangle 17">
              <a:extLst>
                <a:ext uri="{FF2B5EF4-FFF2-40B4-BE49-F238E27FC236}">
                  <a16:creationId xmlns:a16="http://schemas.microsoft.com/office/drawing/2014/main" id="{3CBCA28C-301E-47FB-B919-EAC542CCCF1A}"/>
                </a:ext>
              </a:extLst>
            </p:cNvPr>
            <p:cNvSpPr/>
            <p:nvPr/>
          </p:nvSpPr>
          <p:spPr>
            <a:xfrm>
              <a:off x="4527023" y="1448664"/>
              <a:ext cx="3204000" cy="1008000"/>
            </a:xfrm>
            <a:prstGeom prst="roundRect">
              <a:avLst/>
            </a:prstGeom>
            <a:solidFill>
              <a:schemeClr val="accent2"/>
            </a:solidFill>
            <a:ln w="1270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40792" rIns="72000" bIns="396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A powerful low code</a:t>
              </a:r>
              <a:b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</a:b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administration portal</a:t>
              </a:r>
            </a:p>
          </p:txBody>
        </p:sp>
        <p:sp>
          <p:nvSpPr>
            <p:cNvPr id="67" name="Rectangle 18">
              <a:extLst>
                <a:ext uri="{FF2B5EF4-FFF2-40B4-BE49-F238E27FC236}">
                  <a16:creationId xmlns:a16="http://schemas.microsoft.com/office/drawing/2014/main" id="{BEA42B5C-262D-4FAE-BB36-9CB7EA4A6359}"/>
                </a:ext>
              </a:extLst>
            </p:cNvPr>
            <p:cNvSpPr/>
            <p:nvPr/>
          </p:nvSpPr>
          <p:spPr>
            <a:xfrm>
              <a:off x="8233570" y="1448664"/>
              <a:ext cx="3204000" cy="1008000"/>
            </a:xfrm>
            <a:prstGeom prst="roundRect">
              <a:avLst/>
            </a:prstGeom>
            <a:solidFill>
              <a:schemeClr val="accent3"/>
            </a:solidFill>
            <a:ln w="1270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40792" rIns="72000" bIns="396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A broad range of </a:t>
              </a:r>
              <a:b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</a:b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channels and application</a:t>
              </a:r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43039C9F-6606-4C23-84B5-A4C1189D2674}"/>
              </a:ext>
            </a:extLst>
          </p:cNvPr>
          <p:cNvSpPr txBox="1"/>
          <p:nvPr/>
        </p:nvSpPr>
        <p:spPr>
          <a:xfrm rot="21057005">
            <a:off x="7632439" y="3264709"/>
            <a:ext cx="729860" cy="689554"/>
          </a:xfrm>
          <a:prstGeom prst="foldedCorner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1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owerful agent platform</a:t>
            </a:r>
          </a:p>
        </p:txBody>
      </p:sp>
      <p:pic>
        <p:nvPicPr>
          <p:cNvPr id="80" name="Graphic 79">
            <a:extLst>
              <a:ext uri="{FF2B5EF4-FFF2-40B4-BE49-F238E27FC236}">
                <a16:creationId xmlns:a16="http://schemas.microsoft.com/office/drawing/2014/main" id="{4D45EE6B-1DC1-4932-979E-775B71D02C4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236788" y="2938365"/>
            <a:ext cx="384793" cy="384793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979EB032-BCBB-4DDE-B498-6A1D3BDBEC64}"/>
              </a:ext>
            </a:extLst>
          </p:cNvPr>
          <p:cNvGrpSpPr/>
          <p:nvPr/>
        </p:nvGrpSpPr>
        <p:grpSpPr>
          <a:xfrm>
            <a:off x="706934" y="2798341"/>
            <a:ext cx="2707113" cy="2820931"/>
            <a:chOff x="569280" y="2857925"/>
            <a:chExt cx="2707113" cy="2820931"/>
          </a:xfrm>
        </p:grpSpPr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4E219895-586A-49A0-9E56-494AEE1BBE0D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78993" y="4469096"/>
              <a:ext cx="396000" cy="396000"/>
            </a:xfrm>
            <a:prstGeom prst="rect">
              <a:avLst/>
            </a:prstGeom>
          </p:spPr>
        </p:pic>
        <p:sp>
          <p:nvSpPr>
            <p:cNvPr id="69" name="Freeform 13">
              <a:extLst>
                <a:ext uri="{FF2B5EF4-FFF2-40B4-BE49-F238E27FC236}">
                  <a16:creationId xmlns:a16="http://schemas.microsoft.com/office/drawing/2014/main" id="{0736AEF3-895D-47BD-8522-AB78D41D1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7593" y="4902552"/>
              <a:ext cx="1198800" cy="167309"/>
            </a:xfrm>
            <a:prstGeom prst="roundRect">
              <a:avLst/>
            </a:prstGeom>
            <a:solidFill>
              <a:srgbClr val="EB1863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Payment</a:t>
              </a:r>
            </a:p>
          </p:txBody>
        </p:sp>
        <p:sp>
          <p:nvSpPr>
            <p:cNvPr id="70" name="Freeform 13">
              <a:extLst>
                <a:ext uri="{FF2B5EF4-FFF2-40B4-BE49-F238E27FC236}">
                  <a16:creationId xmlns:a16="http://schemas.microsoft.com/office/drawing/2014/main" id="{EA7A2E4A-E893-4D5B-980A-0D2209FE8C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7593" y="5120856"/>
              <a:ext cx="1198800" cy="558000"/>
            </a:xfrm>
            <a:prstGeom prst="roundRect">
              <a:avLst/>
            </a:prstGeom>
            <a:solidFill>
              <a:srgbClr val="EB1863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In-Call PCI payment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Mobile payments</a:t>
              </a:r>
            </a:p>
          </p:txBody>
        </p:sp>
        <p:sp>
          <p:nvSpPr>
            <p:cNvPr id="78" name="Freeform 13">
              <a:extLst>
                <a:ext uri="{FF2B5EF4-FFF2-40B4-BE49-F238E27FC236}">
                  <a16:creationId xmlns:a16="http://schemas.microsoft.com/office/drawing/2014/main" id="{AB328724-DA0C-4114-ADF1-5DB6E9B05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280" y="4902552"/>
              <a:ext cx="1198800" cy="167309"/>
            </a:xfrm>
            <a:prstGeom prst="roundRect">
              <a:avLst/>
            </a:prstGeom>
            <a:solidFill>
              <a:srgbClr val="51C4B6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WFO</a:t>
              </a:r>
            </a:p>
          </p:txBody>
        </p:sp>
        <p:sp>
          <p:nvSpPr>
            <p:cNvPr id="79" name="Freeform 13">
              <a:extLst>
                <a:ext uri="{FF2B5EF4-FFF2-40B4-BE49-F238E27FC236}">
                  <a16:creationId xmlns:a16="http://schemas.microsoft.com/office/drawing/2014/main" id="{0E9B57DB-2883-45AA-973B-458C9C916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280" y="5120856"/>
              <a:ext cx="1198800" cy="558000"/>
            </a:xfrm>
            <a:prstGeom prst="roundRect">
              <a:avLst/>
            </a:prstGeom>
            <a:solidFill>
              <a:srgbClr val="51C4B6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Workforce Mgmt.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Speech Analytic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Performance Mgmt.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Quality Monitoring</a:t>
              </a:r>
            </a:p>
          </p:txBody>
        </p:sp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989ADC81-FAF1-49FB-ABF9-5C8E9AF4C301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0680" y="4469096"/>
              <a:ext cx="396000" cy="396000"/>
            </a:xfrm>
            <a:prstGeom prst="rect">
              <a:avLst/>
            </a:prstGeom>
          </p:spPr>
        </p:pic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7BF6D817-9A58-4ABA-B28F-9F117801751D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0680" y="2857925"/>
              <a:ext cx="396000" cy="396000"/>
            </a:xfrm>
            <a:prstGeom prst="rect">
              <a:avLst/>
            </a:prstGeom>
          </p:spPr>
        </p:pic>
        <p:sp>
          <p:nvSpPr>
            <p:cNvPr id="85" name="Freeform 13">
              <a:extLst>
                <a:ext uri="{FF2B5EF4-FFF2-40B4-BE49-F238E27FC236}">
                  <a16:creationId xmlns:a16="http://schemas.microsoft.com/office/drawing/2014/main" id="{99554B21-D7D4-484A-9A3D-9CCC3237B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280" y="3291381"/>
              <a:ext cx="1198800" cy="169200"/>
            </a:xfrm>
            <a:prstGeom prst="roundRect">
              <a:avLst/>
            </a:prstGeom>
            <a:solidFill>
              <a:srgbClr val="515665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Contact Centre</a:t>
              </a:r>
            </a:p>
          </p:txBody>
        </p:sp>
        <p:sp>
          <p:nvSpPr>
            <p:cNvPr id="86" name="Freeform 13">
              <a:extLst>
                <a:ext uri="{FF2B5EF4-FFF2-40B4-BE49-F238E27FC236}">
                  <a16:creationId xmlns:a16="http://schemas.microsoft.com/office/drawing/2014/main" id="{78DF46BF-5DCA-469F-B077-A3981742A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280" y="3509685"/>
              <a:ext cx="1198800" cy="822379"/>
            </a:xfrm>
            <a:prstGeom prst="roundRect">
              <a:avLst/>
            </a:prstGeom>
            <a:solidFill>
              <a:srgbClr val="515665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Voic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Cha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Email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Social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SM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E-task</a:t>
              </a:r>
            </a:p>
          </p:txBody>
        </p:sp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42484159-DAAF-490B-86A3-E9D3E0A56A76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78993" y="2857925"/>
              <a:ext cx="396000" cy="396000"/>
            </a:xfrm>
            <a:prstGeom prst="rect">
              <a:avLst/>
            </a:prstGeom>
          </p:spPr>
        </p:pic>
        <p:sp>
          <p:nvSpPr>
            <p:cNvPr id="90" name="Freeform 13">
              <a:extLst>
                <a:ext uri="{FF2B5EF4-FFF2-40B4-BE49-F238E27FC236}">
                  <a16:creationId xmlns:a16="http://schemas.microsoft.com/office/drawing/2014/main" id="{4E4B87AF-3353-475E-A912-31A0B4AAD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7593" y="3291381"/>
              <a:ext cx="1198800" cy="1692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Integrations</a:t>
              </a:r>
            </a:p>
          </p:txBody>
        </p:sp>
        <p:sp>
          <p:nvSpPr>
            <p:cNvPr id="91" name="Freeform 13">
              <a:extLst>
                <a:ext uri="{FF2B5EF4-FFF2-40B4-BE49-F238E27FC236}">
                  <a16:creationId xmlns:a16="http://schemas.microsoft.com/office/drawing/2014/main" id="{06492342-F615-4AD9-8A9D-34AA4C5B2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7593" y="3509685"/>
              <a:ext cx="1198800" cy="822379"/>
            </a:xfrm>
            <a:prstGeom prst="roundRect">
              <a:avLst/>
            </a:prstGeom>
            <a:solidFill>
              <a:schemeClr val="bg2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MS Dynamics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Salesforc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Oracl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Skype 4B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SuperOffice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21B223-3F81-42EC-BBBD-45AEEE5708A5}"/>
              </a:ext>
            </a:extLst>
          </p:cNvPr>
          <p:cNvGrpSpPr/>
          <p:nvPr/>
        </p:nvGrpSpPr>
        <p:grpSpPr>
          <a:xfrm>
            <a:off x="8769198" y="2798341"/>
            <a:ext cx="2707114" cy="2820931"/>
            <a:chOff x="8815945" y="2889781"/>
            <a:chExt cx="2707114" cy="2820931"/>
          </a:xfrm>
        </p:grpSpPr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71DCB46D-EDD9-42FB-BED9-6C6B55A6A139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25659" y="4500952"/>
              <a:ext cx="396000" cy="396000"/>
            </a:xfrm>
            <a:prstGeom prst="rect">
              <a:avLst/>
            </a:prstGeom>
          </p:spPr>
        </p:pic>
        <p:sp>
          <p:nvSpPr>
            <p:cNvPr id="76" name="Freeform 13">
              <a:extLst>
                <a:ext uri="{FF2B5EF4-FFF2-40B4-BE49-F238E27FC236}">
                  <a16:creationId xmlns:a16="http://schemas.microsoft.com/office/drawing/2014/main" id="{28584BF5-6E38-47C6-9E4F-A05F75CA1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4259" y="4934408"/>
              <a:ext cx="1198800" cy="167309"/>
            </a:xfrm>
            <a:prstGeom prst="roundRect">
              <a:avLst/>
            </a:prstGeom>
            <a:solidFill>
              <a:srgbClr val="67C63B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Services</a:t>
              </a:r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A3007086-9D4A-42D4-BA39-FDEDDF7DC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4259" y="5152712"/>
              <a:ext cx="1198800" cy="558000"/>
            </a:xfrm>
            <a:prstGeom prst="roundRect">
              <a:avLst/>
            </a:prstGeom>
            <a:solidFill>
              <a:srgbClr val="67C63B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Trainin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Accredit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Support</a:t>
              </a:r>
            </a:p>
          </p:txBody>
        </p:sp>
        <p:sp>
          <p:nvSpPr>
            <p:cNvPr id="82" name="Freeform 13">
              <a:extLst>
                <a:ext uri="{FF2B5EF4-FFF2-40B4-BE49-F238E27FC236}">
                  <a16:creationId xmlns:a16="http://schemas.microsoft.com/office/drawing/2014/main" id="{E294CF8B-807A-4F42-82B9-15B8B47D04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5945" y="4934408"/>
              <a:ext cx="1198800" cy="167309"/>
            </a:xfrm>
            <a:prstGeom prst="roundRect">
              <a:avLst/>
            </a:prstGeom>
            <a:solidFill>
              <a:srgbClr val="5C6EB5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Ticketing</a:t>
              </a:r>
            </a:p>
          </p:txBody>
        </p:sp>
        <p:sp>
          <p:nvSpPr>
            <p:cNvPr id="83" name="Freeform 13">
              <a:extLst>
                <a:ext uri="{FF2B5EF4-FFF2-40B4-BE49-F238E27FC236}">
                  <a16:creationId xmlns:a16="http://schemas.microsoft.com/office/drawing/2014/main" id="{D53756F3-1030-42C6-8FAB-4386EDE7CE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5945" y="5152712"/>
              <a:ext cx="1198800" cy="558000"/>
            </a:xfrm>
            <a:prstGeom prst="roundRect">
              <a:avLst/>
            </a:prstGeom>
            <a:solidFill>
              <a:srgbClr val="5C6EB5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Case Managemen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360-view of custome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Knowledge base</a:t>
              </a: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id="{69F11B86-9B15-4DF5-B96F-E5F381CD0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5945" y="3323237"/>
              <a:ext cx="1198800" cy="169200"/>
            </a:xfrm>
            <a:prstGeom prst="roundRect">
              <a:avLst/>
            </a:prstGeom>
            <a:solidFill>
              <a:srgbClr val="34C0BC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Mobile Messaging</a:t>
              </a:r>
            </a:p>
          </p:txBody>
        </p:sp>
        <p:sp>
          <p:nvSpPr>
            <p:cNvPr id="88" name="Freeform 13">
              <a:extLst>
                <a:ext uri="{FF2B5EF4-FFF2-40B4-BE49-F238E27FC236}">
                  <a16:creationId xmlns:a16="http://schemas.microsoft.com/office/drawing/2014/main" id="{0ED69774-BC32-4D9F-9CE3-90F816FEDFD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5945" y="3541541"/>
              <a:ext cx="1198800" cy="822379"/>
            </a:xfrm>
            <a:prstGeom prst="roundRect">
              <a:avLst/>
            </a:prstGeom>
            <a:solidFill>
              <a:srgbClr val="34C0BC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Mobile Surv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Messaging Gatewa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SMS as a channel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Social Messaging</a:t>
              </a:r>
            </a:p>
          </p:txBody>
        </p:sp>
        <p:sp>
          <p:nvSpPr>
            <p:cNvPr id="92" name="Freeform 13">
              <a:extLst>
                <a:ext uri="{FF2B5EF4-FFF2-40B4-BE49-F238E27FC236}">
                  <a16:creationId xmlns:a16="http://schemas.microsoft.com/office/drawing/2014/main" id="{EB4CFDE2-BC58-4A7B-B72C-A27DA1781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4259" y="3323237"/>
              <a:ext cx="1198800" cy="169200"/>
            </a:xfrm>
            <a:prstGeom prst="roundRect">
              <a:avLst/>
            </a:prstGeom>
            <a:solidFill>
              <a:srgbClr val="5872F0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+mn-ea"/>
                  <a:cs typeface="Arial" panose="020B0604020202020204" pitchFamily="34" charset="0"/>
                </a:rPr>
                <a:t>AI</a:t>
              </a:r>
            </a:p>
          </p:txBody>
        </p:sp>
        <p:sp>
          <p:nvSpPr>
            <p:cNvPr id="93" name="Freeform 13">
              <a:extLst>
                <a:ext uri="{FF2B5EF4-FFF2-40B4-BE49-F238E27FC236}">
                  <a16:creationId xmlns:a16="http://schemas.microsoft.com/office/drawing/2014/main" id="{EC4E0A16-EF44-4156-8401-F7DB6C883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4259" y="3541541"/>
              <a:ext cx="1198800" cy="822379"/>
            </a:xfrm>
            <a:prstGeom prst="roundRect">
              <a:avLst/>
            </a:prstGeom>
            <a:solidFill>
              <a:srgbClr val="5872F0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Bot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Conversational Platform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</a:rPr>
                <a:t>Agent Assist</a:t>
              </a:r>
            </a:p>
          </p:txBody>
        </p:sp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28E9F3D1-1BB9-477B-B522-515F58594F31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7345" y="4500952"/>
              <a:ext cx="396000" cy="396000"/>
            </a:xfrm>
            <a:prstGeom prst="rect">
              <a:avLst/>
            </a:prstGeom>
          </p:spPr>
        </p:pic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6090B0A3-DB22-412C-8FD5-EAD2C9C896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7345" y="2889781"/>
              <a:ext cx="396000" cy="396000"/>
            </a:xfrm>
            <a:prstGeom prst="rect">
              <a:avLst/>
            </a:prstGeom>
          </p:spPr>
        </p:pic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8B48D59A-DA0C-4208-8887-E9253FE2475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25659" y="2889781"/>
              <a:ext cx="396000" cy="3975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41244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uzzel focus areas going forward</a:t>
            </a:r>
          </a:p>
        </p:txBody>
      </p:sp>
      <p:sp>
        <p:nvSpPr>
          <p:cNvPr id="24" name="Rectangle 2">
            <a:extLst>
              <a:ext uri="{FF2B5EF4-FFF2-40B4-BE49-F238E27FC236}">
                <a16:creationId xmlns:a16="http://schemas.microsoft.com/office/drawing/2014/main" id="{03A026D1-7840-3546-81CF-B4B2BCB71B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1556" y="4583474"/>
            <a:ext cx="3409119" cy="616667"/>
          </a:xfrm>
          <a:prstGeom prst="round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>
            <a:outerShdw dist="50800" dir="120000" sx="1000" sy="1000" algn="ctr" rotWithShape="0">
              <a:srgbClr val="808080">
                <a:alpha val="16000"/>
              </a:srgbClr>
            </a:outerShdw>
          </a:effectLst>
        </p:spPr>
        <p:txBody>
          <a:bodyPr lIns="90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Channels (live agents)</a:t>
            </a:r>
          </a:p>
        </p:txBody>
      </p:sp>
      <p:sp>
        <p:nvSpPr>
          <p:cNvPr id="25" name="Rectangle 2">
            <a:extLst>
              <a:ext uri="{FF2B5EF4-FFF2-40B4-BE49-F238E27FC236}">
                <a16:creationId xmlns:a16="http://schemas.microsoft.com/office/drawing/2014/main" id="{727E1522-D2A2-794A-A2D1-D9F8C7D4D0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6434" y="2949849"/>
            <a:ext cx="3213453" cy="597611"/>
          </a:xfrm>
          <a:prstGeom prst="roundRect">
            <a:avLst/>
          </a:prstGeom>
          <a:solidFill>
            <a:srgbClr val="597AEF"/>
          </a:solidFill>
          <a:ln w="9525">
            <a:solidFill>
              <a:srgbClr val="597AEF"/>
            </a:solidFill>
            <a:miter lim="800000"/>
            <a:headEnd/>
            <a:tailEnd/>
          </a:ln>
          <a:effectLst>
            <a:outerShdw dist="50800" dir="120000" sx="1000" sy="1000" algn="ctr" rotWithShape="0">
              <a:srgbClr val="808080">
                <a:alpha val="16000"/>
              </a:srgbClr>
            </a:outerShdw>
          </a:effectLst>
        </p:spPr>
        <p:txBody>
          <a:bodyPr lIns="90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Omni-channel</a:t>
            </a:r>
          </a:p>
        </p:txBody>
      </p:sp>
      <p:sp>
        <p:nvSpPr>
          <p:cNvPr id="26" name="Rectangle 2">
            <a:extLst>
              <a:ext uri="{FF2B5EF4-FFF2-40B4-BE49-F238E27FC236}">
                <a16:creationId xmlns:a16="http://schemas.microsoft.com/office/drawing/2014/main" id="{C43BA71F-BCA3-1242-A70F-593A31888D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9571" y="4587262"/>
            <a:ext cx="3409119" cy="616667"/>
          </a:xfrm>
          <a:prstGeom prst="roundRect">
            <a:avLst/>
          </a:prstGeom>
          <a:solidFill>
            <a:srgbClr val="40D3CF"/>
          </a:solidFill>
          <a:ln w="9525">
            <a:solidFill>
              <a:srgbClr val="40D3CF"/>
            </a:solidFill>
            <a:miter lim="800000"/>
            <a:headEnd/>
            <a:tailEnd/>
          </a:ln>
          <a:effectLst>
            <a:outerShdw dist="50800" dir="120000" sx="1000" sy="1000" algn="ctr" rotWithShape="0">
              <a:srgbClr val="808080">
                <a:alpha val="16000"/>
              </a:srgbClr>
            </a:outerShdw>
          </a:effectLst>
        </p:spPr>
        <p:txBody>
          <a:bodyPr lIns="90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Self-service</a:t>
            </a:r>
          </a:p>
        </p:txBody>
      </p:sp>
      <p:sp>
        <p:nvSpPr>
          <p:cNvPr id="27" name="AutoShape 16">
            <a:extLst>
              <a:ext uri="{FF2B5EF4-FFF2-40B4-BE49-F238E27FC236}">
                <a16:creationId xmlns:a16="http://schemas.microsoft.com/office/drawing/2014/main" id="{6EA12996-9AC9-A644-9EC6-A0C55CB722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2687" y="4651913"/>
            <a:ext cx="1674812" cy="487363"/>
          </a:xfrm>
          <a:prstGeom prst="leftRightArrow">
            <a:avLst>
              <a:gd name="adj1" fmla="val 41435"/>
              <a:gd name="adj2" fmla="val 48004"/>
            </a:avLst>
          </a:prstGeom>
          <a:solidFill>
            <a:srgbClr val="EB2E63"/>
          </a:solidFill>
          <a:ln w="9525">
            <a:solidFill>
              <a:srgbClr val="FFFFFF"/>
            </a:solidFill>
            <a:miter lim="800000"/>
            <a:headEnd/>
            <a:tailEnd/>
          </a:ln>
          <a:effectLst>
            <a:outerShdw dist="25399" sx="1000" sy="1000" algn="ctr" rotWithShape="0">
              <a:srgbClr val="000000"/>
            </a:outerShdw>
          </a:effectLst>
        </p:spPr>
        <p:txBody>
          <a:bodyPr wrap="square" anchor="ctr">
            <a:normAutofit fontScale="47500" lnSpcReduction="20000"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4E0064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28" name="AutoShape 32">
            <a:extLst>
              <a:ext uri="{FF2B5EF4-FFF2-40B4-BE49-F238E27FC236}">
                <a16:creationId xmlns:a16="http://schemas.microsoft.com/office/drawing/2014/main" id="{79997A15-DB53-CD41-825D-C7F4D2756C9D}"/>
              </a:ext>
            </a:extLst>
          </p:cNvPr>
          <p:cNvSpPr>
            <a:spLocks noChangeArrowheads="1"/>
          </p:cNvSpPr>
          <p:nvPr/>
        </p:nvSpPr>
        <p:spPr bwMode="auto">
          <a:xfrm rot="3457092">
            <a:off x="6811708" y="3869574"/>
            <a:ext cx="725998" cy="439737"/>
          </a:xfrm>
          <a:prstGeom prst="rightArrow">
            <a:avLst>
              <a:gd name="adj1" fmla="val 50000"/>
              <a:gd name="adj2" fmla="val 50090"/>
            </a:avLst>
          </a:prstGeom>
          <a:solidFill>
            <a:srgbClr val="40D3CF"/>
          </a:solidFill>
          <a:ln w="9525">
            <a:solidFill>
              <a:srgbClr val="FFFFFF"/>
            </a:solidFill>
            <a:miter lim="800000"/>
            <a:headEnd/>
            <a:tailEnd/>
          </a:ln>
          <a:effectLst>
            <a:outerShdw dist="25399" sx="1000" sy="1000" algn="ctr" rotWithShape="0">
              <a:srgbClr val="000000"/>
            </a:outerShdw>
          </a:effectLst>
        </p:spPr>
        <p:txBody>
          <a:bodyPr wrap="square" anchor="ctr">
            <a:normAutofit fontScale="55000" lnSpcReduction="20000"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4E0064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FA094E7-8EF4-CC46-9D32-528894BFB572}"/>
              </a:ext>
            </a:extLst>
          </p:cNvPr>
          <p:cNvSpPr txBox="1"/>
          <p:nvPr/>
        </p:nvSpPr>
        <p:spPr>
          <a:xfrm>
            <a:off x="1101556" y="5321606"/>
            <a:ext cx="325121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Voice, chat, email, social media, </a:t>
            </a:r>
            <a:r>
              <a:rPr kumimoji="0" lang="en-GB" sz="1400" b="0" i="0" u="none" strike="noStrike" kern="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ms</a:t>
            </a: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Human interac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Real-time and non-real-ti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02DD280-75E7-4A45-8C34-E67077A602C4}"/>
              </a:ext>
            </a:extLst>
          </p:cNvPr>
          <p:cNvSpPr txBox="1"/>
          <p:nvPr/>
        </p:nvSpPr>
        <p:spPr>
          <a:xfrm>
            <a:off x="7229571" y="5321607"/>
            <a:ext cx="321782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4C0B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oactive customer servi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4C0B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Knowledge b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4C0B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hat enhance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4C0B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hat bots</a:t>
            </a:r>
          </a:p>
        </p:txBody>
      </p:sp>
      <p:sp>
        <p:nvSpPr>
          <p:cNvPr id="31" name="AutoShape 32">
            <a:extLst>
              <a:ext uri="{FF2B5EF4-FFF2-40B4-BE49-F238E27FC236}">
                <a16:creationId xmlns:a16="http://schemas.microsoft.com/office/drawing/2014/main" id="{A8DF1AED-7E68-EA4D-B6A9-904860B0FB2B}"/>
              </a:ext>
            </a:extLst>
          </p:cNvPr>
          <p:cNvSpPr>
            <a:spLocks noChangeArrowheads="1"/>
          </p:cNvSpPr>
          <p:nvPr/>
        </p:nvSpPr>
        <p:spPr bwMode="auto">
          <a:xfrm rot="7488286">
            <a:off x="4268135" y="3868826"/>
            <a:ext cx="725998" cy="439737"/>
          </a:xfrm>
          <a:prstGeom prst="rightArrow">
            <a:avLst>
              <a:gd name="adj1" fmla="val 50000"/>
              <a:gd name="adj2" fmla="val 50090"/>
            </a:avLst>
          </a:prstGeom>
          <a:solidFill>
            <a:schemeClr val="accent4"/>
          </a:solidFill>
          <a:ln w="9525">
            <a:solidFill>
              <a:srgbClr val="FFFFFF"/>
            </a:solidFill>
            <a:miter lim="800000"/>
            <a:headEnd/>
            <a:tailEnd/>
          </a:ln>
          <a:effectLst>
            <a:outerShdw dist="25399" sx="1000" sy="1000" algn="ctr" rotWithShape="0">
              <a:srgbClr val="000000"/>
            </a:outerShdw>
          </a:effectLst>
        </p:spPr>
        <p:txBody>
          <a:bodyPr wrap="square" anchor="ctr">
            <a:normAutofit fontScale="55000" lnSpcReduction="20000"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5872F0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  <a:sym typeface="Arial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A7968E0-5C85-5B40-8E83-56E99C4C25BE}"/>
              </a:ext>
            </a:extLst>
          </p:cNvPr>
          <p:cNvGrpSpPr/>
          <p:nvPr/>
        </p:nvGrpSpPr>
        <p:grpSpPr>
          <a:xfrm>
            <a:off x="7234294" y="1252413"/>
            <a:ext cx="1004767" cy="1448746"/>
            <a:chOff x="7234294" y="1034373"/>
            <a:chExt cx="1004767" cy="1448746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0A5B8F3-4793-DF4E-B1AA-A14349A2E406}"/>
                </a:ext>
              </a:extLst>
            </p:cNvPr>
            <p:cNvSpPr txBox="1"/>
            <p:nvPr/>
          </p:nvSpPr>
          <p:spPr>
            <a:xfrm>
              <a:off x="7334788" y="2019504"/>
              <a:ext cx="827499" cy="463615"/>
            </a:xfrm>
            <a:prstGeom prst="rect">
              <a:avLst/>
            </a:prstGeom>
            <a:noFill/>
          </p:spPr>
          <p:txBody>
            <a:bodyPr wrap="none" rtlCol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5872F0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Email</a:t>
              </a:r>
            </a:p>
          </p:txBody>
        </p: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C6310AAE-C75A-ED42-A24B-F0FA08D4B7E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34294" y="1034373"/>
              <a:ext cx="1004767" cy="997741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A91F69A-E2D0-1145-8A48-E72E9F94DE0C}"/>
              </a:ext>
            </a:extLst>
          </p:cNvPr>
          <p:cNvGrpSpPr/>
          <p:nvPr/>
        </p:nvGrpSpPr>
        <p:grpSpPr>
          <a:xfrm>
            <a:off x="9100878" y="1252413"/>
            <a:ext cx="997741" cy="1448746"/>
            <a:chOff x="9100878" y="1034373"/>
            <a:chExt cx="997741" cy="1448746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063CA74-4390-8B41-AFDC-3BE0FC87CEE6}"/>
                </a:ext>
              </a:extLst>
            </p:cNvPr>
            <p:cNvSpPr txBox="1"/>
            <p:nvPr/>
          </p:nvSpPr>
          <p:spPr>
            <a:xfrm>
              <a:off x="9200164" y="2019504"/>
              <a:ext cx="827499" cy="463615"/>
            </a:xfrm>
            <a:prstGeom prst="rect">
              <a:avLst/>
            </a:prstGeom>
            <a:noFill/>
          </p:spPr>
          <p:txBody>
            <a:bodyPr wrap="none" rtlCol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34C0BC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SMS</a:t>
              </a: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9794450F-A7EA-834B-BF48-6F0048A7C23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00878" y="1034373"/>
              <a:ext cx="997741" cy="997741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718B568-666D-7048-BCF0-1E94B146E0EA}"/>
              </a:ext>
            </a:extLst>
          </p:cNvPr>
          <p:cNvGrpSpPr/>
          <p:nvPr/>
        </p:nvGrpSpPr>
        <p:grpSpPr>
          <a:xfrm>
            <a:off x="5367710" y="1252413"/>
            <a:ext cx="1004767" cy="1448746"/>
            <a:chOff x="5367710" y="1034373"/>
            <a:chExt cx="1004767" cy="144874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E78B9AA0-B0BC-124E-B7BD-60AB92851CA8}"/>
                </a:ext>
              </a:extLst>
            </p:cNvPr>
            <p:cNvSpPr txBox="1"/>
            <p:nvPr/>
          </p:nvSpPr>
          <p:spPr>
            <a:xfrm>
              <a:off x="5469412" y="2019504"/>
              <a:ext cx="827499" cy="463615"/>
            </a:xfrm>
            <a:prstGeom prst="rect">
              <a:avLst/>
            </a:prstGeom>
            <a:noFill/>
          </p:spPr>
          <p:txBody>
            <a:bodyPr wrap="none" rtlCol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67C63B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Social</a:t>
              </a: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08EC7BD4-363B-074E-8BF9-5E30A17D16E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67710" y="1034373"/>
              <a:ext cx="1004767" cy="997741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A2086E1-C29C-0044-8A69-035762E8D115}"/>
              </a:ext>
            </a:extLst>
          </p:cNvPr>
          <p:cNvGrpSpPr/>
          <p:nvPr/>
        </p:nvGrpSpPr>
        <p:grpSpPr>
          <a:xfrm>
            <a:off x="1641570" y="1252413"/>
            <a:ext cx="997741" cy="1448746"/>
            <a:chOff x="1641570" y="1034373"/>
            <a:chExt cx="997741" cy="1448746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BAFD8A6-2313-2D42-A028-74B7918C6CFE}"/>
                </a:ext>
              </a:extLst>
            </p:cNvPr>
            <p:cNvSpPr txBox="1"/>
            <p:nvPr/>
          </p:nvSpPr>
          <p:spPr>
            <a:xfrm>
              <a:off x="1738660" y="2019504"/>
              <a:ext cx="827499" cy="463615"/>
            </a:xfrm>
            <a:prstGeom prst="rect">
              <a:avLst/>
            </a:prstGeom>
            <a:noFill/>
          </p:spPr>
          <p:txBody>
            <a:bodyPr wrap="none" rtlCol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B442D6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Voice</a:t>
              </a: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A37F6C8B-DD4D-6143-B285-85527F06D95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41570" y="1034373"/>
              <a:ext cx="997741" cy="997741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FA1C4DE-76F6-1F4C-A56A-8E22C23E9F45}"/>
              </a:ext>
            </a:extLst>
          </p:cNvPr>
          <p:cNvGrpSpPr/>
          <p:nvPr/>
        </p:nvGrpSpPr>
        <p:grpSpPr>
          <a:xfrm>
            <a:off x="3501127" y="1252413"/>
            <a:ext cx="1004767" cy="1448746"/>
            <a:chOff x="3501127" y="1034373"/>
            <a:chExt cx="1004767" cy="1448746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F546CF1E-2762-5646-BF1D-021A6D0D9C96}"/>
                </a:ext>
              </a:extLst>
            </p:cNvPr>
            <p:cNvSpPr txBox="1"/>
            <p:nvPr/>
          </p:nvSpPr>
          <p:spPr>
            <a:xfrm>
              <a:off x="3604036" y="2019504"/>
              <a:ext cx="827499" cy="463615"/>
            </a:xfrm>
            <a:prstGeom prst="rect">
              <a:avLst/>
            </a:prstGeom>
            <a:noFill/>
          </p:spPr>
          <p:txBody>
            <a:bodyPr wrap="none" rtlCol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9900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Chat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02B45B1D-9136-F946-B3C4-05E0A8FB954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01127" y="1034373"/>
              <a:ext cx="1004767" cy="9977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48094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  <p:bldP spid="28" grpId="0" animBg="1"/>
      <p:bldP spid="29" grpId="0"/>
      <p:bldP spid="30" grpId="0"/>
      <p:bldP spid="31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000">
                <a:solidFill>
                  <a:schemeClr val="accent1"/>
                </a:solidFill>
              </a:rPr>
              <a:t>Goal with an Innovation departmen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B53726E-83E9-254E-9ECD-05EE869437EA}"/>
              </a:ext>
            </a:extLst>
          </p:cNvPr>
          <p:cNvGrpSpPr/>
          <p:nvPr/>
        </p:nvGrpSpPr>
        <p:grpSpPr>
          <a:xfrm>
            <a:off x="845584" y="2093134"/>
            <a:ext cx="7243387" cy="654531"/>
            <a:chOff x="461121" y="1475160"/>
            <a:chExt cx="7243387" cy="654531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A29C20A-1F15-0842-ADF3-B75A33D83BB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121" y="1475160"/>
              <a:ext cx="654531" cy="654531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FDDF720-7C00-7342-8E61-AECEB22A5461}"/>
                </a:ext>
              </a:extLst>
            </p:cNvPr>
            <p:cNvSpPr/>
            <p:nvPr/>
          </p:nvSpPr>
          <p:spPr>
            <a:xfrm>
              <a:off x="1196246" y="1633149"/>
              <a:ext cx="6508262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Strengthen Puzzel innovation capability and culture for innovation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E3689AC-2084-2747-90DE-60967861306E}"/>
              </a:ext>
            </a:extLst>
          </p:cNvPr>
          <p:cNvGrpSpPr/>
          <p:nvPr/>
        </p:nvGrpSpPr>
        <p:grpSpPr>
          <a:xfrm>
            <a:off x="845584" y="3094560"/>
            <a:ext cx="8825051" cy="654531"/>
            <a:chOff x="461121" y="2293706"/>
            <a:chExt cx="8825051" cy="654531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23FCA48-38DB-394E-BE8D-FC5EC9E74F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121" y="2293706"/>
              <a:ext cx="654531" cy="654531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9E0BC7E-C79B-9645-A7EE-5728BE846202}"/>
                </a:ext>
              </a:extLst>
            </p:cNvPr>
            <p:cNvSpPr/>
            <p:nvPr/>
          </p:nvSpPr>
          <p:spPr>
            <a:xfrm>
              <a:off x="1196246" y="2434776"/>
              <a:ext cx="808992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Search to find and generate new revenue sources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9D9BDDD-A3CB-D948-962E-73D45C89E2B0}"/>
              </a:ext>
            </a:extLst>
          </p:cNvPr>
          <p:cNvGrpSpPr/>
          <p:nvPr/>
        </p:nvGrpSpPr>
        <p:grpSpPr>
          <a:xfrm>
            <a:off x="845584" y="4095986"/>
            <a:ext cx="4846572" cy="654531"/>
            <a:chOff x="461121" y="3112252"/>
            <a:chExt cx="4846572" cy="654531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7836C36-9A16-B844-A35F-29141787D8E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121" y="3112252"/>
              <a:ext cx="654531" cy="654531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571F1A6-6E3D-9042-8FBE-EDEB5EF4F470}"/>
                </a:ext>
              </a:extLst>
            </p:cNvPr>
            <p:cNvSpPr/>
            <p:nvPr/>
          </p:nvSpPr>
          <p:spPr>
            <a:xfrm>
              <a:off x="1196246" y="3226772"/>
              <a:ext cx="411144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Make it possible to think outside the box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78EBC4A-281A-DD44-8E70-91BCC9445355}"/>
              </a:ext>
            </a:extLst>
          </p:cNvPr>
          <p:cNvGrpSpPr/>
          <p:nvPr/>
        </p:nvGrpSpPr>
        <p:grpSpPr>
          <a:xfrm>
            <a:off x="845584" y="5097413"/>
            <a:ext cx="6498562" cy="654531"/>
            <a:chOff x="461121" y="3930799"/>
            <a:chExt cx="6498562" cy="654531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E1965B9-741F-F14E-9FBD-E59D708B642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121" y="3930799"/>
              <a:ext cx="654531" cy="654531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FEAE4EA-4A1A-FE48-B19C-FC16B28048BA}"/>
                </a:ext>
              </a:extLst>
            </p:cNvPr>
            <p:cNvSpPr/>
            <p:nvPr/>
          </p:nvSpPr>
          <p:spPr>
            <a:xfrm>
              <a:off x="1196246" y="4050948"/>
              <a:ext cx="576343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Focus on innovation on new and around existing products</a:t>
              </a: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C3F41044-90F5-6B4F-BC09-E1F3BAC4A72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9930" y="669067"/>
            <a:ext cx="4361409" cy="4552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99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accel="50000" fill="hold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2" accel="50000" fill="hold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3" dur="10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4" dur="10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5" fill="hold">
                          <p:stCondLst>
                            <p:cond delay="indefinite"/>
                          </p:stCondLst>
                          <p:childTnLst>
                            <p:par>
                              <p:cTn id="1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7" presetID="2" presetClass="entr" presetSubtype="2" accel="50000" fill="hold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9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0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1" fill="hold">
                          <p:stCondLst>
                            <p:cond delay="indefinite"/>
                          </p:stCondLst>
                          <p:childTnLst>
                            <p:par>
                              <p:cTn id="2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3" presetID="2" presetClass="entr" presetSubtype="2" accel="50000" fill="hold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5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6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ac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2" ac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10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10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5" fill="hold">
                          <p:stCondLst>
                            <p:cond delay="indefinite"/>
                          </p:stCondLst>
                          <p:childTnLst>
                            <p:par>
                              <p:cTn id="1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7" presetID="2" presetClass="entr" presetSubtype="2" ac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1" fill="hold">
                          <p:stCondLst>
                            <p:cond delay="indefinite"/>
                          </p:stCondLst>
                          <p:childTnLst>
                            <p:par>
                              <p:cTn id="2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3" presetID="2" presetClass="entr" presetSubtype="2" ac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5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6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0A80FC1-61B8-4997-A9F3-E888CA24B945}"/>
              </a:ext>
            </a:extLst>
          </p:cNvPr>
          <p:cNvSpPr/>
          <p:nvPr/>
        </p:nvSpPr>
        <p:spPr>
          <a:xfrm>
            <a:off x="3931033" y="3653904"/>
            <a:ext cx="2492270" cy="2845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77"/>
                <a:ea typeface="+mn-ea"/>
                <a:cs typeface="+mn-cs"/>
              </a:rPr>
              <a:t>Innovation team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D08BC47-767B-4DC6-B9F6-EEBB9B4BA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implified innovation process 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7FACAFB-E544-41AE-B771-1C327308CD89}"/>
              </a:ext>
            </a:extLst>
          </p:cNvPr>
          <p:cNvSpPr/>
          <p:nvPr/>
        </p:nvSpPr>
        <p:spPr>
          <a:xfrm>
            <a:off x="7213480" y="3653904"/>
            <a:ext cx="2282728" cy="28452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77"/>
                <a:ea typeface="+mn-ea"/>
                <a:cs typeface="+mn-cs"/>
              </a:rPr>
              <a:t>Line organisation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9974909-473E-4A81-B250-A87AF7110698}"/>
              </a:ext>
            </a:extLst>
          </p:cNvPr>
          <p:cNvCxnSpPr/>
          <p:nvPr/>
        </p:nvCxnSpPr>
        <p:spPr>
          <a:xfrm>
            <a:off x="3113560" y="3789375"/>
            <a:ext cx="709301" cy="0"/>
          </a:xfrm>
          <a:prstGeom prst="straightConnector1">
            <a:avLst/>
          </a:prstGeom>
          <a:ln w="50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20B553E-4333-4475-B32B-3CE78FF3E84A}"/>
              </a:ext>
            </a:extLst>
          </p:cNvPr>
          <p:cNvCxnSpPr>
            <a:cxnSpLocks/>
          </p:cNvCxnSpPr>
          <p:nvPr/>
        </p:nvCxnSpPr>
        <p:spPr>
          <a:xfrm>
            <a:off x="5177168" y="4060111"/>
            <a:ext cx="0" cy="660162"/>
          </a:xfrm>
          <a:prstGeom prst="straightConnector1">
            <a:avLst/>
          </a:prstGeom>
          <a:ln w="508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FAF3DA4F-D5EC-4B81-AE4E-FA8ED600FECA}"/>
              </a:ext>
            </a:extLst>
          </p:cNvPr>
          <p:cNvSpPr txBox="1"/>
          <p:nvPr/>
        </p:nvSpPr>
        <p:spPr>
          <a:xfrm>
            <a:off x="953770" y="4060111"/>
            <a:ext cx="1680692" cy="141989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sng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From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Employe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ustom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artn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Own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……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1395768-F2E0-4A8F-84C2-AFCD135AA084}"/>
              </a:ext>
            </a:extLst>
          </p:cNvPr>
          <p:cNvCxnSpPr/>
          <p:nvPr/>
        </p:nvCxnSpPr>
        <p:spPr>
          <a:xfrm>
            <a:off x="6396006" y="3789375"/>
            <a:ext cx="709301" cy="0"/>
          </a:xfrm>
          <a:prstGeom prst="straightConnector1">
            <a:avLst/>
          </a:prstGeom>
          <a:ln w="508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C52E1AF9-4A68-1242-B1DB-7AED159259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5107" y="5541617"/>
            <a:ext cx="762000" cy="762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B73D78B-F890-8D46-B5AA-AA4191EDF0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634" y="5541617"/>
            <a:ext cx="762000" cy="762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18C130D-26FF-F046-948E-D6E11511F3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9870" y="5541617"/>
            <a:ext cx="762000" cy="762000"/>
          </a:xfrm>
          <a:prstGeom prst="rect">
            <a:avLst/>
          </a:prstGeom>
        </p:spPr>
      </p:pic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566C3C2F-63BE-784C-92F5-D575A0D6B52F}"/>
              </a:ext>
            </a:extLst>
          </p:cNvPr>
          <p:cNvSpPr/>
          <p:nvPr/>
        </p:nvSpPr>
        <p:spPr>
          <a:xfrm>
            <a:off x="612881" y="3657601"/>
            <a:ext cx="2527975" cy="2780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77"/>
                <a:ea typeface="+mn-ea"/>
                <a:cs typeface="+mn-cs"/>
              </a:rPr>
              <a:t>Resets every 6 month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617E385A-A7B2-7540-B483-714ACF93B73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7601" y="4787272"/>
            <a:ext cx="1086430" cy="17165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3919DFA-20A9-A44F-9A1A-22AB249D60F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8984" y="1985410"/>
            <a:ext cx="2187256" cy="1504754"/>
          </a:xfrm>
          <a:prstGeom prst="rect">
            <a:avLst/>
          </a:prstGeom>
        </p:spPr>
      </p:pic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2CC6716-0180-7D4E-8CF3-19312F33C899}"/>
              </a:ext>
            </a:extLst>
          </p:cNvPr>
          <p:cNvCxnSpPr/>
          <p:nvPr/>
        </p:nvCxnSpPr>
        <p:spPr>
          <a:xfrm>
            <a:off x="9466752" y="3789375"/>
            <a:ext cx="709301" cy="0"/>
          </a:xfrm>
          <a:prstGeom prst="straightConnector1">
            <a:avLst/>
          </a:prstGeom>
          <a:ln w="508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FF71967-C391-A54F-8B65-5CBE3E7F5565}"/>
              </a:ext>
            </a:extLst>
          </p:cNvPr>
          <p:cNvGrpSpPr/>
          <p:nvPr/>
        </p:nvGrpSpPr>
        <p:grpSpPr>
          <a:xfrm>
            <a:off x="1117450" y="1593389"/>
            <a:ext cx="1548556" cy="1841029"/>
            <a:chOff x="894393" y="1236168"/>
            <a:chExt cx="1895917" cy="2253996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19F51DC-BA59-644C-ABCF-6E0DDEAC5ED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4333" y="1754046"/>
              <a:ext cx="1205070" cy="1736118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5193CFA3-C253-8E41-B6E2-4F35465BF9FE}"/>
                </a:ext>
              </a:extLst>
            </p:cNvPr>
            <p:cNvSpPr txBox="1"/>
            <p:nvPr/>
          </p:nvSpPr>
          <p:spPr>
            <a:xfrm>
              <a:off x="982153" y="1236168"/>
              <a:ext cx="1789430" cy="395785"/>
            </a:xfrm>
            <a:prstGeom prst="rect">
              <a:avLst/>
            </a:prstGeom>
            <a:noFill/>
          </p:spPr>
          <p:txBody>
            <a:bodyPr wrap="square" rtlCol="0">
              <a:normAutofit fontScale="925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>
                  <a:ln>
                    <a:noFill/>
                  </a:ln>
                  <a:solidFill>
                    <a:srgbClr val="EB1562"/>
                  </a:solidFill>
                  <a:effectLst/>
                  <a:uLnTx/>
                  <a:uFillTx/>
                  <a:latin typeface="Arial Rounded MT Bold" panose="020F0704030504030204" pitchFamily="34" charset="77"/>
                  <a:ea typeface="+mn-ea"/>
                  <a:cs typeface="+mn-cs"/>
                </a:rPr>
                <a:t>Idea!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A5A188FD-F3E2-0B40-9938-11A9FE0E1D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44364" y="1311968"/>
              <a:ext cx="292180" cy="319985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26A2B5B-D8F0-5941-93E6-E64741A1864B}"/>
                </a:ext>
              </a:extLst>
            </p:cNvPr>
            <p:cNvCxnSpPr>
              <a:cxnSpLocks/>
            </p:cNvCxnSpPr>
            <p:nvPr/>
          </p:nvCxnSpPr>
          <p:spPr>
            <a:xfrm>
              <a:off x="1091633" y="1315048"/>
              <a:ext cx="292180" cy="319985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6BE2FFE-9628-1445-896D-7481F723595B}"/>
                </a:ext>
              </a:extLst>
            </p:cNvPr>
            <p:cNvCxnSpPr>
              <a:cxnSpLocks/>
            </p:cNvCxnSpPr>
            <p:nvPr/>
          </p:nvCxnSpPr>
          <p:spPr>
            <a:xfrm>
              <a:off x="894393" y="1784098"/>
              <a:ext cx="257408" cy="110243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AF4AD53C-471F-364D-955A-6A41A70320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32902" y="1784098"/>
              <a:ext cx="257408" cy="110243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8" name="Picture 37">
            <a:extLst>
              <a:ext uri="{FF2B5EF4-FFF2-40B4-BE49-F238E27FC236}">
                <a16:creationId xmlns:a16="http://schemas.microsoft.com/office/drawing/2014/main" id="{7581700E-E9A5-C345-92A3-D55CC00B26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5640" y="1416808"/>
            <a:ext cx="2095471" cy="2264876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2B681D42-61A5-E24E-805B-071BE81BF151}"/>
              </a:ext>
            </a:extLst>
          </p:cNvPr>
          <p:cNvSpPr txBox="1"/>
          <p:nvPr/>
        </p:nvSpPr>
        <p:spPr>
          <a:xfrm>
            <a:off x="9962866" y="5227093"/>
            <a:ext cx="0" cy="0"/>
          </a:xfrm>
          <a:prstGeom prst="rect">
            <a:avLst/>
          </a:prstGeom>
          <a:noFill/>
        </p:spPr>
        <p:txBody>
          <a:bodyPr wrap="none" rtlCol="0">
            <a:normAutofit fontScale="250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999DAC55-4615-754B-8BBC-2177699E0B30}"/>
              </a:ext>
            </a:extLst>
          </p:cNvPr>
          <p:cNvGrpSpPr/>
          <p:nvPr/>
        </p:nvGrpSpPr>
        <p:grpSpPr>
          <a:xfrm>
            <a:off x="10270247" y="2160084"/>
            <a:ext cx="1548548" cy="2901598"/>
            <a:chOff x="10270247" y="2160084"/>
            <a:chExt cx="1548548" cy="2901598"/>
          </a:xfrm>
        </p:grpSpPr>
        <p:pic>
          <p:nvPicPr>
            <p:cNvPr id="1028" name="Picture 4" descr="Bilderesultat for money">
              <a:extLst>
                <a:ext uri="{FF2B5EF4-FFF2-40B4-BE49-F238E27FC236}">
                  <a16:creationId xmlns:a16="http://schemas.microsoft.com/office/drawing/2014/main" id="{AA7438AE-14DA-4561-B714-BFAFD1B79B9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779" t="14344" r="28172" b="6900"/>
            <a:stretch/>
          </p:blipFill>
          <p:spPr bwMode="auto">
            <a:xfrm>
              <a:off x="11159938" y="4107461"/>
              <a:ext cx="503451" cy="5608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4" descr="Bilderesultat for money">
              <a:extLst>
                <a:ext uri="{FF2B5EF4-FFF2-40B4-BE49-F238E27FC236}">
                  <a16:creationId xmlns:a16="http://schemas.microsoft.com/office/drawing/2014/main" id="{6046AC46-6FA4-F74D-BAA5-3BAB5336C1F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779" t="14344" r="28172" b="6900"/>
            <a:stretch/>
          </p:blipFill>
          <p:spPr bwMode="auto">
            <a:xfrm>
              <a:off x="10398191" y="4108389"/>
              <a:ext cx="503451" cy="5608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A448B3D6-30CA-3045-8F86-8EEC50FE89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70247" y="2160084"/>
              <a:ext cx="1548548" cy="29015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9948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9" grpId="0" animBg="1"/>
      <p:bldP spid="24" grpId="0"/>
      <p:bldP spid="27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B872D2AE-7552-4AC6-A644-A15EE885E2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5569" y="4153703"/>
            <a:ext cx="1794779" cy="179477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B7CE030-C674-4223-83D6-F712B05313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543" y="1657044"/>
            <a:ext cx="2324827" cy="12362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D72D013-FE4C-49B6-BA92-6F10B99AEC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2970" y="1624533"/>
            <a:ext cx="1334857" cy="130131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BA1D5B9-E4F3-4713-ABA5-D1E9A50ECB8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1170" y="4795044"/>
            <a:ext cx="1076237" cy="108054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BA7E40C-A6AC-4EC3-ADB0-4112D5550C95}"/>
              </a:ext>
            </a:extLst>
          </p:cNvPr>
          <p:cNvSpPr txBox="1"/>
          <p:nvPr/>
        </p:nvSpPr>
        <p:spPr>
          <a:xfrm>
            <a:off x="6957332" y="5865832"/>
            <a:ext cx="90391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Quicksand" charset="0"/>
                <a:cs typeface="Quicksand" charset="0"/>
              </a:rPr>
              <a:t>Report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C88D7C3-D9D6-4501-9540-8AD9247F7C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3159" y="4795044"/>
            <a:ext cx="1076237" cy="108054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7633F72-9063-4C0B-BEF6-DE9F18D93A52}"/>
              </a:ext>
            </a:extLst>
          </p:cNvPr>
          <p:cNvSpPr txBox="1"/>
          <p:nvPr/>
        </p:nvSpPr>
        <p:spPr>
          <a:xfrm>
            <a:off x="5223020" y="5865832"/>
            <a:ext cx="117651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Quicksand" charset="0"/>
                <a:cs typeface="Quicksand" charset="0"/>
              </a:rPr>
              <a:t>Integration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6DC0824-04C0-4E7E-BEE0-8F61A4AB638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7288" y="4790886"/>
            <a:ext cx="1080542" cy="107623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E352314-AEA4-4B49-9BBC-9633237113CE}"/>
              </a:ext>
            </a:extLst>
          </p:cNvPr>
          <p:cNvSpPr txBox="1"/>
          <p:nvPr/>
        </p:nvSpPr>
        <p:spPr>
          <a:xfrm>
            <a:off x="3587878" y="5865832"/>
            <a:ext cx="12393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Quicksand" charset="0"/>
                <a:cs typeface="Quicksand" charset="0"/>
              </a:rPr>
              <a:t>Handover agent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E1AF13F-A411-4C73-9218-C25BA2A331F4}"/>
              </a:ext>
            </a:extLst>
          </p:cNvPr>
          <p:cNvCxnSpPr>
            <a:cxnSpLocks/>
          </p:cNvCxnSpPr>
          <p:nvPr/>
        </p:nvCxnSpPr>
        <p:spPr>
          <a:xfrm>
            <a:off x="3548451" y="2275192"/>
            <a:ext cx="1206484" cy="0"/>
          </a:xfrm>
          <a:prstGeom prst="straightConnector1">
            <a:avLst/>
          </a:prstGeom>
          <a:ln w="47625" cmpd="sng"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B86C7B6-1C05-4475-8FC3-C5B6E1B342BC}"/>
              </a:ext>
            </a:extLst>
          </p:cNvPr>
          <p:cNvCxnSpPr>
            <a:cxnSpLocks/>
          </p:cNvCxnSpPr>
          <p:nvPr/>
        </p:nvCxnSpPr>
        <p:spPr>
          <a:xfrm>
            <a:off x="7004358" y="2275192"/>
            <a:ext cx="1206484" cy="0"/>
          </a:xfrm>
          <a:prstGeom prst="straightConnector1">
            <a:avLst/>
          </a:prstGeom>
          <a:ln w="47625" cmpd="sng"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567D890-2245-4913-B41A-46A869D7EFB2}"/>
              </a:ext>
            </a:extLst>
          </p:cNvPr>
          <p:cNvSpPr txBox="1"/>
          <p:nvPr/>
        </p:nvSpPr>
        <p:spPr>
          <a:xfrm>
            <a:off x="547107" y="476354"/>
            <a:ext cx="40504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EB1562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Puzzel Contact Centre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B1562"/>
              </a:solidFill>
              <a:effectLst/>
              <a:uLnTx/>
              <a:uFillTx/>
              <a:latin typeface="Arial Rounded MT Bold" panose="020F0704030504030204" pitchFamily="34" charset="0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5978773-CE1A-4224-A41C-FB51B8C51051}"/>
              </a:ext>
            </a:extLst>
          </p:cNvPr>
          <p:cNvSpPr txBox="1"/>
          <p:nvPr/>
        </p:nvSpPr>
        <p:spPr>
          <a:xfrm>
            <a:off x="8460052" y="476354"/>
            <a:ext cx="34138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5872F0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Bot Frameworks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72F0"/>
              </a:solidFill>
              <a:effectLst/>
              <a:uLnTx/>
              <a:uFillTx/>
              <a:latin typeface="Arial Rounded MT Bold" panose="020F0704030504030204" pitchFamily="34" charset="0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84D6836-3938-4CA1-B9BC-FC06A4292322}"/>
              </a:ext>
            </a:extLst>
          </p:cNvPr>
          <p:cNvGrpSpPr/>
          <p:nvPr/>
        </p:nvGrpSpPr>
        <p:grpSpPr>
          <a:xfrm>
            <a:off x="8617755" y="1677721"/>
            <a:ext cx="2990407" cy="1194943"/>
            <a:chOff x="8598705" y="1689557"/>
            <a:chExt cx="2990407" cy="1194943"/>
          </a:xfrm>
        </p:grpSpPr>
        <p:pic>
          <p:nvPicPr>
            <p:cNvPr id="5" name="Picture 4" descr="image001">
              <a:extLst>
                <a:ext uri="{FF2B5EF4-FFF2-40B4-BE49-F238E27FC236}">
                  <a16:creationId xmlns:a16="http://schemas.microsoft.com/office/drawing/2014/main" id="{FA8F9408-C8D5-4721-9114-2930281691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98705" y="1689557"/>
              <a:ext cx="1037470" cy="11949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21" descr="image001">
              <a:extLst>
                <a:ext uri="{FF2B5EF4-FFF2-40B4-BE49-F238E27FC236}">
                  <a16:creationId xmlns:a16="http://schemas.microsoft.com/office/drawing/2014/main" id="{110804A3-990B-453C-A489-1CDE432260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71322" y="1689557"/>
              <a:ext cx="1037470" cy="11949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22" descr="image001">
              <a:extLst>
                <a:ext uri="{FF2B5EF4-FFF2-40B4-BE49-F238E27FC236}">
                  <a16:creationId xmlns:a16="http://schemas.microsoft.com/office/drawing/2014/main" id="{1F05F609-7D43-4D03-8EE9-54327C6611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51642" y="1689557"/>
              <a:ext cx="1037470" cy="11949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BFA74AE8-C2A1-4925-8719-EE873D9A9CCD}"/>
              </a:ext>
            </a:extLst>
          </p:cNvPr>
          <p:cNvSpPr txBox="1"/>
          <p:nvPr/>
        </p:nvSpPr>
        <p:spPr>
          <a:xfrm>
            <a:off x="5096181" y="2878311"/>
            <a:ext cx="142843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Quicksand" charset="0"/>
                <a:cs typeface="Quicksand" charset="0"/>
              </a:rPr>
              <a:t>Conversational Platform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F9D61DC0-9442-4F4B-8F20-9AFB17F6705C}"/>
              </a:ext>
            </a:extLst>
          </p:cNvPr>
          <p:cNvCxnSpPr>
            <a:cxnSpLocks/>
          </p:cNvCxnSpPr>
          <p:nvPr/>
        </p:nvCxnSpPr>
        <p:spPr>
          <a:xfrm flipV="1">
            <a:off x="4207810" y="3509261"/>
            <a:ext cx="858965" cy="1098908"/>
          </a:xfrm>
          <a:prstGeom prst="straightConnector1">
            <a:avLst/>
          </a:prstGeom>
          <a:ln w="47625" cmpd="sng"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AE2134C-16CE-4721-9AE4-92AEAB926C6A}"/>
              </a:ext>
            </a:extLst>
          </p:cNvPr>
          <p:cNvCxnSpPr>
            <a:cxnSpLocks/>
          </p:cNvCxnSpPr>
          <p:nvPr/>
        </p:nvCxnSpPr>
        <p:spPr>
          <a:xfrm>
            <a:off x="6537988" y="3509261"/>
            <a:ext cx="858965" cy="1098908"/>
          </a:xfrm>
          <a:prstGeom prst="straightConnector1">
            <a:avLst/>
          </a:prstGeom>
          <a:ln w="47625" cmpd="sng"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342BFE29-1724-4C58-B607-71B12F7B0705}"/>
              </a:ext>
            </a:extLst>
          </p:cNvPr>
          <p:cNvCxnSpPr>
            <a:cxnSpLocks/>
          </p:cNvCxnSpPr>
          <p:nvPr/>
        </p:nvCxnSpPr>
        <p:spPr>
          <a:xfrm>
            <a:off x="5810398" y="3509261"/>
            <a:ext cx="0" cy="1098908"/>
          </a:xfrm>
          <a:prstGeom prst="straightConnector1">
            <a:avLst/>
          </a:prstGeom>
          <a:ln w="47625" cmpd="sng"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051A5857-B81E-4E2D-8FAE-160C76A097F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32179" y="3062961"/>
            <a:ext cx="1361559" cy="1019855"/>
          </a:xfrm>
          <a:prstGeom prst="rect">
            <a:avLst/>
          </a:prstGeom>
        </p:spPr>
      </p:pic>
      <p:pic>
        <p:nvPicPr>
          <p:cNvPr id="26" name="Picture 2" descr="Bilderesultat for dialogflow">
            <a:extLst>
              <a:ext uri="{FF2B5EF4-FFF2-40B4-BE49-F238E27FC236}">
                <a16:creationId xmlns:a16="http://schemas.microsoft.com/office/drawing/2014/main" id="{44C81C36-6B2A-4D79-93FF-62613AF1FF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9565" y="4081988"/>
            <a:ext cx="1693870" cy="719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03EE302E-CF8E-F340-9C44-D318275A0E13}"/>
              </a:ext>
            </a:extLst>
          </p:cNvPr>
          <p:cNvGrpSpPr/>
          <p:nvPr/>
        </p:nvGrpSpPr>
        <p:grpSpPr>
          <a:xfrm>
            <a:off x="9099974" y="6159836"/>
            <a:ext cx="2033052" cy="400110"/>
            <a:chOff x="9266023" y="5499206"/>
            <a:chExt cx="2033052" cy="40011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C0C974C-9979-4FC9-8E01-4368B588D2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36992" y="5518220"/>
              <a:ext cx="362083" cy="362083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9337198-531F-4316-82F0-B9136FD17221}"/>
                </a:ext>
              </a:extLst>
            </p:cNvPr>
            <p:cNvSpPr txBox="1"/>
            <p:nvPr/>
          </p:nvSpPr>
          <p:spPr>
            <a:xfrm>
              <a:off x="9266023" y="5499206"/>
              <a:ext cx="169387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Arial Rounded MT Bold" panose="020F0704030504030204" pitchFamily="34" charset="0"/>
                  <a:ea typeface="Quicksand" charset="0"/>
                  <a:cs typeface="Quicksand" charset="0"/>
                </a:rPr>
                <a:t>Generic API</a:t>
              </a: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B9DB264E-E567-D940-AB6F-347D2498883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6180" y="5470885"/>
            <a:ext cx="1505916" cy="541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1364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000"/>
                            </p:stCondLst>
                            <p:childTnLst>
                              <p:par>
                                <p:cTn id="4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000"/>
                            </p:stCondLst>
                            <p:childTnLst>
                              <p:par>
                                <p:cTn id="5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3000"/>
                            </p:stCondLst>
                            <p:childTnLst>
                              <p:par>
                                <p:cTn id="5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000"/>
                            </p:stCondLst>
                            <p:childTnLst>
                              <p:par>
                                <p:cTn id="6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000"/>
                            </p:stCondLst>
                            <p:childTnLst>
                              <p:par>
                                <p:cTn id="6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6000"/>
                            </p:stCondLst>
                            <p:childTnLst>
                              <p:par>
                                <p:cTn id="7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/>
      <p:bldP spid="15" grpId="0"/>
      <p:bldP spid="19" grpId="0"/>
      <p:bldP spid="21" grpId="0"/>
      <p:bldP spid="24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AC204B6-5A71-4AC1-BAA1-5B8C6FED44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AC204B6-5A71-4AC1-BAA1-5B8C6FED44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FCE773D-79DB-485A-B639-C0284969E3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Rounded MT Bold" panose="020F0704030504030204" pitchFamily="34" charset="0"/>
              <a:ea typeface="+mn-ea"/>
              <a:cs typeface="+mn-cs"/>
              <a:sym typeface="Arial Rounded MT Bold" panose="020F07040305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/>
            </a:pPr>
            <a:r>
              <a:rPr lang="en-GB">
                <a:solidFill>
                  <a:srgbClr val="EB1562"/>
                </a:solidFill>
              </a:rPr>
              <a:t>Gartner Magic Quadra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Magic Quadrant for Contact Centre as a Service, Western Europe &amp; Security Complianc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28A8B8-E2CF-4010-9481-7F45DA54215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39" r="17733"/>
          <a:stretch/>
        </p:blipFill>
        <p:spPr>
          <a:xfrm>
            <a:off x="8196949" y="3722398"/>
            <a:ext cx="1225445" cy="1193800"/>
          </a:xfrm>
          <a:prstGeom prst="rect">
            <a:avLst/>
          </a:prstGeom>
        </p:spPr>
      </p:pic>
      <p:sp>
        <p:nvSpPr>
          <p:cNvPr id="8" name="Rectangle 38">
            <a:extLst>
              <a:ext uri="{FF2B5EF4-FFF2-40B4-BE49-F238E27FC236}">
                <a16:creationId xmlns:a16="http://schemas.microsoft.com/office/drawing/2014/main" id="{87179C31-CED8-464A-9733-376DEDD0B0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72710" y="2325923"/>
            <a:ext cx="1085850" cy="1085850"/>
          </a:xfrm>
          <a:prstGeom prst="rect">
            <a:avLst/>
          </a:prstGeom>
          <a:solidFill>
            <a:schemeClr val="accent4"/>
          </a:solidFill>
          <a:ln w="9525">
            <a:solidFill>
              <a:srgbClr val="FFFFFF"/>
            </a:solidFill>
            <a:miter lim="800000"/>
            <a:headEnd/>
            <a:tailEnd/>
          </a:ln>
          <a:effectLst>
            <a:outerShdw dist="25399" sx="5000" sy="5000" algn="ctr" rotWithShape="0">
              <a:srgbClr val="000000"/>
            </a:outerShdw>
          </a:effectLst>
        </p:spPr>
        <p:txBody>
          <a:bodyPr wrap="square" anchor="ctr">
            <a:normAutofit/>
          </a:bodyPr>
          <a:lstStyle/>
          <a:p>
            <a:pPr marL="0" marR="0" lvl="0" indent="0" algn="ctr" defTabSz="6858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ahoma" charset="0"/>
              </a:rPr>
              <a:t>ISO 27001</a:t>
            </a:r>
            <a:r>
              <a:rPr kumimoji="0" lang="en-GB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ahoma" charset="0"/>
              </a:rPr>
              <a:t> </a:t>
            </a: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ahoma" charset="0"/>
              </a:rPr>
              <a:t>Information Security</a:t>
            </a:r>
          </a:p>
        </p:txBody>
      </p:sp>
      <p:sp>
        <p:nvSpPr>
          <p:cNvPr id="9" name="Rectangle 42">
            <a:extLst>
              <a:ext uri="{FF2B5EF4-FFF2-40B4-BE49-F238E27FC236}">
                <a16:creationId xmlns:a16="http://schemas.microsoft.com/office/drawing/2014/main" id="{1DFB2D46-9104-40C9-8DDC-AD3F813DCA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4562" y="2325923"/>
            <a:ext cx="1085850" cy="1085850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  <a:miter lim="800000"/>
            <a:headEnd/>
            <a:tailEnd/>
          </a:ln>
          <a:effectLst>
            <a:outerShdw dist="25399" sx="5000" sy="5000" algn="ctr" rotWithShape="0">
              <a:srgbClr val="000000"/>
            </a:outerShdw>
          </a:effectLst>
        </p:spPr>
        <p:txBody>
          <a:bodyPr wrap="square" anchor="ctr">
            <a:normAutofit/>
          </a:bodyPr>
          <a:lstStyle/>
          <a:p>
            <a:pPr marL="0" marR="0" lvl="0" indent="0" algn="ctr" defTabSz="6858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ahoma" charset="0"/>
              </a:rPr>
              <a:t>ISO 9001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ahoma" charset="0"/>
              </a:rPr>
              <a:t>Quality</a:t>
            </a:r>
          </a:p>
        </p:txBody>
      </p:sp>
      <p:sp>
        <p:nvSpPr>
          <p:cNvPr id="10" name="Rectangle 42">
            <a:extLst>
              <a:ext uri="{FF2B5EF4-FFF2-40B4-BE49-F238E27FC236}">
                <a16:creationId xmlns:a16="http://schemas.microsoft.com/office/drawing/2014/main" id="{7CE8C26D-585F-4668-9629-D264B374BF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0859" y="2331595"/>
            <a:ext cx="1085850" cy="1074507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  <a:miter lim="800000"/>
            <a:headEnd/>
            <a:tailEnd/>
          </a:ln>
          <a:effectLst>
            <a:outerShdw dist="25399" sx="5000" sy="5000" algn="ctr" rotWithShape="0">
              <a:srgbClr val="000000"/>
            </a:outerShdw>
          </a:effectLst>
        </p:spPr>
        <p:txBody>
          <a:bodyPr wrap="square" anchor="ctr">
            <a:normAutofit lnSpcReduction="10000"/>
          </a:bodyPr>
          <a:lstStyle/>
          <a:p>
            <a:pPr marL="0" marR="0" lvl="0" indent="0" algn="ctr" defTabSz="6858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ahoma" charset="0"/>
              </a:rPr>
              <a:t>PCI</a:t>
            </a: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ahoma" charset="0"/>
              </a:rPr>
              <a:t>Payment Card Industry Standard</a:t>
            </a:r>
          </a:p>
        </p:txBody>
      </p:sp>
      <p:pic>
        <p:nvPicPr>
          <p:cNvPr id="12" name="Bilde 43">
            <a:extLst>
              <a:ext uri="{FF2B5EF4-FFF2-40B4-BE49-F238E27FC236}">
                <a16:creationId xmlns:a16="http://schemas.microsoft.com/office/drawing/2014/main" id="{3B1ECC53-A24D-49C1-89EB-304ACC14563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575" y="1775546"/>
            <a:ext cx="4882711" cy="48827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80EFC6D-9364-4F8A-925C-BD3E46F7382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21" r="20078"/>
          <a:stretch/>
        </p:blipFill>
        <p:spPr>
          <a:xfrm>
            <a:off x="6960857" y="3722398"/>
            <a:ext cx="1085851" cy="11938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06CCD00-BDC9-40D3-8368-8B7CDC4CE3A1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2" r="14989"/>
          <a:stretch/>
        </p:blipFill>
        <p:spPr>
          <a:xfrm>
            <a:off x="9572635" y="3722398"/>
            <a:ext cx="1225445" cy="11938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BD5A0C9-6922-4B8C-A7E2-6A766B564D6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6948" y="5185259"/>
            <a:ext cx="1225445" cy="1225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84273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AC204B6-5A71-4AC1-BAA1-5B8C6FED44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AC204B6-5A71-4AC1-BAA1-5B8C6FED44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FCE773D-79DB-485A-B639-C0284969E3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Rounded MT Bold" panose="020F0704030504030204" pitchFamily="34" charset="0"/>
              <a:ea typeface="+mn-ea"/>
              <a:cs typeface="+mn-cs"/>
              <a:sym typeface="Arial Rounded MT Bold" panose="020F07040305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ertified and recognized by Gartn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Magic Quadrant for Contact Centre as a Service, Europ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049230-F805-7A42-83DA-D0AC11D190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78" y="1850551"/>
            <a:ext cx="10467147" cy="4140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15286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AC204B6-5A71-4AC1-BAA1-5B8C6FED44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AC204B6-5A71-4AC1-BAA1-5B8C6FED44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FCE773D-79DB-485A-B639-C0284969E3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Rounded MT Bold" panose="020F0704030504030204" pitchFamily="34" charset="0"/>
              <a:ea typeface="+mn-ea"/>
              <a:cs typeface="+mn-cs"/>
              <a:sym typeface="Arial Rounded MT Bold" panose="020F07040305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ertified and recognized by Gartn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Magic Quadrant for Contact Centre as a Service, Europ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05B54F7-81F0-FE47-A16B-49367B4B9E34}"/>
              </a:ext>
            </a:extLst>
          </p:cNvPr>
          <p:cNvGrpSpPr/>
          <p:nvPr/>
        </p:nvGrpSpPr>
        <p:grpSpPr>
          <a:xfrm>
            <a:off x="283464" y="1918216"/>
            <a:ext cx="11612880" cy="3386230"/>
            <a:chOff x="283464" y="1918216"/>
            <a:chExt cx="11612880" cy="3386230"/>
          </a:xfrm>
        </p:grpSpPr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A8337424-EB19-4F11-A832-EBA8E9F1B5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3464" y="1931279"/>
              <a:ext cx="8835317" cy="3316534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83B75D2-16A1-4848-A588-01CC9FEAEE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011"/>
            <a:stretch/>
          </p:blipFill>
          <p:spPr>
            <a:xfrm>
              <a:off x="8987003" y="1918216"/>
              <a:ext cx="2909341" cy="33862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5330205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FD06D3-8516-45D2-9213-DEA18B044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Magic Quadrant detail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06388E-FD4B-5C44-B88E-2F9AF36ED1B4}"/>
              </a:ext>
            </a:extLst>
          </p:cNvPr>
          <p:cNvSpPr/>
          <p:nvPr/>
        </p:nvSpPr>
        <p:spPr>
          <a:xfrm>
            <a:off x="8288685" y="406110"/>
            <a:ext cx="23223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B2E63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2018 Magic Quadran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F64191C-6283-4036-B059-4216B1874DA8}"/>
              </a:ext>
            </a:extLst>
          </p:cNvPr>
          <p:cNvSpPr/>
          <p:nvPr/>
        </p:nvSpPr>
        <p:spPr>
          <a:xfrm>
            <a:off x="1987472" y="1467044"/>
            <a:ext cx="23080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B2E63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2017 Magic Quadran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232B382-27ED-49AD-9098-D08BB480A0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91207"/>
            <a:ext cx="4400008" cy="416429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194C489-3854-4846-B6BC-855DB9909C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4607" y="775442"/>
            <a:ext cx="6158468" cy="6005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3031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3D25B0BB-B58D-E84B-80CD-C72DE1B78B27}"/>
              </a:ext>
            </a:extLst>
          </p:cNvPr>
          <p:cNvSpPr txBox="1">
            <a:spLocks/>
          </p:cNvSpPr>
          <p:nvPr/>
        </p:nvSpPr>
        <p:spPr>
          <a:xfrm>
            <a:off x="489463" y="4585641"/>
            <a:ext cx="11240804" cy="95338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 baseline="0">
                <a:solidFill>
                  <a:schemeClr val="tx2"/>
                </a:solidFill>
                <a:latin typeface="Arial Rounded MT Bold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0" i="0" u="none" strike="noStrike" kern="1200" cap="none" spc="0" normalizeH="0" baseline="0" noProof="0">
                <a:ln>
                  <a:noFill/>
                </a:ln>
                <a:solidFill>
                  <a:srgbClr val="EB1562"/>
                </a:solidFill>
                <a:effectLst/>
                <a:uLnTx/>
                <a:uFillTx/>
                <a:latin typeface="Arial Rounded MT Bold" charset="0"/>
                <a:ea typeface="+mj-ea"/>
                <a:cs typeface="+mj-cs"/>
              </a:rPr>
              <a:t>Title</a:t>
            </a:r>
            <a:endParaRPr kumimoji="0" lang="en-GB" sz="6600" b="0" i="0" u="none" strike="noStrike" kern="1200" cap="none" spc="0" normalizeH="0" baseline="0" noProof="0">
              <a:ln>
                <a:noFill/>
              </a:ln>
              <a:solidFill>
                <a:srgbClr val="EB1562"/>
              </a:solidFill>
              <a:effectLst/>
              <a:uLnTx/>
              <a:uFillTx/>
              <a:latin typeface="Arial Rounded MT Bold"/>
              <a:ea typeface="+mj-ea"/>
              <a:cs typeface="+mj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7CD7400-B198-C640-B48E-823F145CAFCB}"/>
              </a:ext>
            </a:extLst>
          </p:cNvPr>
          <p:cNvSpPr txBox="1">
            <a:spLocks/>
          </p:cNvSpPr>
          <p:nvPr/>
        </p:nvSpPr>
        <p:spPr>
          <a:xfrm>
            <a:off x="489463" y="5914822"/>
            <a:ext cx="5080000" cy="607637"/>
          </a:xfrm>
          <a:prstGeom prst="rect">
            <a:avLst/>
          </a:prstGeom>
        </p:spPr>
        <p:txBody>
          <a:bodyPr/>
          <a:lstStyle>
            <a:lvl1pPr marL="184150" indent="-1841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charset="0"/>
              <a:buChar char="•"/>
              <a:tabLst/>
              <a:defRPr sz="17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623888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90000"/>
              <a:buFont typeface="Arial" charset="0"/>
              <a:buChar char="•"/>
              <a:tabLst/>
              <a:defRPr sz="15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2pPr>
            <a:lvl3pPr marL="1071563" indent="-1571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3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3pPr>
            <a:lvl4pPr marL="1558925" indent="-1873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2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4pPr>
            <a:lvl5pPr marL="2000250" indent="-1714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1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1562"/>
              </a:buClr>
              <a:buSzPct val="100000"/>
              <a:buFont typeface="Arial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909399"/>
                </a:solidFill>
                <a:effectLst/>
                <a:uLnTx/>
                <a:uFillTx/>
                <a:latin typeface="Franklin Gothic Book" charset="0"/>
              </a:rPr>
              <a:t>Date YEAR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BC3C4EA-77B0-104C-851D-2C14C5929766}"/>
              </a:ext>
            </a:extLst>
          </p:cNvPr>
          <p:cNvGrpSpPr/>
          <p:nvPr/>
        </p:nvGrpSpPr>
        <p:grpSpPr>
          <a:xfrm>
            <a:off x="0" y="592429"/>
            <a:ext cx="12199461" cy="3617416"/>
            <a:chOff x="1624919" y="675204"/>
            <a:chExt cx="9168434" cy="2718648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E016FC53-1F3C-3043-9624-D74374C2CE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09136" y="675205"/>
              <a:ext cx="1529238" cy="2718646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D0763278-BB38-B742-9B0D-CBBE273566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84418" y="675206"/>
              <a:ext cx="1529239" cy="271864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730F9E07-FBEF-C442-9CFA-C49CAE8A9C4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54157" y="675205"/>
              <a:ext cx="1529238" cy="2718646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0243995-7BCE-9C4B-9468-5648D8951C4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24919" y="675205"/>
              <a:ext cx="1529238" cy="2718646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733B442E-7B81-B04D-8B0C-EB261F1463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264115" y="675205"/>
              <a:ext cx="1529238" cy="2718646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10857467-2908-9542-9FB5-F0F21F0AA1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738374" y="675204"/>
              <a:ext cx="1529239" cy="27186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796346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98F0056-5517-4110-8BD1-8A8D1A0EE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Broad and Loyal Global Enterprise Client Base</a:t>
            </a:r>
            <a:endParaRPr lang="en-GB"/>
          </a:p>
        </p:txBody>
      </p:sp>
      <p:pic>
        <p:nvPicPr>
          <p:cNvPr id="153" name="Picture 6" descr="https://www.affinitywater.co.uk/images/layout/affinity-water.gif">
            <a:extLst>
              <a:ext uri="{FF2B5EF4-FFF2-40B4-BE49-F238E27FC236}">
                <a16:creationId xmlns:a16="http://schemas.microsoft.com/office/drawing/2014/main" id="{8A489D13-2751-440A-98D7-827C5D25BC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8" y="1402911"/>
            <a:ext cx="1324819" cy="606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4" name="Picture 12" descr="National Grid Top">
            <a:extLst>
              <a:ext uri="{FF2B5EF4-FFF2-40B4-BE49-F238E27FC236}">
                <a16:creationId xmlns:a16="http://schemas.microsoft.com/office/drawing/2014/main" id="{FD1A2701-694E-4DFA-AFBF-E2F364FE88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058" y="1558255"/>
            <a:ext cx="1439709" cy="295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5" name="Picture 4">
            <a:extLst>
              <a:ext uri="{FF2B5EF4-FFF2-40B4-BE49-F238E27FC236}">
                <a16:creationId xmlns:a16="http://schemas.microsoft.com/office/drawing/2014/main" id="{45C0D6C8-5B2A-438E-BE03-38C276932C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auto">
          <a:xfrm>
            <a:off x="6296023" y="1574686"/>
            <a:ext cx="919438" cy="279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6" name="Picture 2">
            <a:extLst>
              <a:ext uri="{FF2B5EF4-FFF2-40B4-BE49-F238E27FC236}">
                <a16:creationId xmlns:a16="http://schemas.microsoft.com/office/drawing/2014/main" id="{D93D5F1D-7CFB-4AE3-97C1-B19CD39329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550" y="2301795"/>
            <a:ext cx="1470975" cy="6025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7" name="Picture 2">
            <a:extLst>
              <a:ext uri="{FF2B5EF4-FFF2-40B4-BE49-F238E27FC236}">
                <a16:creationId xmlns:a16="http://schemas.microsoft.com/office/drawing/2014/main" id="{94046695-58CE-47D4-8853-24572D7890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0343" y="2299291"/>
            <a:ext cx="1570577" cy="676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8" name="Picture 10" descr="Hogg Robinson Group">
            <a:extLst>
              <a:ext uri="{FF2B5EF4-FFF2-40B4-BE49-F238E27FC236}">
                <a16:creationId xmlns:a16="http://schemas.microsoft.com/office/drawing/2014/main" id="{D115F9E9-3434-4BEA-A12E-4772A8D154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2857" y="2455822"/>
            <a:ext cx="983085" cy="418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9" name="Picture 158">
            <a:extLst>
              <a:ext uri="{FF2B5EF4-FFF2-40B4-BE49-F238E27FC236}">
                <a16:creationId xmlns:a16="http://schemas.microsoft.com/office/drawing/2014/main" id="{07B2388C-7B7C-4BEB-857A-9467726E8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5326" y="2343846"/>
            <a:ext cx="566307" cy="566307"/>
          </a:xfrm>
          <a:prstGeom prst="rect">
            <a:avLst/>
          </a:prstGeom>
        </p:spPr>
      </p:pic>
      <p:pic>
        <p:nvPicPr>
          <p:cNvPr id="160" name="Picture 159">
            <a:extLst>
              <a:ext uri="{FF2B5EF4-FFF2-40B4-BE49-F238E27FC236}">
                <a16:creationId xmlns:a16="http://schemas.microsoft.com/office/drawing/2014/main" id="{216AC5F3-CEDE-4B6D-8CB9-51160BD94BF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86107" y="2491915"/>
            <a:ext cx="1163081" cy="294514"/>
          </a:xfrm>
          <a:prstGeom prst="rect">
            <a:avLst/>
          </a:prstGeom>
        </p:spPr>
      </p:pic>
      <p:pic>
        <p:nvPicPr>
          <p:cNvPr id="161" name="Picture 16" descr="http://compucraftab.se/wp-content/uploads/2015/03/telenor.png">
            <a:extLst>
              <a:ext uri="{FF2B5EF4-FFF2-40B4-BE49-F238E27FC236}">
                <a16:creationId xmlns:a16="http://schemas.microsoft.com/office/drawing/2014/main" id="{CCEDF8D6-2C52-4C99-ABA2-DC0D43080D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9945" y="2330678"/>
            <a:ext cx="1328644" cy="587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2" name="Picture 14" descr="http://www.convert.no/globalassets/visma_logo_big10.png">
            <a:extLst>
              <a:ext uri="{FF2B5EF4-FFF2-40B4-BE49-F238E27FC236}">
                <a16:creationId xmlns:a16="http://schemas.microsoft.com/office/drawing/2014/main" id="{3FCF3742-B778-47C6-9639-B03998DA85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27" y="3411660"/>
            <a:ext cx="1458178" cy="340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" name="Picture 38" descr="https://az801830.vo.msecnd.net/resources/logo.min-sha2UrlX-5wEsrrV0qRDj5z4xoWgLBo.png">
            <a:extLst>
              <a:ext uri="{FF2B5EF4-FFF2-40B4-BE49-F238E27FC236}">
                <a16:creationId xmlns:a16="http://schemas.microsoft.com/office/drawing/2014/main" id="{A7FABF18-74D8-4A2E-B012-00321FE75B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4546" y="3257515"/>
            <a:ext cx="667361" cy="658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" name="Picture 163">
            <a:extLst>
              <a:ext uri="{FF2B5EF4-FFF2-40B4-BE49-F238E27FC236}">
                <a16:creationId xmlns:a16="http://schemas.microsoft.com/office/drawing/2014/main" id="{E50D08C5-0C20-4C61-9E83-4F1900486117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4397" y="3318265"/>
            <a:ext cx="1511854" cy="536962"/>
          </a:xfrm>
          <a:prstGeom prst="rect">
            <a:avLst/>
          </a:prstGeom>
        </p:spPr>
      </p:pic>
      <p:pic>
        <p:nvPicPr>
          <p:cNvPr id="165" name="Picture 20" descr="https://upload.wikimedia.org/wikipedia/commons/thumb/0/00/Selecta-Logo.svg/2000px-Selecta-Logo.svg.png">
            <a:extLst>
              <a:ext uri="{FF2B5EF4-FFF2-40B4-BE49-F238E27FC236}">
                <a16:creationId xmlns:a16="http://schemas.microsoft.com/office/drawing/2014/main" id="{EBFB72C8-2A87-4CB7-8A2C-80968F8A40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541" y="4305771"/>
            <a:ext cx="1484692" cy="507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7" name="Picture 56" descr="Figleaves Banner">
            <a:extLst>
              <a:ext uri="{FF2B5EF4-FFF2-40B4-BE49-F238E27FC236}">
                <a16:creationId xmlns:a16="http://schemas.microsoft.com/office/drawing/2014/main" id="{039D9510-8431-41E1-B7B4-FC670DDB0B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080" y="4276208"/>
            <a:ext cx="1537900" cy="62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8" name="Picture 167">
            <a:extLst>
              <a:ext uri="{FF2B5EF4-FFF2-40B4-BE49-F238E27FC236}">
                <a16:creationId xmlns:a16="http://schemas.microsoft.com/office/drawing/2014/main" id="{04B4B914-FCB0-4B9C-A3C6-E6D0330E800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4399" y="4136896"/>
            <a:ext cx="1403704" cy="661165"/>
          </a:xfrm>
          <a:prstGeom prst="rect">
            <a:avLst/>
          </a:prstGeom>
        </p:spPr>
      </p:pic>
      <p:pic>
        <p:nvPicPr>
          <p:cNvPr id="169" name="Picture 168">
            <a:extLst>
              <a:ext uri="{FF2B5EF4-FFF2-40B4-BE49-F238E27FC236}">
                <a16:creationId xmlns:a16="http://schemas.microsoft.com/office/drawing/2014/main" id="{6153667C-22AC-4BC7-95F9-E8781F3434DE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408" y="5387112"/>
            <a:ext cx="1410171" cy="306920"/>
          </a:xfrm>
          <a:prstGeom prst="rect">
            <a:avLst/>
          </a:prstGeom>
        </p:spPr>
      </p:pic>
      <p:pic>
        <p:nvPicPr>
          <p:cNvPr id="170" name="Picture 2" descr="http://p2sl.berkeley.edu/Member%20Company%20Logos/Skanska_logo.jpg">
            <a:extLst>
              <a:ext uri="{FF2B5EF4-FFF2-40B4-BE49-F238E27FC236}">
                <a16:creationId xmlns:a16="http://schemas.microsoft.com/office/drawing/2014/main" id="{D624C903-EF0A-4D74-809E-D82B0DE0E0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8830" y="5222887"/>
            <a:ext cx="1972489" cy="646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" name="Picture 2" descr="http://upload.wikimedia.org/wikipedia/en/b/b4/Evry_logo_RGB_PPT.png">
            <a:extLst>
              <a:ext uri="{FF2B5EF4-FFF2-40B4-BE49-F238E27FC236}">
                <a16:creationId xmlns:a16="http://schemas.microsoft.com/office/drawing/2014/main" id="{A9843D8B-21A3-474D-A980-F5B3315EF8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4213" y="4305771"/>
            <a:ext cx="1044198" cy="541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2" name="Picture 24" descr="http://1.bp.blogspot.com/-8OsreIvvX9s/Vaukaemc0MI/AAAAAAAA7to/QLmQBBax7vs/s1600/pwclogo.png">
            <a:extLst>
              <a:ext uri="{FF2B5EF4-FFF2-40B4-BE49-F238E27FC236}">
                <a16:creationId xmlns:a16="http://schemas.microsoft.com/office/drawing/2014/main" id="{3AF11000-E079-464A-8343-BFE1A6DDED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3170" y="5263565"/>
            <a:ext cx="1573349" cy="523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3" name="Picture 34" descr="http://www.santai-entertainment.com/wp-content/images/kilroy-logo-travels.png">
            <a:extLst>
              <a:ext uri="{FF2B5EF4-FFF2-40B4-BE49-F238E27FC236}">
                <a16:creationId xmlns:a16="http://schemas.microsoft.com/office/drawing/2014/main" id="{E9A7059D-88C1-4889-8015-7BC06DF39B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6180" y="5067751"/>
            <a:ext cx="976355" cy="832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" name="Picture 2" descr="http://www.cumap2.dk/cup/upload/5269_sticky_5.png?r=2621">
            <a:extLst>
              <a:ext uri="{FF2B5EF4-FFF2-40B4-BE49-F238E27FC236}">
                <a16:creationId xmlns:a16="http://schemas.microsoft.com/office/drawing/2014/main" id="{F56B9375-0EA7-41AD-AA41-F99D82993D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5856" y="5271349"/>
            <a:ext cx="1571412" cy="382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" name="Picture 174">
            <a:extLst>
              <a:ext uri="{FF2B5EF4-FFF2-40B4-BE49-F238E27FC236}">
                <a16:creationId xmlns:a16="http://schemas.microsoft.com/office/drawing/2014/main" id="{3AEF1ACF-1819-4369-8497-343063AF3C3D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993723" y="1579124"/>
            <a:ext cx="1317109" cy="254202"/>
          </a:xfrm>
          <a:prstGeom prst="rect">
            <a:avLst/>
          </a:prstGeom>
        </p:spPr>
      </p:pic>
      <p:pic>
        <p:nvPicPr>
          <p:cNvPr id="176" name="Picture 175">
            <a:extLst>
              <a:ext uri="{FF2B5EF4-FFF2-40B4-BE49-F238E27FC236}">
                <a16:creationId xmlns:a16="http://schemas.microsoft.com/office/drawing/2014/main" id="{07E39ACB-9D97-438B-87D3-A1E0A3DC6762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4309767" y="3252650"/>
            <a:ext cx="1042289" cy="654557"/>
          </a:xfrm>
          <a:prstGeom prst="rect">
            <a:avLst/>
          </a:prstGeom>
        </p:spPr>
      </p:pic>
      <p:pic>
        <p:nvPicPr>
          <p:cNvPr id="177" name="Picture 176">
            <a:extLst>
              <a:ext uri="{FF2B5EF4-FFF2-40B4-BE49-F238E27FC236}">
                <a16:creationId xmlns:a16="http://schemas.microsoft.com/office/drawing/2014/main" id="{B38F5490-BC79-483B-91F9-7C146A3D6B96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8754613" y="3452741"/>
            <a:ext cx="1552966" cy="276622"/>
          </a:xfrm>
          <a:prstGeom prst="rect">
            <a:avLst/>
          </a:prstGeom>
        </p:spPr>
      </p:pic>
      <p:pic>
        <p:nvPicPr>
          <p:cNvPr id="179" name="Picture 178">
            <a:extLst>
              <a:ext uri="{FF2B5EF4-FFF2-40B4-BE49-F238E27FC236}">
                <a16:creationId xmlns:a16="http://schemas.microsoft.com/office/drawing/2014/main" id="{79F903C9-F0FB-4913-9B53-7191B1CD3104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597341" y="4213788"/>
            <a:ext cx="1617909" cy="611112"/>
          </a:xfrm>
          <a:prstGeom prst="rect">
            <a:avLst/>
          </a:prstGeom>
        </p:spPr>
      </p:pic>
      <p:pic>
        <p:nvPicPr>
          <p:cNvPr id="180" name="Picture 179">
            <a:extLst>
              <a:ext uri="{FF2B5EF4-FFF2-40B4-BE49-F238E27FC236}">
                <a16:creationId xmlns:a16="http://schemas.microsoft.com/office/drawing/2014/main" id="{85FB6796-2102-4BC7-B22B-BD3377F05A27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9693441" y="4413103"/>
            <a:ext cx="1905000" cy="368300"/>
          </a:xfrm>
          <a:prstGeom prst="rect">
            <a:avLst/>
          </a:prstGeom>
        </p:spPr>
      </p:pic>
      <p:pic>
        <p:nvPicPr>
          <p:cNvPr id="181" name="Picture 180" descr="JYSK">
            <a:extLst>
              <a:ext uri="{FF2B5EF4-FFF2-40B4-BE49-F238E27FC236}">
                <a16:creationId xmlns:a16="http://schemas.microsoft.com/office/drawing/2014/main" id="{41131853-F266-4D10-B513-39028D5B05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8235" y="1503619"/>
            <a:ext cx="919438" cy="417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2" name="Picture 181">
            <a:extLst>
              <a:ext uri="{FF2B5EF4-FFF2-40B4-BE49-F238E27FC236}">
                <a16:creationId xmlns:a16="http://schemas.microsoft.com/office/drawing/2014/main" id="{183B529D-7C9D-4435-ABFE-1490C5D5EAFD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645941" y="3115683"/>
            <a:ext cx="815258" cy="815258"/>
          </a:xfrm>
          <a:prstGeom prst="rect">
            <a:avLst/>
          </a:prstGeom>
        </p:spPr>
      </p:pic>
      <p:pic>
        <p:nvPicPr>
          <p:cNvPr id="183" name="Picture 182">
            <a:extLst>
              <a:ext uri="{FF2B5EF4-FFF2-40B4-BE49-F238E27FC236}">
                <a16:creationId xmlns:a16="http://schemas.microsoft.com/office/drawing/2014/main" id="{949E8D98-EF72-4C6D-B8AA-65E7A5E6719C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9740542" y="2431398"/>
            <a:ext cx="2025603" cy="355031"/>
          </a:xfrm>
          <a:prstGeom prst="rect">
            <a:avLst/>
          </a:prstGeom>
        </p:spPr>
      </p:pic>
      <p:pic>
        <p:nvPicPr>
          <p:cNvPr id="184" name="Picture 183">
            <a:extLst>
              <a:ext uri="{FF2B5EF4-FFF2-40B4-BE49-F238E27FC236}">
                <a16:creationId xmlns:a16="http://schemas.microsoft.com/office/drawing/2014/main" id="{8EBB4C9A-7782-42E0-A8B1-136CEF45A204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2371717" y="3334238"/>
            <a:ext cx="1430207" cy="508518"/>
          </a:xfrm>
          <a:prstGeom prst="rect">
            <a:avLst/>
          </a:prstGeom>
        </p:spPr>
      </p:pic>
      <p:pic>
        <p:nvPicPr>
          <p:cNvPr id="185" name="Picture 184">
            <a:extLst>
              <a:ext uri="{FF2B5EF4-FFF2-40B4-BE49-F238E27FC236}">
                <a16:creationId xmlns:a16="http://schemas.microsoft.com/office/drawing/2014/main" id="{6EFE3483-4637-424A-B6FE-FF5A7EBDC738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2476" y="1415685"/>
            <a:ext cx="1069573" cy="558038"/>
          </a:xfrm>
          <a:prstGeom prst="rect">
            <a:avLst/>
          </a:prstGeom>
        </p:spPr>
      </p:pic>
      <p:pic>
        <p:nvPicPr>
          <p:cNvPr id="35" name="Picture 2">
            <a:extLst>
              <a:ext uri="{FF2B5EF4-FFF2-40B4-BE49-F238E27FC236}">
                <a16:creationId xmlns:a16="http://schemas.microsoft.com/office/drawing/2014/main" id="{6AAF37E3-2EA1-E047-9F70-5A2648DCCDD8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7953053" y="5305828"/>
            <a:ext cx="1750957" cy="433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17327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98F0056-5517-4110-8BD1-8A8D1A0EE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/>
              <a:t>NO Customer logos</a:t>
            </a:r>
          </a:p>
        </p:txBody>
      </p:sp>
      <p:pic>
        <p:nvPicPr>
          <p:cNvPr id="116" name="Picture 4" descr="https://upload.wikimedia.org/wikipedia/en/thumb/b/ba/Color_Line_logo.svg/1024px-Color_Line_logo.svg.png">
            <a:extLst>
              <a:ext uri="{FF2B5EF4-FFF2-40B4-BE49-F238E27FC236}">
                <a16:creationId xmlns:a16="http://schemas.microsoft.com/office/drawing/2014/main" id="{5E8B9D45-120A-49BD-80E4-9101848EAB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9869" y="2925652"/>
            <a:ext cx="1155615" cy="813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6" descr="https://www.nextgentel.no/2res/img/logofiler/nextgentel.png">
            <a:extLst>
              <a:ext uri="{FF2B5EF4-FFF2-40B4-BE49-F238E27FC236}">
                <a16:creationId xmlns:a16="http://schemas.microsoft.com/office/drawing/2014/main" id="{79EBB628-BF25-4FCF-9FEE-987F7AB1A5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3649" y="4345284"/>
            <a:ext cx="1713392" cy="297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8" descr="http://nordkalott2014.com/blog/wp-content/uploads/2014/09/Sponsor_7-UD-200x200.png">
            <a:extLst>
              <a:ext uri="{FF2B5EF4-FFF2-40B4-BE49-F238E27FC236}">
                <a16:creationId xmlns:a16="http://schemas.microsoft.com/office/drawing/2014/main" id="{905D4028-6240-4BFA-9684-B0FDF2FB5A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4223" y="2644238"/>
            <a:ext cx="1416077" cy="1416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118" descr="http://brandguide.lyse.no/uploads/lyse_profilmanual_2015/logo.png">
            <a:extLst>
              <a:ext uri="{FF2B5EF4-FFF2-40B4-BE49-F238E27FC236}">
                <a16:creationId xmlns:a16="http://schemas.microsoft.com/office/drawing/2014/main" id="{88B487CE-A5CE-4FC7-A196-538137AE3C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6898" y="5042276"/>
            <a:ext cx="1030115" cy="690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14" descr="http://www.convert.no/globalassets/visma_logo_big10.png">
            <a:extLst>
              <a:ext uri="{FF2B5EF4-FFF2-40B4-BE49-F238E27FC236}">
                <a16:creationId xmlns:a16="http://schemas.microsoft.com/office/drawing/2014/main" id="{1FB835E7-6CF7-4064-9139-0269D212EE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5990" y="1226398"/>
            <a:ext cx="1474388" cy="344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16" descr="http://www.chess.no/bundles/chessdesignframework/images/logoll.png?rv40">
            <a:extLst>
              <a:ext uri="{FF2B5EF4-FFF2-40B4-BE49-F238E27FC236}">
                <a16:creationId xmlns:a16="http://schemas.microsoft.com/office/drawing/2014/main" id="{0AEECC78-AB38-48D5-8F86-08E8A36FFE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3252" y="1157116"/>
            <a:ext cx="1173234" cy="51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20" descr="http://www.familieprat.no/wordpress/mammakine/files/2014/01/thonhotels1.png">
            <a:extLst>
              <a:ext uri="{FF2B5EF4-FFF2-40B4-BE49-F238E27FC236}">
                <a16:creationId xmlns:a16="http://schemas.microsoft.com/office/drawing/2014/main" id="{92A5E9D0-8768-4C0C-A0A0-467C7EF5D7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0607" y="4176851"/>
            <a:ext cx="1206909" cy="634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22" descr="http://img.photobucket.com/albums/v436/passion4architecture/Logo%20and%20Corporate%20Identity%202/Logo_Elektroskandia_SE-2.png">
            <a:extLst>
              <a:ext uri="{FF2B5EF4-FFF2-40B4-BE49-F238E27FC236}">
                <a16:creationId xmlns:a16="http://schemas.microsoft.com/office/drawing/2014/main" id="{36C00844-12ED-41B0-9504-450BDF0FD5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8815" y="543497"/>
            <a:ext cx="1876684" cy="1876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4" name="Picture 28" descr="https://upload.wikimedia.org/wikipedia/commons/thumb/0/00/ABB_logo.svg/2000px-ABB_logo.svg.png">
            <a:extLst>
              <a:ext uri="{FF2B5EF4-FFF2-40B4-BE49-F238E27FC236}">
                <a16:creationId xmlns:a16="http://schemas.microsoft.com/office/drawing/2014/main" id="{BD568556-DD44-4D5C-B783-CBCF6A298C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4379" y="4077962"/>
            <a:ext cx="1456007" cy="832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32" descr="https://pbs.twimg.com/profile_images/855195683/logo5_400x400.png">
            <a:extLst>
              <a:ext uri="{FF2B5EF4-FFF2-40B4-BE49-F238E27FC236}">
                <a16:creationId xmlns:a16="http://schemas.microsoft.com/office/drawing/2014/main" id="{72339C02-A195-4EC8-B4EF-85E7EA7E0D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5900" y="4033232"/>
            <a:ext cx="921568" cy="921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34" descr="http://www.santai-entertainment.com/wp-content/images/kilroy-logo-travels.png">
            <a:extLst>
              <a:ext uri="{FF2B5EF4-FFF2-40B4-BE49-F238E27FC236}">
                <a16:creationId xmlns:a16="http://schemas.microsoft.com/office/drawing/2014/main" id="{4C645E02-B355-471F-B066-D25C58186D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7353" y="900738"/>
            <a:ext cx="1138357" cy="970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36" descr="https://upload.wikimedia.org/wikipedia/en/thumb/e/e7/Yara_International_(emblem).svg/1024px-Yara_International_(emblem).svg.png">
            <a:extLst>
              <a:ext uri="{FF2B5EF4-FFF2-40B4-BE49-F238E27FC236}">
                <a16:creationId xmlns:a16="http://schemas.microsoft.com/office/drawing/2014/main" id="{F9A35660-C93E-4C52-BCC7-96FF744B7B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9857" y="2949461"/>
            <a:ext cx="766052" cy="766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127">
            <a:extLst>
              <a:ext uri="{FF2B5EF4-FFF2-40B4-BE49-F238E27FC236}">
                <a16:creationId xmlns:a16="http://schemas.microsoft.com/office/drawing/2014/main" id="{B4A27600-4BE3-4174-BB2D-E05849F3133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263" y="2100458"/>
            <a:ext cx="1392751" cy="494660"/>
          </a:xfrm>
          <a:prstGeom prst="rect">
            <a:avLst/>
          </a:prstGeom>
        </p:spPr>
      </p:pic>
      <p:pic>
        <p:nvPicPr>
          <p:cNvPr id="129" name="Picture 128">
            <a:extLst>
              <a:ext uri="{FF2B5EF4-FFF2-40B4-BE49-F238E27FC236}">
                <a16:creationId xmlns:a16="http://schemas.microsoft.com/office/drawing/2014/main" id="{0E598944-24CC-4671-86C7-AF7AA4B759F7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6266" y="1957042"/>
            <a:ext cx="1488557" cy="781492"/>
          </a:xfrm>
          <a:prstGeom prst="rect">
            <a:avLst/>
          </a:prstGeom>
        </p:spPr>
      </p:pic>
      <p:pic>
        <p:nvPicPr>
          <p:cNvPr id="130" name="Picture 129">
            <a:extLst>
              <a:ext uri="{FF2B5EF4-FFF2-40B4-BE49-F238E27FC236}">
                <a16:creationId xmlns:a16="http://schemas.microsoft.com/office/drawing/2014/main" id="{D4D5C376-8E83-4273-8EB2-1D9314F849E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831" y="2808022"/>
            <a:ext cx="1719082" cy="1048931"/>
          </a:xfrm>
          <a:prstGeom prst="rect">
            <a:avLst/>
          </a:prstGeom>
        </p:spPr>
      </p:pic>
      <p:pic>
        <p:nvPicPr>
          <p:cNvPr id="131" name="Picture 130">
            <a:extLst>
              <a:ext uri="{FF2B5EF4-FFF2-40B4-BE49-F238E27FC236}">
                <a16:creationId xmlns:a16="http://schemas.microsoft.com/office/drawing/2014/main" id="{0D87AB18-5449-4CA4-9E70-020BAA58193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724" y="1162501"/>
            <a:ext cx="1504538" cy="421271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23CACED2-48F0-4216-B7CD-0F4A0B59B09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7664" y="2056494"/>
            <a:ext cx="2093134" cy="582589"/>
          </a:xfrm>
          <a:prstGeom prst="rect">
            <a:avLst/>
          </a:prstGeom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A35884D1-2B2A-447F-AC4B-C489A46C6B8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3639" y="2130792"/>
            <a:ext cx="1821785" cy="433992"/>
          </a:xfrm>
          <a:prstGeom prst="rect">
            <a:avLst/>
          </a:prstGeom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91C8CCCC-04AD-4F15-B72E-07C05AA53CE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7374" y="2969767"/>
            <a:ext cx="1386265" cy="725440"/>
          </a:xfrm>
          <a:prstGeom prst="rect">
            <a:avLst/>
          </a:prstGeom>
        </p:spPr>
      </p:pic>
      <p:pic>
        <p:nvPicPr>
          <p:cNvPr id="135" name="Picture 134">
            <a:extLst>
              <a:ext uri="{FF2B5EF4-FFF2-40B4-BE49-F238E27FC236}">
                <a16:creationId xmlns:a16="http://schemas.microsoft.com/office/drawing/2014/main" id="{696F49C7-8700-4695-B5DE-420B0B697EB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27" y="1744522"/>
            <a:ext cx="1242616" cy="1242616"/>
          </a:xfrm>
          <a:prstGeom prst="rect">
            <a:avLst/>
          </a:prstGeom>
        </p:spPr>
      </p:pic>
      <p:pic>
        <p:nvPicPr>
          <p:cNvPr id="136" name="Picture 135">
            <a:extLst>
              <a:ext uri="{FF2B5EF4-FFF2-40B4-BE49-F238E27FC236}">
                <a16:creationId xmlns:a16="http://schemas.microsoft.com/office/drawing/2014/main" id="{18FD1F62-E644-4301-A73D-D781DCBF711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0230" y="2160622"/>
            <a:ext cx="2553195" cy="374333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:a16="http://schemas.microsoft.com/office/drawing/2014/main" id="{B1EAF9B1-E35F-4FCB-940D-B2B3124C1762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4322" y="1193139"/>
            <a:ext cx="1726875" cy="345375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id="{995749FE-CF11-4D4D-8D43-298140DBE11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71" y="5330637"/>
            <a:ext cx="2104509" cy="266653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D336B946-A33A-4699-AAC1-CAD647319D73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9208" y="4252366"/>
            <a:ext cx="1082511" cy="560049"/>
          </a:xfrm>
          <a:prstGeom prst="rect">
            <a:avLst/>
          </a:prstGeom>
        </p:spPr>
      </p:pic>
      <p:pic>
        <p:nvPicPr>
          <p:cNvPr id="140" name="Picture 139">
            <a:extLst>
              <a:ext uri="{FF2B5EF4-FFF2-40B4-BE49-F238E27FC236}">
                <a16:creationId xmlns:a16="http://schemas.microsoft.com/office/drawing/2014/main" id="{5AF8BBBC-555C-4A0B-A8EF-2AAEE7F8DB2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8596" y="3192952"/>
            <a:ext cx="1797027" cy="314968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720FD9F9-92F9-4097-82D9-F448000502CB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3057" y="5220933"/>
            <a:ext cx="1521774" cy="486060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1125DCD7-1EFD-4920-91C7-6185AC77401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773" y="1092946"/>
            <a:ext cx="1106095" cy="663657"/>
          </a:xfrm>
          <a:prstGeom prst="rect">
            <a:avLst/>
          </a:prstGeom>
        </p:spPr>
      </p:pic>
      <p:pic>
        <p:nvPicPr>
          <p:cNvPr id="143" name="Picture 4">
            <a:extLst>
              <a:ext uri="{FF2B5EF4-FFF2-40B4-BE49-F238E27FC236}">
                <a16:creationId xmlns:a16="http://schemas.microsoft.com/office/drawing/2014/main" id="{D3F4C728-E782-4454-AA82-23AF68635A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 bwMode="auto">
          <a:xfrm>
            <a:off x="6912560" y="6089252"/>
            <a:ext cx="990163" cy="301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4" name="Picture 16" descr="http://compucraftab.se/wp-content/uploads/2015/03/telenor.png">
            <a:extLst>
              <a:ext uri="{FF2B5EF4-FFF2-40B4-BE49-F238E27FC236}">
                <a16:creationId xmlns:a16="http://schemas.microsoft.com/office/drawing/2014/main" id="{B0EF43A7-35AC-4D02-9F8A-DC03437A3E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5417" y="4183940"/>
            <a:ext cx="1328644" cy="587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5" name="Picture 144">
            <a:extLst>
              <a:ext uri="{FF2B5EF4-FFF2-40B4-BE49-F238E27FC236}">
                <a16:creationId xmlns:a16="http://schemas.microsoft.com/office/drawing/2014/main" id="{F2A2CFDB-9F6B-4479-AFF7-7693034937B8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3045191" y="5268068"/>
            <a:ext cx="1581003" cy="391791"/>
          </a:xfrm>
          <a:prstGeom prst="rect">
            <a:avLst/>
          </a:prstGeom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323CF7D4-04FA-49DC-A137-62293372381F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1319" y="6139602"/>
            <a:ext cx="1129930" cy="245926"/>
          </a:xfrm>
          <a:prstGeom prst="rect">
            <a:avLst/>
          </a:prstGeom>
        </p:spPr>
      </p:pic>
      <p:pic>
        <p:nvPicPr>
          <p:cNvPr id="147" name="Picture 2" descr="http://p2sl.berkeley.edu/Member%20Company%20Logos/Skanska_logo.jpg">
            <a:extLst>
              <a:ext uri="{FF2B5EF4-FFF2-40B4-BE49-F238E27FC236}">
                <a16:creationId xmlns:a16="http://schemas.microsoft.com/office/drawing/2014/main" id="{7C4EA44D-C0FB-45A9-9DF6-BD6066EAEA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287" y="5168991"/>
            <a:ext cx="1799704" cy="5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8" name="Picture 2" descr="http://www.cumap2.dk/cup/upload/5269_sticky_5.png?r=2621">
            <a:extLst>
              <a:ext uri="{FF2B5EF4-FFF2-40B4-BE49-F238E27FC236}">
                <a16:creationId xmlns:a16="http://schemas.microsoft.com/office/drawing/2014/main" id="{19AB8E4E-67C9-46BF-9836-B253F5190C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8596" y="5981794"/>
            <a:ext cx="1571412" cy="382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74FFA878-1DA5-457E-9EF3-FD336CC00513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334685" y="4141089"/>
            <a:ext cx="1123972" cy="705854"/>
          </a:xfrm>
          <a:prstGeom prst="rect">
            <a:avLst/>
          </a:prstGeom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3699F508-1D98-45C5-A473-9DD292509716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4798260" y="5135168"/>
            <a:ext cx="1740961" cy="657591"/>
          </a:xfrm>
          <a:prstGeom prst="rect">
            <a:avLst/>
          </a:prstGeom>
        </p:spPr>
      </p:pic>
      <p:pic>
        <p:nvPicPr>
          <p:cNvPr id="152" name="Picture 151" descr="JYSK">
            <a:extLst>
              <a:ext uri="{FF2B5EF4-FFF2-40B4-BE49-F238E27FC236}">
                <a16:creationId xmlns:a16="http://schemas.microsoft.com/office/drawing/2014/main" id="{A440B0E4-D654-4D6D-AE9C-AB157675E5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8965" y="3070343"/>
            <a:ext cx="1155575" cy="524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2DE24F39-506A-403E-AE69-29758B94AE4E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673191" y="6046387"/>
            <a:ext cx="1750957" cy="433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5588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98F0056-5517-4110-8BD1-8A8D1A0EE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/>
              <a:t>DK Customer Logos</a:t>
            </a:r>
          </a:p>
        </p:txBody>
      </p:sp>
      <p:pic>
        <p:nvPicPr>
          <p:cNvPr id="82" name="Picture 30" descr="Retur til forsiden">
            <a:hlinkClick r:id="rId2" tooltip="Retur til forsiden"/>
            <a:extLst>
              <a:ext uri="{FF2B5EF4-FFF2-40B4-BE49-F238E27FC236}">
                <a16:creationId xmlns:a16="http://schemas.microsoft.com/office/drawing/2014/main" id="{15632CF0-0B2D-4DE1-9B9C-8C507C0C10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7543" y="3606768"/>
            <a:ext cx="1393245" cy="43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33" descr="JYSK">
            <a:extLst>
              <a:ext uri="{FF2B5EF4-FFF2-40B4-BE49-F238E27FC236}">
                <a16:creationId xmlns:a16="http://schemas.microsoft.com/office/drawing/2014/main" id="{718041EF-B91B-4D18-983C-B2B23C1A38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449" y="4349828"/>
            <a:ext cx="1363747" cy="618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124">
            <a:extLst>
              <a:ext uri="{FF2B5EF4-FFF2-40B4-BE49-F238E27FC236}">
                <a16:creationId xmlns:a16="http://schemas.microsoft.com/office/drawing/2014/main" id="{88C6BA0F-0184-4E2D-B364-CA5E69B870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2245" y="5499092"/>
            <a:ext cx="1446193" cy="353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0D78044E-3664-4110-9A3F-34EBDDCFF94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516" y="2220711"/>
            <a:ext cx="1560457" cy="600776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A19A37C3-A9FF-4CF4-97E1-8428AD761D6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1446" y="2262612"/>
            <a:ext cx="1560457" cy="550750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6F7BE144-ADD3-40FF-8E4B-B252335C0A4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0170" y="1529030"/>
            <a:ext cx="1214572" cy="353330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5E6CEF7A-4144-43FC-A6EF-F510CB511D3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564" y="1341069"/>
            <a:ext cx="1902081" cy="558736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5F28AB1A-E077-4926-B4A1-5B791F1F6E5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2811" y="4289716"/>
            <a:ext cx="1484459" cy="636196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8E606231-E055-42B5-8B76-632BC4A468F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4675" y="2358871"/>
            <a:ext cx="1363747" cy="444923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3668962E-71B4-42CE-A2A9-ACA02DB6268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8948" y="3344898"/>
            <a:ext cx="1589813" cy="417153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3E0E8852-F173-435A-BBC1-AEF4E1CD75F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244" y="4240078"/>
            <a:ext cx="653026" cy="841186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20D4A81F-CC5B-4C1E-BA78-EC943E3E657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023" y="5434848"/>
            <a:ext cx="1107788" cy="603645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05BA461D-408A-4FF8-9FF1-48111C5EE4EC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1670" y="4528159"/>
            <a:ext cx="1141145" cy="398918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D53AEB1F-D450-4BCF-B0DC-C149B95D59A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5267" y="1406668"/>
            <a:ext cx="807890" cy="504932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F8BE0435-2C00-48E6-A7B8-267A8F272954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4297" y="4542058"/>
            <a:ext cx="1131839" cy="618738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16D7E64B-2985-4496-B4E5-E5D5C425826B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0927" y="3244105"/>
            <a:ext cx="1742719" cy="548085"/>
          </a:xfrm>
          <a:prstGeom prst="rect">
            <a:avLst/>
          </a:prstGeom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67A5A1D5-99A0-4898-AF3D-6FE2FEF4F8AE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7352" y="4473622"/>
            <a:ext cx="1382389" cy="398918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B610E935-D642-4200-B559-68D2B96D538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0060" y="5319978"/>
            <a:ext cx="756146" cy="756146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D745297D-7F10-415B-BDD8-FA4FDF2F73CE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4042" y="1406668"/>
            <a:ext cx="1586549" cy="41614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C655DB8D-874D-453C-BB50-8716F2F7A288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915" y="1347586"/>
            <a:ext cx="1139383" cy="558736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3D46980C-D6A5-4C97-8405-6C66D43B39D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741" y="1292844"/>
            <a:ext cx="738727" cy="812599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09E2513A-F855-49CC-B156-05213ACD8489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8071" y="5457191"/>
            <a:ext cx="1732381" cy="410087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0A90F64A-CD1A-429F-B932-5E10AFF84B6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5022" y="4428154"/>
            <a:ext cx="1903388" cy="444386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B3D611FC-0ED3-4B90-9188-7453A3B0B3A2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2099" y="2386134"/>
            <a:ext cx="1173720" cy="657283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A9C3192D-E20C-41B6-AADB-4130B7C184ED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7600" y="1341069"/>
            <a:ext cx="755740" cy="755740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D10836D0-2C1F-412D-BE6E-AFC79E3B74F5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2427" y="5341053"/>
            <a:ext cx="1820202" cy="806349"/>
          </a:xfrm>
          <a:prstGeom prst="rect">
            <a:avLst/>
          </a:prstGeom>
        </p:spPr>
      </p:pic>
      <p:pic>
        <p:nvPicPr>
          <p:cNvPr id="108" name="Picture 107">
            <a:extLst>
              <a:ext uri="{FF2B5EF4-FFF2-40B4-BE49-F238E27FC236}">
                <a16:creationId xmlns:a16="http://schemas.microsoft.com/office/drawing/2014/main" id="{A500445C-4518-4644-9B37-493E0E4FDE02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6380" y="2398602"/>
            <a:ext cx="657298" cy="881266"/>
          </a:xfrm>
          <a:prstGeom prst="rect">
            <a:avLst/>
          </a:prstGeom>
        </p:spPr>
      </p:pic>
      <p:pic>
        <p:nvPicPr>
          <p:cNvPr id="109" name="Picture 108">
            <a:extLst>
              <a:ext uri="{FF2B5EF4-FFF2-40B4-BE49-F238E27FC236}">
                <a16:creationId xmlns:a16="http://schemas.microsoft.com/office/drawing/2014/main" id="{AEB67DF2-054E-4DFC-AAA7-D0068B2EE217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563" y="3027609"/>
            <a:ext cx="1083259" cy="1083259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93AFD619-AA3F-4C7B-99C2-2A6CBDD43CC9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0519" y="5347242"/>
            <a:ext cx="1800778" cy="657284"/>
          </a:xfrm>
          <a:prstGeom prst="rect">
            <a:avLst/>
          </a:prstGeom>
        </p:spPr>
      </p:pic>
      <p:pic>
        <p:nvPicPr>
          <p:cNvPr id="111" name="Picture 110">
            <a:extLst>
              <a:ext uri="{FF2B5EF4-FFF2-40B4-BE49-F238E27FC236}">
                <a16:creationId xmlns:a16="http://schemas.microsoft.com/office/drawing/2014/main" id="{8BB85643-4DE2-4565-8C50-1C5BD4A2C129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8900" y="3417121"/>
            <a:ext cx="1562100" cy="546100"/>
          </a:xfrm>
          <a:prstGeom prst="rect">
            <a:avLst/>
          </a:prstGeom>
        </p:spPr>
      </p:pic>
      <p:pic>
        <p:nvPicPr>
          <p:cNvPr id="112" name="Picture 34" descr="http://www.santai-entertainment.com/wp-content/images/kilroy-logo-travels.png">
            <a:extLst>
              <a:ext uri="{FF2B5EF4-FFF2-40B4-BE49-F238E27FC236}">
                <a16:creationId xmlns:a16="http://schemas.microsoft.com/office/drawing/2014/main" id="{B83E2CB1-EE1B-450A-BE03-3006676CFC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6535" y="3021387"/>
            <a:ext cx="1138357" cy="970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28" descr="http://aller.se/wp-content/themes/allermedia/images/gfx/aller_media.png">
            <a:extLst>
              <a:ext uri="{FF2B5EF4-FFF2-40B4-BE49-F238E27FC236}">
                <a16:creationId xmlns:a16="http://schemas.microsoft.com/office/drawing/2014/main" id="{2747E0EF-A360-44CA-8ED4-A7ABA7F4C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911" y="2355509"/>
            <a:ext cx="2476500" cy="314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113">
            <a:extLst>
              <a:ext uri="{FF2B5EF4-FFF2-40B4-BE49-F238E27FC236}">
                <a16:creationId xmlns:a16="http://schemas.microsoft.com/office/drawing/2014/main" id="{DE92CC63-0AEC-4360-AB25-F1D7A0D30B39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855" y="3464384"/>
            <a:ext cx="810095" cy="810095"/>
          </a:xfrm>
          <a:prstGeom prst="rect">
            <a:avLst/>
          </a:prstGeom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id="{D12E216D-AD86-4FF0-89CB-3D37D829F20C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0856" y="1935212"/>
            <a:ext cx="1106095" cy="66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20063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98F0056-5517-4110-8BD1-8A8D1A0EE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E customer logos</a:t>
            </a:r>
          </a:p>
        </p:txBody>
      </p:sp>
      <p:pic>
        <p:nvPicPr>
          <p:cNvPr id="40" name="Picture 9" descr="http://www.xtended.se/wp-content/uploads/2012/01/Jernhusen.jpg">
            <a:extLst>
              <a:ext uri="{FF2B5EF4-FFF2-40B4-BE49-F238E27FC236}">
                <a16:creationId xmlns:a16="http://schemas.microsoft.com/office/drawing/2014/main" id="{E6D6AE4C-6B19-45F8-ABBB-21576B415D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1650" y="885182"/>
            <a:ext cx="2514714" cy="1508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">
            <a:extLst>
              <a:ext uri="{FF2B5EF4-FFF2-40B4-BE49-F238E27FC236}">
                <a16:creationId xmlns:a16="http://schemas.microsoft.com/office/drawing/2014/main" id="{80C444D8-615D-4154-911A-7EBA371EA7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auto">
          <a:xfrm>
            <a:off x="2895075" y="3226767"/>
            <a:ext cx="1489430" cy="452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http://p2sl.berkeley.edu/Member%20Company%20Logos/Skanska_logo.jpg">
            <a:extLst>
              <a:ext uri="{FF2B5EF4-FFF2-40B4-BE49-F238E27FC236}">
                <a16:creationId xmlns:a16="http://schemas.microsoft.com/office/drawing/2014/main" id="{2000D1E5-DE9F-46E5-867F-A54F480AC8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2520" y="5217180"/>
            <a:ext cx="2073936" cy="679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 descr="http://upload.wikimedia.org/wikipedia/en/b/b4/Evry_logo_RGB_PPT.png">
            <a:extLst>
              <a:ext uri="{FF2B5EF4-FFF2-40B4-BE49-F238E27FC236}">
                <a16:creationId xmlns:a16="http://schemas.microsoft.com/office/drawing/2014/main" id="{B888BAF2-3179-4530-ADFC-F7D8EEE70F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0371" y="3168622"/>
            <a:ext cx="1209453" cy="62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4" descr="https://jetpak.com/packages/jetpak/themes/jetpak/images/jp-logo.png">
            <a:extLst>
              <a:ext uri="{FF2B5EF4-FFF2-40B4-BE49-F238E27FC236}">
                <a16:creationId xmlns:a16="http://schemas.microsoft.com/office/drawing/2014/main" id="{25C77D0B-A827-47E1-9D14-6E599CEAB5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7429" y="4081552"/>
            <a:ext cx="1723573" cy="469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6" descr="http://compucraftab.se/wp-content/uploads/2015/03/telenor.png">
            <a:extLst>
              <a:ext uri="{FF2B5EF4-FFF2-40B4-BE49-F238E27FC236}">
                <a16:creationId xmlns:a16="http://schemas.microsoft.com/office/drawing/2014/main" id="{EB19F43B-C93F-43AC-B49B-C6DA1EA68E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728" y="1275565"/>
            <a:ext cx="1747684" cy="772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8" descr="http://aller.se/wp-content/themes/allermedia/images/gfx/aller_media.png">
            <a:extLst>
              <a:ext uri="{FF2B5EF4-FFF2-40B4-BE49-F238E27FC236}">
                <a16:creationId xmlns:a16="http://schemas.microsoft.com/office/drawing/2014/main" id="{F2B846CB-567E-47A7-91CE-2C3F797D3C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2715" y="1481419"/>
            <a:ext cx="2476500" cy="314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32" descr="https://upload.wikimedia.org/wikipedia/en/thumb/f/f1/Biltema_logo.svg/1280px-Biltema_logo.svg.png">
            <a:extLst>
              <a:ext uri="{FF2B5EF4-FFF2-40B4-BE49-F238E27FC236}">
                <a16:creationId xmlns:a16="http://schemas.microsoft.com/office/drawing/2014/main" id="{689AD110-4E07-4310-96A7-5B1A24C0A6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2379" y="2452266"/>
            <a:ext cx="2192180" cy="256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http://www.cumap2.dk/cup/upload/5269_sticky_5.png?r=2621">
            <a:extLst>
              <a:ext uri="{FF2B5EF4-FFF2-40B4-BE49-F238E27FC236}">
                <a16:creationId xmlns:a16="http://schemas.microsoft.com/office/drawing/2014/main" id="{25CDECD5-C5EA-4C7F-B79B-162638C437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8953" y="4036266"/>
            <a:ext cx="2146077" cy="522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8" descr="https://www.fortnox.se/wp-content/themes/fortnox2014/image/loggo/lt-fortnox.png">
            <a:extLst>
              <a:ext uri="{FF2B5EF4-FFF2-40B4-BE49-F238E27FC236}">
                <a16:creationId xmlns:a16="http://schemas.microsoft.com/office/drawing/2014/main" id="{0876F35B-75B3-4989-A7E3-42A8B44CC7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9572" y="1055499"/>
            <a:ext cx="2392674" cy="119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41FB7B2C-6162-4742-96DF-B1F1993E068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589" y="5187435"/>
            <a:ext cx="1359060" cy="739329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A6739100-E611-4C16-80BC-110C7C75233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6456" y="1120095"/>
            <a:ext cx="895899" cy="895025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01494DB5-3F2D-4E67-82DB-010780869B4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2185" y="2361433"/>
            <a:ext cx="1428541" cy="438562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6C0D6D06-87D0-49B8-8234-419B230EBEB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6857" y="3386454"/>
            <a:ext cx="2476500" cy="1609725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371A226A-F1FF-4CD9-A07F-E210DD816D5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892" y="3986581"/>
            <a:ext cx="1904287" cy="74218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BD74DAA-CD9F-464B-8930-84412030F35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4242" y="5243523"/>
            <a:ext cx="1728461" cy="661050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E92FA814-CFBC-4D56-8062-9389F64EF77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0986" y="2946379"/>
            <a:ext cx="1723573" cy="965201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924E59D5-E3E3-46C8-8CC7-BC8DB02CBE77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4487" y="2311256"/>
            <a:ext cx="2497597" cy="522225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CFDC25D6-A443-4601-B363-BC476C06604D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9862" y="4987563"/>
            <a:ext cx="1030873" cy="1030873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29CE1EFC-CF1A-4FD9-81F9-B7AA9D2D0BD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02" y="2338480"/>
            <a:ext cx="1983677" cy="578056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001F7EB9-4C75-453E-90AC-75D65F7E5469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90" y="3177258"/>
            <a:ext cx="1826928" cy="521505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5B157B7-7548-4E46-AC92-562979CB2542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9118" y="2284534"/>
            <a:ext cx="1359675" cy="679838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717CE3E1-F3C4-4EDE-9155-98C0D3F470DE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3664" y="4039831"/>
            <a:ext cx="1593035" cy="521505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CEFF1909-D8E8-4EB6-B509-2806BA394D1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824" y="5204657"/>
            <a:ext cx="1805349" cy="596683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0BCC94DE-F08F-4619-B766-77807F3EFCFC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9809" y="3105217"/>
            <a:ext cx="1599110" cy="596683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2D527242-7275-4F44-BA6F-93ED1379BB99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9036" y="3106181"/>
            <a:ext cx="1106095" cy="66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3569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77888F-7444-41B0-9E38-887CFC16C0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K customer logos</a:t>
            </a:r>
            <a:endParaRPr lang="nb-NO"/>
          </a:p>
        </p:txBody>
      </p:sp>
      <p:pic>
        <p:nvPicPr>
          <p:cNvPr id="13" name="Picture 10" descr="Hogg Robinson Group">
            <a:extLst>
              <a:ext uri="{FF2B5EF4-FFF2-40B4-BE49-F238E27FC236}">
                <a16:creationId xmlns:a16="http://schemas.microsoft.com/office/drawing/2014/main" id="{B89DD59B-A841-4339-9A37-E408085F11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767" y="2461747"/>
            <a:ext cx="1158991" cy="493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4" descr="http://upload.wikimedia.org/wikipedia/en/6/67/Veolia_Water.png">
            <a:extLst>
              <a:ext uri="{FF2B5EF4-FFF2-40B4-BE49-F238E27FC236}">
                <a16:creationId xmlns:a16="http://schemas.microsoft.com/office/drawing/2014/main" id="{87C89CD2-3261-434F-9283-4B12EEC3A0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8003" y="1329847"/>
            <a:ext cx="1385921" cy="4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38E41A1-F41E-43A0-B0D8-F38820DEA7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38573" y="2292782"/>
            <a:ext cx="1951145" cy="494067"/>
          </a:xfrm>
          <a:prstGeom prst="rect">
            <a:avLst/>
          </a:prstGeom>
        </p:spPr>
      </p:pic>
      <p:pic>
        <p:nvPicPr>
          <p:cNvPr id="24" name="Picture 42" descr="http://goodlogo.com/images/logos/dominos_pizza_logo_2554.gif">
            <a:extLst>
              <a:ext uri="{FF2B5EF4-FFF2-40B4-BE49-F238E27FC236}">
                <a16:creationId xmlns:a16="http://schemas.microsoft.com/office/drawing/2014/main" id="{1625B21D-BFE4-4E46-92B1-BFC13AEE96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1224" y="3223067"/>
            <a:ext cx="958771" cy="958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2B83540-11D9-4132-80F5-E8632E3634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83377" y="4654770"/>
            <a:ext cx="1867762" cy="462853"/>
          </a:xfrm>
          <a:prstGeom prst="rect">
            <a:avLst/>
          </a:prstGeom>
        </p:spPr>
      </p:pic>
      <p:pic>
        <p:nvPicPr>
          <p:cNvPr id="26" name="Picture 56" descr="Figleaves Banner">
            <a:extLst>
              <a:ext uri="{FF2B5EF4-FFF2-40B4-BE49-F238E27FC236}">
                <a16:creationId xmlns:a16="http://schemas.microsoft.com/office/drawing/2014/main" id="{03FC2467-54AB-414E-972C-BB164354CC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9357" y="4509648"/>
            <a:ext cx="1970756" cy="804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E0983846-25FD-405D-B780-C12B6C25DC4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74065" y="4478824"/>
            <a:ext cx="1528153" cy="760880"/>
          </a:xfrm>
          <a:prstGeom prst="rect">
            <a:avLst/>
          </a:prstGeom>
        </p:spPr>
      </p:pic>
      <p:pic>
        <p:nvPicPr>
          <p:cNvPr id="31" name="Picture 2">
            <a:extLst>
              <a:ext uri="{FF2B5EF4-FFF2-40B4-BE49-F238E27FC236}">
                <a16:creationId xmlns:a16="http://schemas.microsoft.com/office/drawing/2014/main" id="{C484CD67-4FBF-4509-9C86-83BF546C48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695" y="2266981"/>
            <a:ext cx="1646540" cy="674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34D9F45F-2B32-5B46-BDC1-1A9C2B2583D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06342" y="5609856"/>
            <a:ext cx="1366227" cy="907821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FA8C5986-2F5E-C74D-8D23-0325FF810CF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8759" y="5605575"/>
            <a:ext cx="1453162" cy="970537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F9ABD726-885B-3A4E-9667-10C43689411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111" y="5751954"/>
            <a:ext cx="1884309" cy="510511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C05360BD-408C-F644-A9BA-A26BBBACCA6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8913" y="3314293"/>
            <a:ext cx="1194280" cy="72380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120537" y="5824731"/>
            <a:ext cx="1992656" cy="364955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84241" y="3454945"/>
            <a:ext cx="1329681" cy="495017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 rotWithShape="1">
          <a:blip r:embed="rId17"/>
          <a:srcRect l="25597" r="28495"/>
          <a:stretch/>
        </p:blipFill>
        <p:spPr>
          <a:xfrm>
            <a:off x="7566899" y="3081883"/>
            <a:ext cx="991081" cy="1189860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74740" y="5739386"/>
            <a:ext cx="1954370" cy="72956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3046F1B7-9E25-F24E-91A1-4C9919225C5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738" y="1195612"/>
            <a:ext cx="1069573" cy="558038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F0D0DA1F-110C-D247-A397-04363C6B7AD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1070" y="1205412"/>
            <a:ext cx="1646539" cy="51197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95822A2-B19B-8E4E-A5EF-6922AAA6580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3441" y="1379887"/>
            <a:ext cx="1639107" cy="339295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27451604-7CE6-5C43-89A6-279D2386EC5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1381" y="2165313"/>
            <a:ext cx="1606248" cy="626408"/>
          </a:xfrm>
          <a:prstGeom prst="rect">
            <a:avLst/>
          </a:prstGeom>
        </p:spPr>
      </p:pic>
      <p:pic>
        <p:nvPicPr>
          <p:cNvPr id="41" name="Picture 185" descr="Bilderesultat for Post office logo">
            <a:extLst>
              <a:ext uri="{FF2B5EF4-FFF2-40B4-BE49-F238E27FC236}">
                <a16:creationId xmlns:a16="http://schemas.microsoft.com/office/drawing/2014/main" id="{A8B580AF-7EF7-A941-8058-3D06569D6D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852" y="4532895"/>
            <a:ext cx="875327" cy="656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193" descr="Bilderesultat for The Hut group logo">
            <a:extLst>
              <a:ext uri="{FF2B5EF4-FFF2-40B4-BE49-F238E27FC236}">
                <a16:creationId xmlns:a16="http://schemas.microsoft.com/office/drawing/2014/main" id="{42334110-9848-B04A-B0DB-7B807F9E4E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291" b="23011"/>
          <a:stretch/>
        </p:blipFill>
        <p:spPr bwMode="auto">
          <a:xfrm>
            <a:off x="1711409" y="4892381"/>
            <a:ext cx="1445036" cy="546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195" descr="Bilderesultat for Scottish water">
            <a:extLst>
              <a:ext uri="{FF2B5EF4-FFF2-40B4-BE49-F238E27FC236}">
                <a16:creationId xmlns:a16="http://schemas.microsoft.com/office/drawing/2014/main" id="{86D87249-3228-F94F-AA5A-CBF075B718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9825" y="1279831"/>
            <a:ext cx="1255622" cy="626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97" descr="Hollywood Bowl Group">
            <a:extLst>
              <a:ext uri="{FF2B5EF4-FFF2-40B4-BE49-F238E27FC236}">
                <a16:creationId xmlns:a16="http://schemas.microsoft.com/office/drawing/2014/main" id="{C47419A0-6FF2-EC43-8A97-7817A54402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7447" y="4423395"/>
            <a:ext cx="2229963" cy="214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utoShape 2" descr="HS England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468987" y="1104805"/>
            <a:ext cx="882938" cy="8829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964132" y="3068099"/>
            <a:ext cx="1177251" cy="117725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3357609" y="3038970"/>
            <a:ext cx="1224351" cy="12243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4798186" y="3135136"/>
            <a:ext cx="1082361" cy="108236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0285447" y="1123545"/>
            <a:ext cx="1864789" cy="8220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4058435" y="2296496"/>
            <a:ext cx="1447937" cy="58655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0315157" y="2154088"/>
            <a:ext cx="1330907" cy="74530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5938573" y="4605546"/>
            <a:ext cx="1486586" cy="5230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6130758" y="3446275"/>
            <a:ext cx="1182356" cy="49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38525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18FCEA7-4340-409D-80CB-5DD5364B55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K customer logos - sectors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3E5D6700-73A1-4FE0-A9B5-F178E65CCFBA}"/>
              </a:ext>
            </a:extLst>
          </p:cNvPr>
          <p:cNvCxnSpPr>
            <a:cxnSpLocks/>
          </p:cNvCxnSpPr>
          <p:nvPr/>
        </p:nvCxnSpPr>
        <p:spPr>
          <a:xfrm flipV="1">
            <a:off x="358995" y="2064110"/>
            <a:ext cx="11276809" cy="18245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3" name="Picture 10" descr="Hogg Robinson Group">
            <a:extLst>
              <a:ext uri="{FF2B5EF4-FFF2-40B4-BE49-F238E27FC236}">
                <a16:creationId xmlns:a16="http://schemas.microsoft.com/office/drawing/2014/main" id="{F429602F-626A-4996-8035-3334579B93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098" y="2700449"/>
            <a:ext cx="1003972" cy="42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4" descr="http://upload.wikimedia.org/wikipedia/en/6/67/Veolia_Water.png">
            <a:extLst>
              <a:ext uri="{FF2B5EF4-FFF2-40B4-BE49-F238E27FC236}">
                <a16:creationId xmlns:a16="http://schemas.microsoft.com/office/drawing/2014/main" id="{47511638-2916-416B-A01E-978CA86F28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3706" y="1208405"/>
            <a:ext cx="1508855" cy="507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EFB93478-7653-4DDD-981F-C189C06C46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7624" y="2687212"/>
            <a:ext cx="1716681" cy="434696"/>
          </a:xfrm>
          <a:prstGeom prst="rect">
            <a:avLst/>
          </a:prstGeom>
        </p:spPr>
      </p:pic>
      <p:pic>
        <p:nvPicPr>
          <p:cNvPr id="60" name="Picture 56" descr="Figleaves Banner">
            <a:extLst>
              <a:ext uri="{FF2B5EF4-FFF2-40B4-BE49-F238E27FC236}">
                <a16:creationId xmlns:a16="http://schemas.microsoft.com/office/drawing/2014/main" id="{17AE3D97-1568-4264-BA41-8FCBF8791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918" y="5741485"/>
            <a:ext cx="1425849" cy="581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2042537E-8FD3-44C7-A6C7-2FD7481D17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15461" y="5699610"/>
            <a:ext cx="1380691" cy="687457"/>
          </a:xfrm>
          <a:prstGeom prst="rect">
            <a:avLst/>
          </a:prstGeom>
        </p:spPr>
      </p:pic>
      <p:pic>
        <p:nvPicPr>
          <p:cNvPr id="64" name="Picture 2">
            <a:extLst>
              <a:ext uri="{FF2B5EF4-FFF2-40B4-BE49-F238E27FC236}">
                <a16:creationId xmlns:a16="http://schemas.microsoft.com/office/drawing/2014/main" id="{728ACFB8-73D6-4AF3-A5AF-E4F9197CD8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2947" y="2526157"/>
            <a:ext cx="1630431" cy="701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2">
            <a:extLst>
              <a:ext uri="{FF2B5EF4-FFF2-40B4-BE49-F238E27FC236}">
                <a16:creationId xmlns:a16="http://schemas.microsoft.com/office/drawing/2014/main" id="{B4319C0A-E490-439C-ADEF-87C8EE2FE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9989" y="2573736"/>
            <a:ext cx="1508018" cy="617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EC2EB201-BDBF-43C7-8CD6-09BBD804F11E}"/>
              </a:ext>
            </a:extLst>
          </p:cNvPr>
          <p:cNvCxnSpPr>
            <a:cxnSpLocks/>
          </p:cNvCxnSpPr>
          <p:nvPr/>
        </p:nvCxnSpPr>
        <p:spPr>
          <a:xfrm flipV="1">
            <a:off x="358995" y="3703129"/>
            <a:ext cx="11276809" cy="18245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A5F0610A-CFDA-4014-8356-A108E3EB16F9}"/>
              </a:ext>
            </a:extLst>
          </p:cNvPr>
          <p:cNvCxnSpPr>
            <a:cxnSpLocks/>
          </p:cNvCxnSpPr>
          <p:nvPr/>
        </p:nvCxnSpPr>
        <p:spPr>
          <a:xfrm flipV="1">
            <a:off x="358995" y="5210779"/>
            <a:ext cx="11276809" cy="18245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Rounded Rectangle 39">
            <a:extLst>
              <a:ext uri="{FF2B5EF4-FFF2-40B4-BE49-F238E27FC236}">
                <a16:creationId xmlns:a16="http://schemas.microsoft.com/office/drawing/2014/main" id="{6BDEBC19-934F-4435-8172-4C5369132CEE}"/>
              </a:ext>
            </a:extLst>
          </p:cNvPr>
          <p:cNvSpPr/>
          <p:nvPr/>
        </p:nvSpPr>
        <p:spPr>
          <a:xfrm>
            <a:off x="304269" y="1193041"/>
            <a:ext cx="1543121" cy="54196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Utilities</a:t>
            </a:r>
          </a:p>
        </p:txBody>
      </p:sp>
      <p:sp>
        <p:nvSpPr>
          <p:cNvPr id="71" name="Rounded Rectangle 40">
            <a:extLst>
              <a:ext uri="{FF2B5EF4-FFF2-40B4-BE49-F238E27FC236}">
                <a16:creationId xmlns:a16="http://schemas.microsoft.com/office/drawing/2014/main" id="{FC73177C-DF4D-4D2E-A434-16E6FD274B6C}"/>
              </a:ext>
            </a:extLst>
          </p:cNvPr>
          <p:cNvSpPr/>
          <p:nvPr/>
        </p:nvSpPr>
        <p:spPr>
          <a:xfrm>
            <a:off x="284714" y="2417904"/>
            <a:ext cx="1582231" cy="97587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597AE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High tech &amp; Business Servic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72" name="Rounded Rectangle 41">
            <a:extLst>
              <a:ext uri="{FF2B5EF4-FFF2-40B4-BE49-F238E27FC236}">
                <a16:creationId xmlns:a16="http://schemas.microsoft.com/office/drawing/2014/main" id="{6C5483DE-8DB1-499A-9C29-703F02466B3B}"/>
              </a:ext>
            </a:extLst>
          </p:cNvPr>
          <p:cNvSpPr/>
          <p:nvPr/>
        </p:nvSpPr>
        <p:spPr>
          <a:xfrm>
            <a:off x="304269" y="4201248"/>
            <a:ext cx="1543121" cy="541969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ublic sector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73" name="Rounded Rectangle 42">
            <a:extLst>
              <a:ext uri="{FF2B5EF4-FFF2-40B4-BE49-F238E27FC236}">
                <a16:creationId xmlns:a16="http://schemas.microsoft.com/office/drawing/2014/main" id="{8956B051-5F19-4510-A863-49D99C0F80AB}"/>
              </a:ext>
            </a:extLst>
          </p:cNvPr>
          <p:cNvSpPr/>
          <p:nvPr/>
        </p:nvSpPr>
        <p:spPr>
          <a:xfrm>
            <a:off x="304269" y="5761224"/>
            <a:ext cx="1543121" cy="541969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Retail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16805871-1961-4E8E-8D96-C57BA96C72C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8677" y="1176446"/>
            <a:ext cx="1370969" cy="426286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11872206-0F60-4F5F-AB40-57FB7B686AF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9063" y="1122800"/>
            <a:ext cx="1069573" cy="558038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F4001F4-5D3B-4BA4-8B1F-87885428289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9477" y="1248032"/>
            <a:ext cx="1639107" cy="339295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9E4AF411-E831-434E-8B30-469E883C7FE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8551" y="2608891"/>
            <a:ext cx="1389728" cy="541969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0523C9B6-BC5E-4A34-9CF9-803F8E821E6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468145" y="5684711"/>
            <a:ext cx="1617909" cy="611112"/>
          </a:xfrm>
          <a:prstGeom prst="rect">
            <a:avLst/>
          </a:prstGeom>
        </p:spPr>
      </p:pic>
      <p:pic>
        <p:nvPicPr>
          <p:cNvPr id="80" name="Picture 193" descr="Bilderesultat for The Hut group logo">
            <a:extLst>
              <a:ext uri="{FF2B5EF4-FFF2-40B4-BE49-F238E27FC236}">
                <a16:creationId xmlns:a16="http://schemas.microsoft.com/office/drawing/2014/main" id="{06F0AA0A-F4A7-4D34-8F12-8C2D9A1991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291" b="23011"/>
          <a:stretch/>
        </p:blipFill>
        <p:spPr bwMode="auto">
          <a:xfrm>
            <a:off x="2191250" y="5755560"/>
            <a:ext cx="1433830" cy="541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195" descr="Bilderesultat for Scottish water">
            <a:extLst>
              <a:ext uri="{FF2B5EF4-FFF2-40B4-BE49-F238E27FC236}">
                <a16:creationId xmlns:a16="http://schemas.microsoft.com/office/drawing/2014/main" id="{03C295D5-C2C5-4471-8C46-E324697125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6725" y="1135425"/>
            <a:ext cx="1160375" cy="578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201" descr="Bilderesultat for Direct ferries logo">
            <a:extLst>
              <a:ext uri="{FF2B5EF4-FFF2-40B4-BE49-F238E27FC236}">
                <a16:creationId xmlns:a16="http://schemas.microsoft.com/office/drawing/2014/main" id="{6E0F6D5C-B795-40F9-8F37-42ADEA0553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389" b="30935"/>
          <a:stretch/>
        </p:blipFill>
        <p:spPr bwMode="auto">
          <a:xfrm>
            <a:off x="3771565" y="5792051"/>
            <a:ext cx="2032578" cy="45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5E14064-D97A-0440-ADF2-45379BF97A3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073393" y="3986686"/>
            <a:ext cx="1366227" cy="90782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11066640-D32A-1C45-AC79-CECEB63499A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9904" y="4188936"/>
            <a:ext cx="1884309" cy="510511"/>
          </a:xfrm>
          <a:prstGeom prst="rect">
            <a:avLst/>
          </a:prstGeom>
        </p:spPr>
      </p:pic>
      <p:pic>
        <p:nvPicPr>
          <p:cNvPr id="34" name="Picture 185" descr="Bilderesultat for Post office logo">
            <a:extLst>
              <a:ext uri="{FF2B5EF4-FFF2-40B4-BE49-F238E27FC236}">
                <a16:creationId xmlns:a16="http://schemas.microsoft.com/office/drawing/2014/main" id="{38233D8E-ED54-264A-A513-8F0A27D9F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3872" y="4205973"/>
            <a:ext cx="732158" cy="549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69877D0-4592-E74E-B2F2-5F4FF657A1A1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761345" y="4014339"/>
            <a:ext cx="882938" cy="882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78898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red and white sign&#10;&#10;Description generated with high confidence">
            <a:extLst>
              <a:ext uri="{FF2B5EF4-FFF2-40B4-BE49-F238E27FC236}">
                <a16:creationId xmlns:a16="http://schemas.microsoft.com/office/drawing/2014/main" id="{2B6F1D3F-FE46-4236-9CFE-25598986EC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7331" y="4950937"/>
            <a:ext cx="2031802" cy="478071"/>
          </a:xfrm>
          <a:custGeom>
            <a:avLst/>
            <a:gdLst>
              <a:gd name="connsiteX0" fmla="*/ 0 w 4636009"/>
              <a:gd name="connsiteY0" fmla="*/ 0 h 5032375"/>
              <a:gd name="connsiteX1" fmla="*/ 4636009 w 4636009"/>
              <a:gd name="connsiteY1" fmla="*/ 0 h 5032375"/>
              <a:gd name="connsiteX2" fmla="*/ 4636009 w 4636009"/>
              <a:gd name="connsiteY2" fmla="*/ 5032375 h 5032375"/>
              <a:gd name="connsiteX3" fmla="*/ 0 w 4636009"/>
              <a:gd name="connsiteY3" fmla="*/ 5032375 h 5032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36009" h="5032375">
                <a:moveTo>
                  <a:pt x="0" y="0"/>
                </a:moveTo>
                <a:lnTo>
                  <a:pt x="4636009" y="0"/>
                </a:lnTo>
                <a:lnTo>
                  <a:pt x="4636009" y="5032375"/>
                </a:lnTo>
                <a:lnTo>
                  <a:pt x="0" y="5032375"/>
                </a:lnTo>
                <a:close/>
              </a:path>
            </a:pathLst>
          </a:cu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F1AF364-AAF2-4792-9EAE-A8D33405FD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3735" y="1212749"/>
            <a:ext cx="2351156" cy="57015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21BD4B9-41C3-4489-A3F8-F73083D715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100" y="1119440"/>
            <a:ext cx="1126771" cy="657283"/>
          </a:xfrm>
          <a:prstGeom prst="rect">
            <a:avLst/>
          </a:prstGeom>
        </p:spPr>
      </p:pic>
      <p:pic>
        <p:nvPicPr>
          <p:cNvPr id="7" name="Picture 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9A2A6875-834E-4703-8539-AA118B2C7D5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/>
          <a:stretch/>
        </p:blipFill>
        <p:spPr>
          <a:xfrm>
            <a:off x="10594419" y="2274219"/>
            <a:ext cx="1235963" cy="56081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D2EEBB9-00F9-4057-B3B2-56A9B766ED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44967" y="1189242"/>
            <a:ext cx="1627701" cy="57015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B5F274E-294A-4E27-B7DB-CB2E033753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1761" y="5791465"/>
            <a:ext cx="990289" cy="357605"/>
          </a:xfrm>
          <a:prstGeom prst="rect">
            <a:avLst/>
          </a:prstGeom>
          <a:effectLst>
            <a:glow rad="127000">
              <a:schemeClr val="tx1">
                <a:lumMod val="50000"/>
              </a:schemeClr>
            </a:glow>
            <a:outerShdw blurRad="50800" dist="50800" dir="5400000" algn="ctr" rotWithShape="0">
              <a:schemeClr val="bg1"/>
            </a:outerShdw>
          </a:effectLst>
        </p:spPr>
      </p:pic>
      <p:pic>
        <p:nvPicPr>
          <p:cNvPr id="10" name="Picture 9" descr="A clock sitting in the dark&#10;&#10;Description generated with low confidence">
            <a:extLst>
              <a:ext uri="{FF2B5EF4-FFF2-40B4-BE49-F238E27FC236}">
                <a16:creationId xmlns:a16="http://schemas.microsoft.com/office/drawing/2014/main" id="{57ED32E3-9877-41E3-95D9-0A72D74D2E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11990" y="2106262"/>
            <a:ext cx="1728495" cy="73025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23B3D5A-1023-418C-ACD8-0F4AE842C72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02581" y="5671953"/>
            <a:ext cx="2000300" cy="754107"/>
          </a:xfrm>
          <a:prstGeom prst="rect">
            <a:avLst/>
          </a:prstGeom>
        </p:spPr>
      </p:pic>
      <p:pic>
        <p:nvPicPr>
          <p:cNvPr id="13" name="Picture 12" descr="A close up of a logo&#10;&#10;Description generated with high confidence">
            <a:extLst>
              <a:ext uri="{FF2B5EF4-FFF2-40B4-BE49-F238E27FC236}">
                <a16:creationId xmlns:a16="http://schemas.microsoft.com/office/drawing/2014/main" id="{9C4F1455-A711-4411-A6A6-59F2827EBDD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27786" y="5775504"/>
            <a:ext cx="1569008" cy="633943"/>
          </a:xfrm>
          <a:prstGeom prst="rect">
            <a:avLst/>
          </a:prstGeom>
        </p:spPr>
      </p:pic>
      <p:pic>
        <p:nvPicPr>
          <p:cNvPr id="14" name="Picture 13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96A6F6B5-871F-4D5C-B837-6F8F70B8E9B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50304" y="2052520"/>
            <a:ext cx="813442" cy="609296"/>
          </a:xfrm>
          <a:prstGeom prst="rect">
            <a:avLst/>
          </a:prstGeom>
          <a:effectLst/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8C8D8A7-7584-4B88-8D89-D5117EFB2D5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46890" y="1221420"/>
            <a:ext cx="2518317" cy="43440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E2DA1F7-B856-4314-978C-AD8F16CB4E5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460425" y="5926720"/>
            <a:ext cx="1201597" cy="419161"/>
          </a:xfrm>
          <a:prstGeom prst="rect">
            <a:avLst/>
          </a:prstGeom>
        </p:spPr>
      </p:pic>
      <p:pic>
        <p:nvPicPr>
          <p:cNvPr id="18" name="Picture 17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534D92E6-8FB5-4CC5-93F6-9FFAFDF5FED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306663" y="4895676"/>
            <a:ext cx="1415186" cy="909762"/>
          </a:xfrm>
          <a:prstGeom prst="rect">
            <a:avLst/>
          </a:prstGeom>
        </p:spPr>
      </p:pic>
      <p:pic>
        <p:nvPicPr>
          <p:cNvPr id="19" name="Picture 18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D6714B49-CE1B-4A3F-8476-B2625676FE1E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t="20898" b="21130"/>
          <a:stretch/>
        </p:blipFill>
        <p:spPr>
          <a:xfrm>
            <a:off x="3860689" y="3709246"/>
            <a:ext cx="1593556" cy="739054"/>
          </a:xfrm>
          <a:prstGeom prst="rect">
            <a:avLst/>
          </a:prstGeom>
        </p:spPr>
      </p:pic>
      <p:pic>
        <p:nvPicPr>
          <p:cNvPr id="21" name="Picture 20" descr="A close up of a sign&#10;&#10;Description generated with high confidence">
            <a:extLst>
              <a:ext uri="{FF2B5EF4-FFF2-40B4-BE49-F238E27FC236}">
                <a16:creationId xmlns:a16="http://schemas.microsoft.com/office/drawing/2014/main" id="{44544ABF-83CE-411E-B6B3-0F0A5D45AA8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42335" y="3809945"/>
            <a:ext cx="1422672" cy="540615"/>
          </a:xfrm>
          <a:prstGeom prst="rect">
            <a:avLst/>
          </a:prstGeom>
        </p:spPr>
      </p:pic>
      <p:pic>
        <p:nvPicPr>
          <p:cNvPr id="23" name="Picture 2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1EE16D9C-D45D-4752-A3F8-93524FE9922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0" y="1878887"/>
            <a:ext cx="1878335" cy="105327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0D6C772-C2A5-9F4A-9A6C-3BC37C1E46D0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587" b="-4412"/>
          <a:stretch/>
        </p:blipFill>
        <p:spPr>
          <a:xfrm>
            <a:off x="3409353" y="2871216"/>
            <a:ext cx="1189498" cy="673916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61469A7-5617-BE42-8BDD-3F0B1B1A780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6554" y="4857996"/>
            <a:ext cx="1741392" cy="77474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6257F10-C128-B54C-9098-FFE7F10350D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5164" y="3091192"/>
            <a:ext cx="1828800" cy="27295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05E73A74-1C92-694A-B9D5-5CB0C5D1E4D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819" y="4617543"/>
            <a:ext cx="990288" cy="1215353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49904A77-9B53-CD45-9D6A-AA3710A191D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055" y="3559299"/>
            <a:ext cx="1257300" cy="8890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24581E80-1E72-C44D-8392-8B18FC7F3A2F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2306" y="3945257"/>
            <a:ext cx="1350804" cy="344154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4F2E2C38-5D51-A541-B5CD-56D8D4CDB6B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3565" y="2096994"/>
            <a:ext cx="1422400" cy="41910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0D36496F-F1F0-B441-95A5-93075DB2747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4814" y="1981508"/>
            <a:ext cx="1183455" cy="861965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9D085020-E10F-304E-A2B7-F35E5F23AB8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141" y="942976"/>
            <a:ext cx="862913" cy="110779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2FD9E0B4-8ACB-0045-8AEE-173B90463908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7132" y="3582038"/>
            <a:ext cx="1135918" cy="716978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4A24AC9E-8878-024E-A3E2-04A3E97EB077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7165" y="3102981"/>
            <a:ext cx="1828800" cy="165100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2A291CE5-C600-C847-9EB3-5B491BC4B6F2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5637" y="4959413"/>
            <a:ext cx="2020126" cy="285954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36C13C5D-3A57-B448-8163-D6CCB6A2BCE2}"/>
              </a:ext>
            </a:extLst>
          </p:cNvPr>
          <p:cNvPicPr>
            <a:picLocks noChangeAspect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974" b="37558"/>
          <a:stretch/>
        </p:blipFill>
        <p:spPr>
          <a:xfrm>
            <a:off x="8973007" y="3858371"/>
            <a:ext cx="1409700" cy="37648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6F2B6A0-E669-7644-86F2-9FE31E52083D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012" y="2920455"/>
            <a:ext cx="1473200" cy="52070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E48AF6A2-7E08-124E-BC7A-EFA78AB1D457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204" y="2984500"/>
            <a:ext cx="1289538" cy="508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8A87EEF2-32E4-E741-A6AC-AACB19A0DD8D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5375" y="1157586"/>
            <a:ext cx="1951469" cy="581083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3E866925-C114-C743-A483-21D98EBAF042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093" y="2578100"/>
            <a:ext cx="1282700" cy="128270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B73E9E7A-7C9B-4B48-A547-C476654ABBA3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4549" y="3861464"/>
            <a:ext cx="1354264" cy="404258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13667B13-F48C-E34A-9B04-C3043D7DA847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87853" y="4630853"/>
            <a:ext cx="1373659" cy="499024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C6F07192-434B-8F4D-9D51-C415DEE6885F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4313" y="2103992"/>
            <a:ext cx="1714500" cy="368300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B98F0056-5517-4110-8BD1-8A8D1A0EE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>
                <a:solidFill>
                  <a:schemeClr val="accent1"/>
                </a:solidFill>
              </a:rPr>
              <a:t>Bulgaria customer logo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98704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52F79F52-1B28-4149-826D-9ED1C085B3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52F79F52-1B28-4149-826D-9ED1C085B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AB86FF2-8A5B-984B-A48B-BD395A74CA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Rounded MT Bold" panose="020F0704030504030204" pitchFamily="34" charset="77"/>
              <a:ea typeface="+mn-ea"/>
              <a:cs typeface="+mn-cs"/>
              <a:sym typeface="Arial Rounded MT Bold" panose="020F0704030504030204" pitchFamily="34" charset="77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2ABD51D-083F-044D-B8FD-49D58C699EF9}"/>
              </a:ext>
            </a:extLst>
          </p:cNvPr>
          <p:cNvSpPr/>
          <p:nvPr/>
        </p:nvSpPr>
        <p:spPr>
          <a:xfrm>
            <a:off x="0" y="3984762"/>
            <a:ext cx="12192000" cy="56710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067C211-10B7-FF40-B273-8698485F73EC}"/>
              </a:ext>
            </a:extLst>
          </p:cNvPr>
          <p:cNvSpPr/>
          <p:nvPr/>
        </p:nvSpPr>
        <p:spPr>
          <a:xfrm>
            <a:off x="0" y="-9048"/>
            <a:ext cx="12192000" cy="5388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3" name="Picture 20" descr="Numeric Futures logo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372" b="29694"/>
          <a:stretch/>
        </p:blipFill>
        <p:spPr bwMode="auto">
          <a:xfrm>
            <a:off x="9166100" y="739332"/>
            <a:ext cx="2476631" cy="650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5883" y="5866583"/>
            <a:ext cx="1572864" cy="40030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21336" y="4843779"/>
            <a:ext cx="1651000" cy="6604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22062" y="5698082"/>
            <a:ext cx="1489427" cy="765062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452750" y="4832096"/>
            <a:ext cx="2336621" cy="67208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156150" y="5098280"/>
            <a:ext cx="734548" cy="99599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0ABFF6E-992E-CE42-A0F9-E5822BE266E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8664" y="751935"/>
            <a:ext cx="1906971" cy="49909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7572330-FD6F-CF4C-9B21-EACCB654A34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9146" y="5698082"/>
            <a:ext cx="1594163" cy="70273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863575B5-4D57-8F43-8008-19AC90B838E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4619" y="1519927"/>
            <a:ext cx="2053942" cy="53882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21981B1-4091-A54F-96D5-4C217FA0EF6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68" y="1601923"/>
            <a:ext cx="1211328" cy="833394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9F5ACB8-8811-6343-9629-E74DCF0DEC1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4763" y="1780285"/>
            <a:ext cx="1748755" cy="30151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A7EBDC6A-5F2C-0445-89EF-1D4C283F866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341" y="914881"/>
            <a:ext cx="1691364" cy="249545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210D9EE0-EA37-B141-9E88-E1E208C83F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8166" y="4814728"/>
            <a:ext cx="1417760" cy="567104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55F3A9BF-A76F-9144-B4F3-705642593693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17" b="32916"/>
          <a:stretch/>
        </p:blipFill>
        <p:spPr>
          <a:xfrm>
            <a:off x="9192561" y="1549780"/>
            <a:ext cx="2799949" cy="6508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947F58F-EAB2-1347-BB04-27F1DEC7303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863" y="805060"/>
            <a:ext cx="1845540" cy="493575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1F7C18F-5D90-B94F-9940-D4C626E131C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8263" y="723675"/>
            <a:ext cx="1606248" cy="626408"/>
          </a:xfrm>
          <a:prstGeom prst="rect">
            <a:avLst/>
          </a:prstGeom>
        </p:spPr>
      </p:pic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2247BFC3-3340-E44C-BDB4-0B3971BD5DA9}"/>
              </a:ext>
            </a:extLst>
          </p:cNvPr>
          <p:cNvSpPr/>
          <p:nvPr/>
        </p:nvSpPr>
        <p:spPr>
          <a:xfrm>
            <a:off x="4794919" y="-10622"/>
            <a:ext cx="2602163" cy="54196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77"/>
                <a:ea typeface="+mn-ea"/>
                <a:cs typeface="+mn-cs"/>
              </a:rPr>
              <a:t>Technology Partner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BB189411-CDAF-5148-9238-BA03EA68ABB7}"/>
              </a:ext>
            </a:extLst>
          </p:cNvPr>
          <p:cNvSpPr/>
          <p:nvPr/>
        </p:nvSpPr>
        <p:spPr>
          <a:xfrm>
            <a:off x="5324440" y="3997330"/>
            <a:ext cx="1543121" cy="54196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ounded MT Bold" panose="020F0704030504030204" pitchFamily="34" charset="77"/>
                <a:ea typeface="+mn-ea"/>
                <a:cs typeface="+mn-cs"/>
              </a:rPr>
              <a:t>Resellers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Rounded MT Bold" panose="020F0704030504030204" pitchFamily="34" charset="77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8FF7DED-709F-B741-8FF5-C64302D5126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576" y="4963549"/>
            <a:ext cx="1081259" cy="540630"/>
          </a:xfrm>
          <a:prstGeom prst="rect">
            <a:avLst/>
          </a:prstGeom>
        </p:spPr>
      </p:pic>
      <p:pic>
        <p:nvPicPr>
          <p:cNvPr id="15" name="Picture 14" descr="A picture containing clipart&#10;&#10;Description automatically generated">
            <a:extLst>
              <a:ext uri="{FF2B5EF4-FFF2-40B4-BE49-F238E27FC236}">
                <a16:creationId xmlns:a16="http://schemas.microsoft.com/office/drawing/2014/main" id="{124415DD-1B6C-1241-96F0-4E6D74E63DE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287" y="5807467"/>
            <a:ext cx="1454991" cy="518534"/>
          </a:xfrm>
          <a:prstGeom prst="rect">
            <a:avLst/>
          </a:prstGeom>
        </p:spPr>
      </p:pic>
      <p:pic>
        <p:nvPicPr>
          <p:cNvPr id="40" name="Picture 39" descr="A close up of a sign&#10;&#10;Description automatically generated">
            <a:extLst>
              <a:ext uri="{FF2B5EF4-FFF2-40B4-BE49-F238E27FC236}">
                <a16:creationId xmlns:a16="http://schemas.microsoft.com/office/drawing/2014/main" id="{75D0D175-D8DE-A246-842B-17198230F16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787" y="2838546"/>
            <a:ext cx="1002829" cy="72933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515F6322-D50F-0648-9D45-C9FEDCAB00AA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613447" y="3332308"/>
            <a:ext cx="1691365" cy="23822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43D01E36-9646-8A4E-B124-8A6BB5BFB6F0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9140" y="2385013"/>
            <a:ext cx="2435735" cy="777726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D242D331-D2D5-0349-A84E-F9B06299373A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3312" y="3231981"/>
            <a:ext cx="1309484" cy="388753"/>
          </a:xfrm>
          <a:prstGeom prst="rect">
            <a:avLst/>
          </a:prstGeom>
        </p:spPr>
      </p:pic>
      <p:pic>
        <p:nvPicPr>
          <p:cNvPr id="51" name="Picture 50" descr="A close up of a sign&#10;&#10;Description automatically generated">
            <a:extLst>
              <a:ext uri="{FF2B5EF4-FFF2-40B4-BE49-F238E27FC236}">
                <a16:creationId xmlns:a16="http://schemas.microsoft.com/office/drawing/2014/main" id="{F6D61A17-4242-5044-A1FD-4804BFE14604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3369" y="2280325"/>
            <a:ext cx="1688403" cy="741429"/>
          </a:xfrm>
          <a:prstGeom prst="rect">
            <a:avLst/>
          </a:prstGeom>
        </p:spPr>
      </p:pic>
      <p:pic>
        <p:nvPicPr>
          <p:cNvPr id="53" name="Picture 52" descr="A picture containing vector graphics&#10;&#10;Description automatically generated">
            <a:extLst>
              <a:ext uri="{FF2B5EF4-FFF2-40B4-BE49-F238E27FC236}">
                <a16:creationId xmlns:a16="http://schemas.microsoft.com/office/drawing/2014/main" id="{7DC2906C-3009-1D46-9CFB-7D04C1D221B7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1744" y="2743646"/>
            <a:ext cx="1688403" cy="1102631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12591311-4A76-8D47-A7C4-0AAD2047C734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2669" y="1653164"/>
            <a:ext cx="2245784" cy="395532"/>
          </a:xfrm>
          <a:prstGeom prst="rect">
            <a:avLst/>
          </a:prstGeom>
        </p:spPr>
      </p:pic>
      <p:pic>
        <p:nvPicPr>
          <p:cNvPr id="57" name="Picture 56" descr="A picture containing clipart&#10;&#10;Description automatically generated">
            <a:extLst>
              <a:ext uri="{FF2B5EF4-FFF2-40B4-BE49-F238E27FC236}">
                <a16:creationId xmlns:a16="http://schemas.microsoft.com/office/drawing/2014/main" id="{1D9282F1-F2F3-F649-806C-9F0D835458EF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2005" y="2432990"/>
            <a:ext cx="2194898" cy="467513"/>
          </a:xfrm>
          <a:prstGeom prst="rect">
            <a:avLst/>
          </a:prstGeom>
        </p:spPr>
      </p:pic>
      <p:pic>
        <p:nvPicPr>
          <p:cNvPr id="59" name="Picture 58" descr="A picture containing object&#10;&#10;Description automatically generated">
            <a:extLst>
              <a:ext uri="{FF2B5EF4-FFF2-40B4-BE49-F238E27FC236}">
                <a16:creationId xmlns:a16="http://schemas.microsoft.com/office/drawing/2014/main" id="{D58BB14D-EB66-0249-81BA-518DF7F47FDE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2469" y="5807467"/>
            <a:ext cx="1699798" cy="309054"/>
          </a:xfrm>
          <a:prstGeom prst="rect">
            <a:avLst/>
          </a:prstGeom>
        </p:spPr>
      </p:pic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B6C04F7A-EA0E-654D-BF69-624B896BDCBC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2461" y="2994646"/>
            <a:ext cx="207010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93887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89FAC5F-5F2E-AC4C-BC4D-C21ECB76B4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89FAC5F-5F2E-AC4C-BC4D-C21ECB76B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75F08DB-9CA0-8848-9298-0537062584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Rounded MT Bold" panose="020F0704030504030204" pitchFamily="34" charset="77"/>
              <a:ea typeface="+mn-ea"/>
              <a:cs typeface="+mn-cs"/>
              <a:sym typeface="Arial Rounded MT Bold" panose="020F0704030504030204" pitchFamily="34" charset="77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C6F0F4-00B7-4935-89CE-D4B342BC2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Robust Integration &amp; Partner Ecosystem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ABA42C-F29A-41AD-B1BB-DC41D08476D1}"/>
              </a:ext>
            </a:extLst>
          </p:cNvPr>
          <p:cNvSpPr txBox="1">
            <a:spLocks/>
          </p:cNvSpPr>
          <p:nvPr/>
        </p:nvSpPr>
        <p:spPr>
          <a:xfrm>
            <a:off x="580347" y="1710480"/>
            <a:ext cx="4903066" cy="4113683"/>
          </a:xfrm>
          <a:prstGeom prst="rect">
            <a:avLst/>
          </a:prstGeom>
        </p:spPr>
        <p:txBody>
          <a:bodyPr/>
          <a:lstStyle>
            <a:lvl1pPr marL="184150" indent="-1841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charset="0"/>
              <a:buChar char="•"/>
              <a:tabLst/>
              <a:defRPr sz="17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623888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90000"/>
              <a:buFont typeface="Arial" charset="0"/>
              <a:buChar char="•"/>
              <a:tabLst/>
              <a:defRPr sz="15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2pPr>
            <a:lvl3pPr marL="1071563" indent="-1571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3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3pPr>
            <a:lvl4pPr marL="1558925" indent="-1873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2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4pPr>
            <a:lvl5pPr marL="2000250" indent="-1714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1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50" marR="0" lvl="0" indent="-1841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7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Over 42 pre-built integrations for: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515665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CRM – Customer Relationship Management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515665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Work Force Management 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515665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Help Desks - ticketing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515665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E-mail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515665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Social media</a:t>
            </a:r>
          </a:p>
          <a:p>
            <a:pPr marL="184150" marR="0" lvl="0" indent="-1841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7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Additional customer specific integrations though flexible APIs </a:t>
            </a:r>
          </a:p>
          <a:p>
            <a:pPr marL="184150" marR="0" lvl="0" indent="-1841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Widget-based platform with its extensibility and integrations allow companies and partners to effectively ingest and interpret the data and issues coming from the installed sensors.</a:t>
            </a:r>
          </a:p>
          <a:p>
            <a:pPr marL="184150" marR="0" lvl="0" indent="-1841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endParaRPr kumimoji="0" lang="en-GB" sz="1700" b="0" i="0" u="none" strike="noStrike" kern="120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213EEB-7B0C-7A4A-8CEA-B7EE7A73CE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3084" y="905650"/>
            <a:ext cx="5594371" cy="560759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4A3E598-8E29-7C4C-B2A6-B53D1186D1C6}"/>
              </a:ext>
            </a:extLst>
          </p:cNvPr>
          <p:cNvSpPr txBox="1"/>
          <p:nvPr/>
        </p:nvSpPr>
        <p:spPr>
          <a:xfrm>
            <a:off x="12512233" y="5903089"/>
            <a:ext cx="0" cy="0"/>
          </a:xfrm>
          <a:prstGeom prst="rect">
            <a:avLst/>
          </a:prstGeom>
          <a:noFill/>
        </p:spPr>
        <p:txBody>
          <a:bodyPr wrap="none" rtlCol="0">
            <a:normAutofit fontScale="250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err="1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676358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DC &amp; Platform overvie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820878" y="757320"/>
            <a:ext cx="10033353" cy="396679"/>
          </a:xfrm>
        </p:spPr>
        <p:txBody>
          <a:bodyPr/>
          <a:lstStyle/>
          <a:p>
            <a:r>
              <a:rPr lang="en-GB"/>
              <a:t>Scalable &amp; redundant architecture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8043425" y="2549300"/>
            <a:ext cx="1609406" cy="2214676"/>
            <a:chOff x="2310063" y="2430379"/>
            <a:chExt cx="1668379" cy="2297738"/>
          </a:xfrm>
        </p:grpSpPr>
        <p:sp>
          <p:nvSpPr>
            <p:cNvPr id="31" name="Rounded Rectangle 30"/>
            <p:cNvSpPr/>
            <p:nvPr/>
          </p:nvSpPr>
          <p:spPr>
            <a:xfrm>
              <a:off x="2310063" y="2430379"/>
              <a:ext cx="1668379" cy="2297738"/>
            </a:xfrm>
            <a:prstGeom prst="roundRect">
              <a:avLst/>
            </a:prstGeom>
            <a:noFill/>
            <a:ln w="25400">
              <a:solidFill>
                <a:schemeClr val="tx2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32" name="Rounded Rectangle 31"/>
            <p:cNvSpPr/>
            <p:nvPr/>
          </p:nvSpPr>
          <p:spPr>
            <a:xfrm>
              <a:off x="2453268" y="2609385"/>
              <a:ext cx="1393903" cy="345688"/>
            </a:xfrm>
            <a:prstGeom prst="roundRect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Network</a:t>
              </a:r>
            </a:p>
          </p:txBody>
        </p:sp>
        <p:sp>
          <p:nvSpPr>
            <p:cNvPr id="33" name="Rounded Rectangle 32"/>
            <p:cNvSpPr/>
            <p:nvPr/>
          </p:nvSpPr>
          <p:spPr>
            <a:xfrm>
              <a:off x="2447300" y="3134079"/>
              <a:ext cx="1393903" cy="345688"/>
            </a:xfrm>
            <a:prstGeom prst="roundRect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Infrastructure</a:t>
              </a:r>
              <a:endPara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34" name="Rounded Rectangle 33"/>
            <p:cNvSpPr/>
            <p:nvPr/>
          </p:nvSpPr>
          <p:spPr>
            <a:xfrm>
              <a:off x="2447299" y="3624342"/>
              <a:ext cx="1393903" cy="345688"/>
            </a:xfrm>
            <a:prstGeom prst="roundRect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Application</a:t>
              </a:r>
            </a:p>
          </p:txBody>
        </p:sp>
        <p:sp>
          <p:nvSpPr>
            <p:cNvPr id="35" name="Rounded Rectangle 34"/>
            <p:cNvSpPr/>
            <p:nvPr/>
          </p:nvSpPr>
          <p:spPr>
            <a:xfrm>
              <a:off x="2447298" y="4125561"/>
              <a:ext cx="1393903" cy="345688"/>
            </a:xfrm>
            <a:prstGeom prst="roundRect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Voice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415118" y="2549300"/>
            <a:ext cx="1609406" cy="2214676"/>
            <a:chOff x="2310063" y="2430379"/>
            <a:chExt cx="1668379" cy="2297738"/>
          </a:xfrm>
        </p:grpSpPr>
        <p:sp>
          <p:nvSpPr>
            <p:cNvPr id="26" name="Rounded Rectangle 25"/>
            <p:cNvSpPr/>
            <p:nvPr/>
          </p:nvSpPr>
          <p:spPr>
            <a:xfrm>
              <a:off x="2310063" y="2430379"/>
              <a:ext cx="1668379" cy="2297738"/>
            </a:xfrm>
            <a:prstGeom prst="roundRect">
              <a:avLst/>
            </a:prstGeom>
            <a:noFill/>
            <a:ln w="25400">
              <a:solidFill>
                <a:schemeClr val="tx2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7" name="Rounded Rectangle 26"/>
            <p:cNvSpPr/>
            <p:nvPr/>
          </p:nvSpPr>
          <p:spPr>
            <a:xfrm>
              <a:off x="2453268" y="2609385"/>
              <a:ext cx="1393903" cy="345688"/>
            </a:xfrm>
            <a:prstGeom prst="roundRect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Network</a:t>
              </a: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447300" y="3134079"/>
              <a:ext cx="1393903" cy="345688"/>
            </a:xfrm>
            <a:prstGeom prst="roundRect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Infrastructure</a:t>
              </a:r>
              <a:endPara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447299" y="3624342"/>
              <a:ext cx="1393903" cy="345688"/>
            </a:xfrm>
            <a:prstGeom prst="roundRect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Application</a:t>
              </a: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447298" y="4125561"/>
              <a:ext cx="1393903" cy="345688"/>
            </a:xfrm>
            <a:prstGeom prst="roundRect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Voice</a:t>
              </a:r>
            </a:p>
          </p:txBody>
        </p:sp>
      </p:grpSp>
      <p:cxnSp>
        <p:nvCxnSpPr>
          <p:cNvPr id="8" name="Straight Arrow Connector 7"/>
          <p:cNvCxnSpPr>
            <a:cxnSpLocks/>
            <a:stCxn id="31" idx="1"/>
            <a:endCxn id="26" idx="3"/>
          </p:cNvCxnSpPr>
          <p:nvPr/>
        </p:nvCxnSpPr>
        <p:spPr>
          <a:xfrm flipH="1">
            <a:off x="7024524" y="3656638"/>
            <a:ext cx="1018901" cy="0"/>
          </a:xfrm>
          <a:prstGeom prst="straightConnector1">
            <a:avLst/>
          </a:prstGeom>
          <a:ln w="31750" cmpd="dbl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/>
            <a:stCxn id="48" idx="2"/>
            <a:endCxn id="26" idx="0"/>
          </p:cNvCxnSpPr>
          <p:nvPr/>
        </p:nvCxnSpPr>
        <p:spPr>
          <a:xfrm flipH="1">
            <a:off x="6219821" y="2168166"/>
            <a:ext cx="804703" cy="381134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cxnSpLocks/>
            <a:stCxn id="48" idx="2"/>
            <a:endCxn id="31" idx="0"/>
          </p:cNvCxnSpPr>
          <p:nvPr/>
        </p:nvCxnSpPr>
        <p:spPr>
          <a:xfrm>
            <a:off x="7024524" y="2168166"/>
            <a:ext cx="1823604" cy="381134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15"/>
          <p:cNvSpPr/>
          <p:nvPr/>
        </p:nvSpPr>
        <p:spPr>
          <a:xfrm>
            <a:off x="5419676" y="5016934"/>
            <a:ext cx="1609406" cy="333192"/>
          </a:xfrm>
          <a:prstGeom prst="roundRect">
            <a:avLst/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SW/SBC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8044784" y="5016934"/>
            <a:ext cx="1609406" cy="333192"/>
          </a:xfrm>
          <a:prstGeom prst="roundRect">
            <a:avLst/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SW/SBC</a:t>
            </a:r>
          </a:p>
        </p:txBody>
      </p:sp>
      <p:cxnSp>
        <p:nvCxnSpPr>
          <p:cNvPr id="24" name="Straight Connector 23"/>
          <p:cNvCxnSpPr>
            <a:cxnSpLocks/>
            <a:endCxn id="16" idx="2"/>
          </p:cNvCxnSpPr>
          <p:nvPr/>
        </p:nvCxnSpPr>
        <p:spPr>
          <a:xfrm flipV="1">
            <a:off x="6219821" y="5350126"/>
            <a:ext cx="4558" cy="597957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 flipV="1">
            <a:off x="6224379" y="5350126"/>
            <a:ext cx="2643500" cy="592383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cxnSpLocks/>
            <a:stCxn id="17" idx="2"/>
          </p:cNvCxnSpPr>
          <p:nvPr/>
        </p:nvCxnSpPr>
        <p:spPr>
          <a:xfrm>
            <a:off x="8849487" y="5350126"/>
            <a:ext cx="0" cy="5979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>
          <a:xfrm flipV="1">
            <a:off x="6219821" y="5350127"/>
            <a:ext cx="2678235" cy="597956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CB869B12-2B3F-4132-864A-96353191FC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337" y="2888431"/>
            <a:ext cx="2657143" cy="1371429"/>
          </a:xfrm>
          <a:prstGeom prst="rect">
            <a:avLst/>
          </a:prstGeom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3DF69A8-0212-4D51-924C-11A9B2F4CC7D}"/>
              </a:ext>
            </a:extLst>
          </p:cNvPr>
          <p:cNvCxnSpPr>
            <a:cxnSpLocks/>
            <a:stCxn id="31" idx="2"/>
            <a:endCxn id="16" idx="0"/>
          </p:cNvCxnSpPr>
          <p:nvPr/>
        </p:nvCxnSpPr>
        <p:spPr>
          <a:xfrm flipH="1">
            <a:off x="6224379" y="4763976"/>
            <a:ext cx="2623749" cy="252958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47C1C12-85D8-49B4-A922-0CFAE9B30303}"/>
              </a:ext>
            </a:extLst>
          </p:cNvPr>
          <p:cNvCxnSpPr>
            <a:cxnSpLocks/>
            <a:stCxn id="17" idx="0"/>
            <a:endCxn id="26" idx="2"/>
          </p:cNvCxnSpPr>
          <p:nvPr/>
        </p:nvCxnSpPr>
        <p:spPr>
          <a:xfrm flipH="1" flipV="1">
            <a:off x="6219821" y="4763976"/>
            <a:ext cx="2629666" cy="252958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ACF3B73-3838-45FD-9476-625B0CC8DC35}"/>
              </a:ext>
            </a:extLst>
          </p:cNvPr>
          <p:cNvCxnSpPr>
            <a:cxnSpLocks/>
            <a:stCxn id="17" idx="0"/>
            <a:endCxn id="31" idx="2"/>
          </p:cNvCxnSpPr>
          <p:nvPr/>
        </p:nvCxnSpPr>
        <p:spPr>
          <a:xfrm flipH="1" flipV="1">
            <a:off x="8848128" y="4763976"/>
            <a:ext cx="1359" cy="25295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A1B8F96-D477-45F0-8350-90F541C33AFF}"/>
              </a:ext>
            </a:extLst>
          </p:cNvPr>
          <p:cNvCxnSpPr>
            <a:cxnSpLocks/>
            <a:stCxn id="16" idx="0"/>
            <a:endCxn id="26" idx="2"/>
          </p:cNvCxnSpPr>
          <p:nvPr/>
        </p:nvCxnSpPr>
        <p:spPr>
          <a:xfrm flipH="1" flipV="1">
            <a:off x="6219821" y="4763976"/>
            <a:ext cx="4558" cy="25295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4F0843A-C37E-4BF5-83C1-CA6D5A078A51}"/>
              </a:ext>
            </a:extLst>
          </p:cNvPr>
          <p:cNvCxnSpPr>
            <a:cxnSpLocks/>
            <a:stCxn id="48" idx="2"/>
            <a:endCxn id="14" idx="0"/>
          </p:cNvCxnSpPr>
          <p:nvPr/>
        </p:nvCxnSpPr>
        <p:spPr>
          <a:xfrm flipH="1">
            <a:off x="2380909" y="2168166"/>
            <a:ext cx="4643615" cy="72026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4A91A16-30BD-48BA-9A25-B708CB85AE68}"/>
              </a:ext>
            </a:extLst>
          </p:cNvPr>
          <p:cNvSpPr txBox="1"/>
          <p:nvPr/>
        </p:nvSpPr>
        <p:spPr>
          <a:xfrm>
            <a:off x="1235841" y="4349798"/>
            <a:ext cx="2064103" cy="91440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oMe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Platfor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Bot Platfor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Rack </a:t>
            </a:r>
            <a:r>
              <a:rPr kumimoji="0" lang="nb-NO" sz="16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Tables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err="1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E035085B-DCF6-7842-A8E3-642896BFB833}"/>
              </a:ext>
            </a:extLst>
          </p:cNvPr>
          <p:cNvGrpSpPr/>
          <p:nvPr/>
        </p:nvGrpSpPr>
        <p:grpSpPr>
          <a:xfrm>
            <a:off x="6075637" y="578681"/>
            <a:ext cx="1897773" cy="1589485"/>
            <a:chOff x="8230128" y="486486"/>
            <a:chExt cx="1897773" cy="1589485"/>
          </a:xfrm>
        </p:grpSpPr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55309C00-BA4E-7949-8D51-0414F1D60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30128" y="486486"/>
              <a:ext cx="1897773" cy="1589485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B1F4355-F938-E146-9147-009E4ECC467F}"/>
                </a:ext>
              </a:extLst>
            </p:cNvPr>
            <p:cNvSpPr txBox="1"/>
            <p:nvPr/>
          </p:nvSpPr>
          <p:spPr>
            <a:xfrm>
              <a:off x="8715876" y="1233453"/>
              <a:ext cx="926276" cy="347008"/>
            </a:xfrm>
            <a:prstGeom prst="rect">
              <a:avLst/>
            </a:prstGeom>
            <a:noFill/>
          </p:spPr>
          <p:txBody>
            <a:bodyPr wrap="none" rtlCol="0">
              <a:normAutofit lnSpcReduction="10000"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0" i="0" u="none" strike="noStrike" kern="1200" cap="none" spc="0" normalizeH="0" baseline="0" noProof="0" err="1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Internet</a:t>
              </a: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5383A0F-5E05-CB45-B215-5A3F6952F935}"/>
              </a:ext>
            </a:extLst>
          </p:cNvPr>
          <p:cNvGrpSpPr/>
          <p:nvPr/>
        </p:nvGrpSpPr>
        <p:grpSpPr>
          <a:xfrm>
            <a:off x="5716573" y="5851273"/>
            <a:ext cx="811359" cy="679556"/>
            <a:chOff x="8316772" y="573747"/>
            <a:chExt cx="1707821" cy="1430391"/>
          </a:xfrm>
        </p:grpSpPr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A71B0848-A9FC-6044-88B7-0A5BD664BF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16772" y="573747"/>
              <a:ext cx="1707821" cy="1430391"/>
            </a:xfrm>
            <a:prstGeom prst="rect">
              <a:avLst/>
            </a:prstGeom>
          </p:spPr>
        </p:pic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77A810C-F53C-B14B-8D3C-F0109C8DDD2D}"/>
                </a:ext>
              </a:extLst>
            </p:cNvPr>
            <p:cNvSpPr txBox="1"/>
            <p:nvPr/>
          </p:nvSpPr>
          <p:spPr>
            <a:xfrm>
              <a:off x="8556402" y="1202298"/>
              <a:ext cx="1087658" cy="513081"/>
            </a:xfrm>
            <a:prstGeom prst="rect">
              <a:avLst/>
            </a:prstGeom>
            <a:noFill/>
          </p:spPr>
          <p:txBody>
            <a:bodyPr wrap="none" rtlCol="0">
              <a:normAutofit fontScale="62500" lnSpcReduction="20000"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Carrier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4D3DB4F4-BA36-5342-B325-3E3ACAA27627}"/>
              </a:ext>
            </a:extLst>
          </p:cNvPr>
          <p:cNvGrpSpPr/>
          <p:nvPr/>
        </p:nvGrpSpPr>
        <p:grpSpPr>
          <a:xfrm>
            <a:off x="8563945" y="5851273"/>
            <a:ext cx="811359" cy="679556"/>
            <a:chOff x="8316772" y="573747"/>
            <a:chExt cx="1707821" cy="1430391"/>
          </a:xfrm>
        </p:grpSpPr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159BA354-4B65-3A4F-9AC0-6CDDDCB7BD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16772" y="573747"/>
              <a:ext cx="1707821" cy="1430391"/>
            </a:xfrm>
            <a:prstGeom prst="rect">
              <a:avLst/>
            </a:prstGeom>
          </p:spPr>
        </p:pic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97B6A8FE-A3AD-304E-9DE0-8A0943A54FE7}"/>
                </a:ext>
              </a:extLst>
            </p:cNvPr>
            <p:cNvSpPr txBox="1"/>
            <p:nvPr/>
          </p:nvSpPr>
          <p:spPr>
            <a:xfrm>
              <a:off x="8556402" y="1202298"/>
              <a:ext cx="1087658" cy="513081"/>
            </a:xfrm>
            <a:prstGeom prst="rect">
              <a:avLst/>
            </a:prstGeom>
            <a:noFill/>
          </p:spPr>
          <p:txBody>
            <a:bodyPr wrap="none" rtlCol="0">
              <a:normAutofit fontScale="62500" lnSpcReduction="20000"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0" i="0" u="none" strike="noStrike" kern="1200" cap="none" spc="0" normalizeH="0" baseline="0" noProof="0">
                  <a:ln>
                    <a:noFill/>
                  </a:ln>
                  <a:solidFill>
                    <a:srgbClr val="515665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Carri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069310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3D25B0BB-B58D-E84B-80CD-C72DE1B78B27}"/>
              </a:ext>
            </a:extLst>
          </p:cNvPr>
          <p:cNvSpPr txBox="1">
            <a:spLocks/>
          </p:cNvSpPr>
          <p:nvPr/>
        </p:nvSpPr>
        <p:spPr>
          <a:xfrm>
            <a:off x="489463" y="4209844"/>
            <a:ext cx="11240804" cy="95338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 baseline="0">
                <a:solidFill>
                  <a:schemeClr val="tx2"/>
                </a:solidFill>
                <a:latin typeface="Arial Rounded MT Bold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0" i="0" u="none" strike="noStrike" kern="1200" cap="none" spc="0" normalizeH="0" baseline="0" noProof="0">
                <a:ln>
                  <a:noFill/>
                </a:ln>
                <a:solidFill>
                  <a:srgbClr val="EB1562"/>
                </a:solidFill>
                <a:effectLst/>
                <a:uLnTx/>
                <a:uFillTx/>
                <a:latin typeface="Arial Rounded MT Bold" charset="0"/>
                <a:ea typeface="+mj-ea"/>
                <a:cs typeface="+mj-cs"/>
              </a:rPr>
              <a:t>Title</a:t>
            </a:r>
            <a:endParaRPr kumimoji="0" lang="en-GB" sz="6600" b="0" i="0" u="none" strike="noStrike" kern="1200" cap="none" spc="0" normalizeH="0" baseline="0" noProof="0">
              <a:ln>
                <a:noFill/>
              </a:ln>
              <a:solidFill>
                <a:srgbClr val="EB1562"/>
              </a:solidFill>
              <a:effectLst/>
              <a:uLnTx/>
              <a:uFillTx/>
              <a:latin typeface="Arial Rounded MT Bold"/>
              <a:ea typeface="+mj-ea"/>
              <a:cs typeface="+mj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7CD7400-B198-C640-B48E-823F145CAFCB}"/>
              </a:ext>
            </a:extLst>
          </p:cNvPr>
          <p:cNvSpPr txBox="1">
            <a:spLocks/>
          </p:cNvSpPr>
          <p:nvPr/>
        </p:nvSpPr>
        <p:spPr>
          <a:xfrm>
            <a:off x="489463" y="5914822"/>
            <a:ext cx="5080000" cy="607637"/>
          </a:xfrm>
          <a:prstGeom prst="rect">
            <a:avLst/>
          </a:prstGeom>
        </p:spPr>
        <p:txBody>
          <a:bodyPr/>
          <a:lstStyle>
            <a:lvl1pPr marL="184150" indent="-1841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charset="0"/>
              <a:buChar char="•"/>
              <a:tabLst/>
              <a:defRPr sz="17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623888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90000"/>
              <a:buFont typeface="Arial" charset="0"/>
              <a:buChar char="•"/>
              <a:tabLst/>
              <a:defRPr sz="15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2pPr>
            <a:lvl3pPr marL="1071563" indent="-1571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3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3pPr>
            <a:lvl4pPr marL="1558925" indent="-1873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2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4pPr>
            <a:lvl5pPr marL="2000250" indent="-1714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1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1562"/>
              </a:buClr>
              <a:buSzPct val="100000"/>
              <a:buFont typeface="Arial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909399"/>
                </a:solidFill>
                <a:effectLst/>
                <a:uLnTx/>
                <a:uFillTx/>
                <a:latin typeface="Franklin Gothic Book" charset="0"/>
              </a:rPr>
              <a:t>Date YEAR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868294C-BEB5-3746-A782-C727A0D17983}"/>
              </a:ext>
            </a:extLst>
          </p:cNvPr>
          <p:cNvGrpSpPr/>
          <p:nvPr/>
        </p:nvGrpSpPr>
        <p:grpSpPr>
          <a:xfrm>
            <a:off x="-1" y="755035"/>
            <a:ext cx="12219435" cy="3108627"/>
            <a:chOff x="740664" y="675181"/>
            <a:chExt cx="10686591" cy="2718671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C066E785-3FDD-E747-82EA-DA7B8095F0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4817" y="675193"/>
              <a:ext cx="1529245" cy="2718659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007292B-5B4D-3A44-ADA9-D3584EAB83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60863" y="675193"/>
              <a:ext cx="1529238" cy="2718646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EACCEC50-B97D-0945-96C9-475BD1E3AE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90101" y="675181"/>
              <a:ext cx="1529239" cy="2718646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7766082-04C3-144A-AFD0-DF7065088A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848579" y="675181"/>
              <a:ext cx="1529238" cy="2718646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F13EE5A-0B8D-614D-AFA9-A11E2BE1F2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368778" y="675182"/>
              <a:ext cx="1529238" cy="2718646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E90614C8-784D-7641-B9B0-17EDD4427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898016" y="675181"/>
              <a:ext cx="1529239" cy="2718647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19EF2743-2729-9B43-B07D-4FC8015AB31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40664" y="675181"/>
              <a:ext cx="1529238" cy="27186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9685800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Infrastructure - Technology stac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The building blocks of the platform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748844" y="1676785"/>
            <a:ext cx="10033000" cy="5120829"/>
          </a:xfrm>
        </p:spPr>
        <p:txBody>
          <a:bodyPr>
            <a:normAutofit fontScale="92500" lnSpcReduction="20000"/>
          </a:bodyPr>
          <a:lstStyle/>
          <a:p>
            <a:r>
              <a:rPr lang="en-GB" sz="1800"/>
              <a:t>Carrier interconnections &amp; Internet connections</a:t>
            </a:r>
          </a:p>
          <a:p>
            <a:pPr lvl="1"/>
            <a:r>
              <a:rPr lang="en-GB" sz="1600"/>
              <a:t>Carrier connections, internet connections. Load-balanced from ISP and/or Carrier.</a:t>
            </a:r>
          </a:p>
          <a:p>
            <a:r>
              <a:rPr lang="en-GB" sz="1800"/>
              <a:t>Network &amp; Backbone</a:t>
            </a:r>
          </a:p>
          <a:p>
            <a:pPr lvl="1"/>
            <a:r>
              <a:rPr lang="en-GB" sz="1600"/>
              <a:t>Internal network (core switches, edge switches, routers etc). Redundant by design</a:t>
            </a:r>
          </a:p>
          <a:p>
            <a:r>
              <a:rPr lang="en-GB" sz="1800"/>
              <a:t>Session Border Controllers</a:t>
            </a:r>
          </a:p>
          <a:p>
            <a:pPr lvl="1"/>
            <a:r>
              <a:rPr lang="en-GB" sz="1600"/>
              <a:t>Session Border Controllers (SBC’s) connected to carrier networks enabling </a:t>
            </a:r>
            <a:r>
              <a:rPr lang="en-GB" sz="1600" err="1"/>
              <a:t>Puzzels</a:t>
            </a:r>
            <a:r>
              <a:rPr lang="en-GB" sz="1600"/>
              <a:t> services to switch voice traffic to and from callers and agents. Component redundant and duplicated across data centres.</a:t>
            </a:r>
          </a:p>
          <a:p>
            <a:r>
              <a:rPr lang="en-GB" sz="1800"/>
              <a:t>Traffic modules (IVR)</a:t>
            </a:r>
          </a:p>
          <a:p>
            <a:pPr lvl="1"/>
            <a:r>
              <a:rPr lang="en-GB" sz="1600"/>
              <a:t>Traffic modules hold the contact centre functionality (IVR, ACD, menus, queues </a:t>
            </a:r>
            <a:r>
              <a:rPr lang="en-GB" sz="1600" err="1"/>
              <a:t>etc</a:t>
            </a:r>
            <a:r>
              <a:rPr lang="en-GB" sz="1600"/>
              <a:t>). They are stacked and scale by adding more modules (servers). They are connected directly to the SBC, and to the Application Servers/ Databases. Load balanced from the SBC and duplicated across data centres.</a:t>
            </a:r>
          </a:p>
          <a:p>
            <a:r>
              <a:rPr lang="en-GB" sz="1800"/>
              <a:t>Application and Web servers</a:t>
            </a:r>
          </a:p>
          <a:p>
            <a:pPr lvl="1"/>
            <a:r>
              <a:rPr lang="en-GB" sz="1600"/>
              <a:t>Application Servers provide the functionality for the service such as user management, configuration, SMS services, email channel, Social media channel, billing, statistics etc. Load balanced and duplicated across data centres.</a:t>
            </a:r>
          </a:p>
          <a:p>
            <a:r>
              <a:rPr lang="en-GB" sz="1800"/>
              <a:t>Database servers &amp; File Storage </a:t>
            </a:r>
          </a:p>
          <a:p>
            <a:pPr lvl="1"/>
            <a:r>
              <a:rPr lang="en-GB" sz="1600"/>
              <a:t>The databases are the primary storage of data. Examples of data are CDR information, users, statistics, configurations, billing information, recordings and chat dialogues etc. Active/Passive configuration with synchronous synchronization of data between data centres</a:t>
            </a:r>
          </a:p>
        </p:txBody>
      </p:sp>
    </p:spTree>
    <p:extLst>
      <p:ext uri="{BB962C8B-B14F-4D97-AF65-F5344CB8AC3E}">
        <p14:creationId xmlns:p14="http://schemas.microsoft.com/office/powerpoint/2010/main" val="396473504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464" y="157845"/>
            <a:ext cx="11612880" cy="657283"/>
          </a:xfrm>
        </p:spPr>
        <p:txBody>
          <a:bodyPr>
            <a:normAutofit/>
          </a:bodyPr>
          <a:lstStyle/>
          <a:p>
            <a:r>
              <a:rPr lang="nb-NO"/>
              <a:t>Infrastructure </a:t>
            </a:r>
            <a:r>
              <a:rPr lang="nb-NO" err="1"/>
              <a:t>stack</a:t>
            </a:r>
            <a:r>
              <a:rPr lang="nb-NO"/>
              <a:t> - vendor overview</a:t>
            </a:r>
          </a:p>
        </p:txBody>
      </p:sp>
      <p:pic>
        <p:nvPicPr>
          <p:cNvPr id="1034" name="Picture 10" descr="Image result for Cisc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8389" y="4812996"/>
            <a:ext cx="820576" cy="434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mage result for barracuda network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1710" y="4787310"/>
            <a:ext cx="1108570" cy="39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Image result for checkpoint 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0553" y="5497511"/>
            <a:ext cx="1255922" cy="29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Aculab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7549" y="5541631"/>
            <a:ext cx="1213932" cy="23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Image result for hp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6783" y="1820246"/>
            <a:ext cx="564186" cy="56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 descr="Image result for vmware 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0965" y="3423347"/>
            <a:ext cx="1498477" cy="244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 descr="Image result for microsoft logo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7500" y="2525184"/>
            <a:ext cx="1627573" cy="600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2" name="Picture 38" descr="Image result for SCOM logo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730" y="2233721"/>
            <a:ext cx="1067657" cy="600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6" name="Picture 42" descr="Bilderesultat for jira logo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164" y="4343889"/>
            <a:ext cx="1372750" cy="54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8" name="Picture 44" descr="Bilderesultat for confluence logo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3434" y="4151332"/>
            <a:ext cx="1070593" cy="202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0" name="Picture 46" descr="Bilderesultat for slack logo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7534" y="2800415"/>
            <a:ext cx="997166" cy="527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2" name="Picture 48" descr="Bilderesultat for zendesk new logo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8317" y="3341311"/>
            <a:ext cx="1189608" cy="274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Image result for telenor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3506" y="1724948"/>
            <a:ext cx="1026733" cy="451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telia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1210" y="2384432"/>
            <a:ext cx="1026733" cy="576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TDC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136" y="2682379"/>
            <a:ext cx="498227" cy="425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Verizon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0553" y="1230699"/>
            <a:ext cx="1099133" cy="9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6" name="Picture 52" descr="Bilderesultat for voxbone logo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1974" y="2844314"/>
            <a:ext cx="1222776" cy="917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8" name="Picture 54" descr="Bilderesultat for Broadnet logo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3674" y="3737363"/>
            <a:ext cx="1096196" cy="290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1072924" y="1265077"/>
            <a:ext cx="2894120" cy="4904399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EB1562"/>
                </a:solidFill>
                <a:effectLst/>
                <a:uLnTx/>
                <a:uFillTx/>
                <a:latin typeface="Arial Rounded MT Bold" charset="0"/>
                <a:ea typeface="+mn-ea"/>
                <a:cs typeface="+mn-cs"/>
              </a:rPr>
              <a:t>Management &amp; Monitoring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096504" y="4321370"/>
            <a:ext cx="2894120" cy="1848106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872F0"/>
                </a:solidFill>
                <a:effectLst/>
                <a:uLnTx/>
                <a:uFillTx/>
                <a:latin typeface="Arial Rounded MT Bold" charset="0"/>
                <a:ea typeface="+mn-ea"/>
                <a:cs typeface="+mn-cs"/>
              </a:rPr>
              <a:t>Voice &amp; Switching</a:t>
            </a:r>
          </a:p>
        </p:txBody>
      </p:sp>
      <p:sp>
        <p:nvSpPr>
          <p:cNvPr id="40" name="Rectangle 39"/>
          <p:cNvSpPr/>
          <p:nvPr/>
        </p:nvSpPr>
        <p:spPr>
          <a:xfrm>
            <a:off x="4102876" y="1249637"/>
            <a:ext cx="2894120" cy="2928977"/>
          </a:xfrm>
          <a:prstGeom prst="rect">
            <a:avLst/>
          </a:prstGeom>
          <a:noFill/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34C0BC"/>
                </a:solidFill>
                <a:effectLst/>
                <a:uLnTx/>
                <a:uFillTx/>
                <a:latin typeface="Arial Rounded MT Bold" charset="0"/>
                <a:ea typeface="+mn-ea"/>
                <a:cs typeface="+mn-cs"/>
              </a:rPr>
              <a:t>Server &amp; Storage</a:t>
            </a:r>
          </a:p>
        </p:txBody>
      </p:sp>
      <p:sp>
        <p:nvSpPr>
          <p:cNvPr id="41" name="Rectangle 40"/>
          <p:cNvSpPr/>
          <p:nvPr/>
        </p:nvSpPr>
        <p:spPr>
          <a:xfrm>
            <a:off x="7122733" y="1249636"/>
            <a:ext cx="2894120" cy="2928977"/>
          </a:xfrm>
          <a:prstGeom prst="rect">
            <a:avLst/>
          </a:prstGeom>
          <a:noFill/>
          <a:ln w="25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Arial Rounded MT Bold" charset="0"/>
                <a:ea typeface="+mn-ea"/>
                <a:cs typeface="+mn-cs"/>
              </a:rPr>
              <a:t>Carriers &amp; ISP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116361" y="4321370"/>
            <a:ext cx="2894120" cy="1848106"/>
          </a:xfrm>
          <a:prstGeom prst="rect">
            <a:avLst/>
          </a:prstGeom>
          <a:noFill/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B442D6"/>
                </a:solidFill>
                <a:effectLst/>
                <a:uLnTx/>
                <a:uFillTx/>
                <a:latin typeface="Arial Rounded MT Bold" charset="0"/>
                <a:ea typeface="+mn-ea"/>
                <a:cs typeface="+mn-cs"/>
              </a:rPr>
              <a:t>Network, Firewall &amp; ID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9039" y="5492735"/>
            <a:ext cx="1200916" cy="32954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E7D9462-1CF3-488F-BFC4-8234A537D69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1982" y="4982317"/>
            <a:ext cx="1514801" cy="27127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61A623B-D86E-4941-B4A9-70DD3D0CD30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7273" y="2173809"/>
            <a:ext cx="865148" cy="338705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F95AFAC8-A1B4-4A1C-9211-656F4DDE2B02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5271" y="3280978"/>
            <a:ext cx="865148" cy="30562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547964D-C301-49B7-96DE-00F9055C881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8317" y="4911188"/>
            <a:ext cx="1339217" cy="32478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F03E2567-599F-42CA-AC6F-790CD39A206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3657" y="3503593"/>
            <a:ext cx="1384472" cy="615321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F5E70A06-4FB1-4213-A822-C6905E2F91FB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7819" y="1887913"/>
            <a:ext cx="1029730" cy="297592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3E2F4E3D-B38A-408C-A6EC-CCA12E5289E9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0015" y="2146643"/>
            <a:ext cx="1385389" cy="380982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0E8511E0-9B4A-4A75-A949-D822CC3FE47D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9159" y="5398192"/>
            <a:ext cx="1459169" cy="489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51725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EE221-2C8E-4252-8397-B5930FEDF0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12 Month Road Map</a:t>
            </a:r>
            <a:endParaRPr lang="nb-NO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D112992-C072-4975-A8AC-C8040D33626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38235" y="1681278"/>
            <a:ext cx="5040773" cy="4902402"/>
          </a:xfrm>
        </p:spPr>
        <p:txBody>
          <a:bodyPr>
            <a:normAutofit/>
          </a:bodyPr>
          <a:lstStyle/>
          <a:p>
            <a:r>
              <a:rPr lang="en-GB" b="1"/>
              <a:t>Channels</a:t>
            </a:r>
          </a:p>
          <a:p>
            <a:pPr lvl="1"/>
            <a:r>
              <a:rPr lang="en-GB"/>
              <a:t>New Social Media messaging channels</a:t>
            </a:r>
          </a:p>
          <a:p>
            <a:pPr lvl="1"/>
            <a:r>
              <a:rPr lang="en-GB"/>
              <a:t>Updated </a:t>
            </a:r>
            <a:r>
              <a:rPr lang="en-GB" err="1"/>
              <a:t>WebChat</a:t>
            </a:r>
            <a:r>
              <a:rPr lang="en-GB"/>
              <a:t> Channel</a:t>
            </a:r>
          </a:p>
          <a:p>
            <a:pPr lvl="1"/>
            <a:r>
              <a:rPr lang="en-GB"/>
              <a:t>Video as a channel</a:t>
            </a:r>
          </a:p>
          <a:p>
            <a:pPr lvl="1"/>
            <a:r>
              <a:rPr lang="en-GB"/>
              <a:t>Enhanced Co-browsing capabilities</a:t>
            </a:r>
          </a:p>
          <a:p>
            <a:r>
              <a:rPr lang="en-GB" b="1"/>
              <a:t>Agent Application</a:t>
            </a:r>
          </a:p>
          <a:p>
            <a:pPr lvl="1"/>
            <a:r>
              <a:rPr lang="en-GB"/>
              <a:t>Roll out of New Agent App</a:t>
            </a:r>
          </a:p>
          <a:p>
            <a:pPr lvl="1"/>
            <a:r>
              <a:rPr lang="en-GB"/>
              <a:t>CRM integrations in New Agent App</a:t>
            </a:r>
          </a:p>
          <a:p>
            <a:pPr lvl="1"/>
            <a:r>
              <a:rPr lang="en-GB"/>
              <a:t>Skype4B integration in New Agent App</a:t>
            </a:r>
          </a:p>
          <a:p>
            <a:pPr lvl="2"/>
            <a:r>
              <a:rPr lang="en-GB"/>
              <a:t>(support for Teams pending MS API availability)</a:t>
            </a:r>
          </a:p>
          <a:p>
            <a:pPr lvl="1"/>
            <a:r>
              <a:rPr lang="en-GB"/>
              <a:t>Supervisor Dashboard in New Agent App</a:t>
            </a:r>
          </a:p>
          <a:p>
            <a:pPr lvl="1"/>
            <a:r>
              <a:rPr lang="en-GB"/>
              <a:t>Linking channels interactions better </a:t>
            </a:r>
            <a:endParaRPr lang="nb-NO"/>
          </a:p>
          <a:p>
            <a:r>
              <a:rPr lang="en-GB" b="1"/>
              <a:t>Admin Application</a:t>
            </a:r>
          </a:p>
          <a:p>
            <a:pPr lvl="1"/>
            <a:r>
              <a:rPr lang="en-GB"/>
              <a:t>Extended Admin Chat support</a:t>
            </a:r>
          </a:p>
          <a:p>
            <a:pPr lvl="1"/>
            <a:r>
              <a:rPr lang="en-GB"/>
              <a:t>Encryption of </a:t>
            </a:r>
            <a:r>
              <a:rPr lang="en-GB" err="1"/>
              <a:t>WebChat</a:t>
            </a:r>
            <a:r>
              <a:rPr lang="en-GB"/>
              <a:t> logs</a:t>
            </a:r>
          </a:p>
          <a:p>
            <a:pPr lvl="1"/>
            <a:r>
              <a:rPr lang="en-GB"/>
              <a:t>Enhanced Self Service featur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E47338-A020-4BF9-954B-B79D4092C5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/>
              <a:t>2019</a:t>
            </a:r>
            <a:endParaRPr lang="nb-NO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F3E66F80-0D46-49F2-92D7-257F2D59FAE1}"/>
              </a:ext>
            </a:extLst>
          </p:cNvPr>
          <p:cNvSpPr txBox="1">
            <a:spLocks/>
          </p:cNvSpPr>
          <p:nvPr/>
        </p:nvSpPr>
        <p:spPr>
          <a:xfrm>
            <a:off x="5998464" y="1681278"/>
            <a:ext cx="4784741" cy="4544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4150" indent="-1841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charset="0"/>
              <a:buChar char="•"/>
              <a:tabLst/>
              <a:defRPr sz="17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623888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90000"/>
              <a:buFont typeface="Arial" charset="0"/>
              <a:buChar char="•"/>
              <a:tabLst/>
              <a:defRPr sz="15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2pPr>
            <a:lvl3pPr marL="1071563" indent="-1571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3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3pPr>
            <a:lvl4pPr marL="1558925" indent="-1873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2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4pPr>
            <a:lvl5pPr marL="2000250" indent="-1714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1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50" marR="0" lvl="0" indent="-1841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700" b="1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Bots</a:t>
            </a:r>
          </a:p>
          <a:p>
            <a:pPr marL="623888" marR="0" lvl="1" indent="-166688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575D6B"/>
              </a:buClr>
              <a:buSzPct val="9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Agent Assist (powered by AI)</a:t>
            </a:r>
          </a:p>
          <a:p>
            <a:pPr marL="623888" marR="0" lvl="1" indent="-166688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575D6B"/>
              </a:buClr>
              <a:buSzPct val="9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Speech to text / Text to speech</a:t>
            </a:r>
          </a:p>
          <a:p>
            <a:pPr marL="623888" marR="0" lvl="1" indent="-166688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575D6B"/>
              </a:buClr>
              <a:buSzPct val="9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Sentiment analysis</a:t>
            </a:r>
          </a:p>
          <a:p>
            <a:pPr marL="623888" marR="0" lvl="1" indent="-166688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575D6B"/>
              </a:buClr>
              <a:buSzPct val="9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Bot handling of E-mail</a:t>
            </a:r>
          </a:p>
          <a:p>
            <a:pPr marL="184150" marR="0" lvl="0" indent="-1841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700" b="1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Puzzel</a:t>
            </a:r>
            <a:r>
              <a:rPr kumimoji="0" lang="en-GB" sz="1700" b="1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 Pay </a:t>
            </a:r>
          </a:p>
          <a:p>
            <a:pPr marL="623888" marR="0" lvl="1" indent="-166688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575D6B"/>
              </a:buClr>
              <a:buSzPct val="9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Partnership with </a:t>
            </a:r>
            <a:r>
              <a:rPr kumimoji="0" lang="en-GB" sz="1500" b="0" i="0" u="none" strike="noStrike" kern="1200" cap="none" spc="0" normalizeH="0" baseline="0" noProof="0" err="1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PCIPal</a:t>
            </a: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 to extend reach on voice based payments</a:t>
            </a:r>
          </a:p>
          <a:p>
            <a:pPr marL="623888" marR="0" lvl="1" indent="-166688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575D6B"/>
              </a:buClr>
              <a:buSzPct val="9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Further support more payment sources</a:t>
            </a:r>
          </a:p>
          <a:p>
            <a:pPr marL="184150" marR="0" lvl="0" indent="-1841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GB" sz="1700" b="1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Messaging - SMS</a:t>
            </a:r>
          </a:p>
          <a:p>
            <a:pPr marL="623888" marR="0" lvl="1" indent="-166688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575D6B"/>
              </a:buClr>
              <a:buSzPct val="9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SMS Campaign tool</a:t>
            </a:r>
          </a:p>
          <a:p>
            <a:pPr marL="623888" marR="0" lvl="1" indent="-166688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575D6B"/>
              </a:buClr>
              <a:buSzPct val="90000"/>
              <a:buFont typeface="Arial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Enhanced international capabilities</a:t>
            </a:r>
          </a:p>
          <a:p>
            <a:pPr marL="184150" marR="0" lvl="0" indent="-1841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1562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nb-NO" sz="1700" b="1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WFO</a:t>
            </a:r>
          </a:p>
          <a:p>
            <a:pPr marL="623888" marR="0" lvl="1" indent="-166688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575D6B"/>
              </a:buClr>
              <a:buSzPct val="90000"/>
              <a:buFont typeface="Arial" charset="0"/>
              <a:buChar char="•"/>
              <a:tabLst/>
              <a:defRPr/>
            </a:pPr>
            <a:r>
              <a:rPr kumimoji="0" lang="nb-NO" sz="15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charset="0"/>
              </a:rPr>
              <a:t>Upgrade of cloud-based offering</a:t>
            </a:r>
          </a:p>
          <a:p>
            <a:pPr marL="623888" marR="0" lvl="1" indent="-166688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575D6B"/>
              </a:buClr>
              <a:buSzPct val="90000"/>
              <a:buFont typeface="Arial" charset="0"/>
              <a:buChar char="•"/>
              <a:tabLst/>
              <a:defRPr/>
            </a:pPr>
            <a:endParaRPr kumimoji="0" lang="nb-NO" sz="1500" b="0" i="0" u="none" strike="noStrike" kern="120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BCB4AB-13A7-447D-9983-1F5CC07B8E93}"/>
              </a:ext>
            </a:extLst>
          </p:cNvPr>
          <p:cNvSpPr txBox="1"/>
          <p:nvPr/>
        </p:nvSpPr>
        <p:spPr>
          <a:xfrm>
            <a:off x="7982041" y="152076"/>
            <a:ext cx="4099123" cy="132610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0000" tIns="46800" rIns="90000" bIns="46800" numCol="1" spcCol="38100" rtlCol="0" anchor="t">
            <a:no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i="1">
                <a:ln w="0"/>
                <a:solidFill>
                  <a:srgbClr val="EB156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 Rounded MT Bold" panose="020F0704030504030204" pitchFamily="34" charset="0"/>
              </a:rPr>
              <a:t>!</a:t>
            </a:r>
            <a:r>
              <a:rPr kumimoji="0" lang="en-US" sz="2000" b="1" i="1" u="none" strike="noStrike" kern="1200" cap="none" spc="0" normalizeH="0" baseline="0" noProof="0">
                <a:ln w="6600">
                  <a:solidFill>
                    <a:srgbClr val="5872F0"/>
                  </a:solidFill>
                  <a:prstDash val="solid"/>
                </a:ln>
                <a:solidFill>
                  <a:srgbClr val="515665"/>
                </a:solidFill>
                <a:effectLst>
                  <a:outerShdw dist="38100" dir="2700000" algn="tl" rotWithShape="0">
                    <a:srgbClr val="5872F0"/>
                  </a:outerShdw>
                </a:effectLst>
                <a:uLnTx/>
                <a:uFillTx/>
                <a:latin typeface="Franklin Gothic Book" panose="020B0503020102020204"/>
                <a:ea typeface="+mn-ea"/>
                <a:cs typeface="+mn-cs"/>
              </a:rPr>
              <a:t> </a:t>
            </a: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The Roadmap is preliminary and features in this 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ocument are merely planned features for coming releases.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uzzel reserves the right to postpone the launch of any 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feature described in this document.</a:t>
            </a:r>
            <a:endParaRPr kumimoji="0" lang="nb-NO" sz="1200" b="0" i="1" u="none" strike="noStrike" kern="1200" cap="none" spc="0" normalizeH="0" baseline="0" noProof="0" err="1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161383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17050FE-0DB6-B048-A629-96E3182E7B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17050FE-0DB6-B048-A629-96E3182E7B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25019684-536A-C044-9D2D-1509190627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Rounded MT Bold" panose="020F0704030504030204" pitchFamily="34" charset="77"/>
              <a:ea typeface="+mn-ea"/>
              <a:cs typeface="+mn-cs"/>
              <a:sym typeface="Arial Rounded MT Bold" panose="020F0704030504030204" pitchFamily="34" charset="77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8D1D78-732A-4351-8AE2-6EE2DA2F0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/>
              <a:t>Operational Roadmap</a:t>
            </a:r>
            <a:endParaRPr lang="nb-NO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568BA5-55CF-4DF1-9EDF-54C8072D682D}"/>
              </a:ext>
            </a:extLst>
          </p:cNvPr>
          <p:cNvCxnSpPr>
            <a:cxnSpLocks/>
            <a:endCxn id="5" idx="2"/>
          </p:cNvCxnSpPr>
          <p:nvPr/>
        </p:nvCxnSpPr>
        <p:spPr>
          <a:xfrm>
            <a:off x="131064" y="1066800"/>
            <a:ext cx="10435335" cy="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DB39491-3BEF-4CA4-9F1F-9E1A6DA469B9}"/>
              </a:ext>
            </a:extLst>
          </p:cNvPr>
          <p:cNvCxnSpPr>
            <a:cxnSpLocks/>
            <a:endCxn id="5" idx="2"/>
          </p:cNvCxnSpPr>
          <p:nvPr/>
        </p:nvCxnSpPr>
        <p:spPr>
          <a:xfrm flipH="1" flipV="1">
            <a:off x="10566399" y="1066802"/>
            <a:ext cx="2" cy="55498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B434D62-C22F-4B60-9D38-92155A915483}"/>
              </a:ext>
            </a:extLst>
          </p:cNvPr>
          <p:cNvCxnSpPr>
            <a:cxnSpLocks/>
          </p:cNvCxnSpPr>
          <p:nvPr/>
        </p:nvCxnSpPr>
        <p:spPr>
          <a:xfrm flipH="1">
            <a:off x="2525342" y="1066800"/>
            <a:ext cx="20763" cy="55499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tar: 5 Points 32">
            <a:extLst>
              <a:ext uri="{FF2B5EF4-FFF2-40B4-BE49-F238E27FC236}">
                <a16:creationId xmlns:a16="http://schemas.microsoft.com/office/drawing/2014/main" id="{D642FCBF-C41F-4C8B-98B0-835390705354}"/>
              </a:ext>
            </a:extLst>
          </p:cNvPr>
          <p:cNvSpPr/>
          <p:nvPr/>
        </p:nvSpPr>
        <p:spPr>
          <a:xfrm>
            <a:off x="10967306" y="3091398"/>
            <a:ext cx="1150791" cy="1126373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034DA81-7F6A-44DF-BD8A-632E9BC14673}"/>
              </a:ext>
            </a:extLst>
          </p:cNvPr>
          <p:cNvSpPr txBox="1"/>
          <p:nvPr/>
        </p:nvSpPr>
        <p:spPr>
          <a:xfrm>
            <a:off x="867898" y="725843"/>
            <a:ext cx="914400" cy="42025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Q1 - 19</a:t>
            </a:r>
            <a:endParaRPr kumimoji="0" lang="nb-NO" sz="1800" b="0" i="0" u="none" strike="noStrike" kern="1200" cap="none" spc="0" normalizeH="0" baseline="0" noProof="0" err="1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5F3AB6A-E0B9-45C1-A077-F1F46F4A334C}"/>
              </a:ext>
            </a:extLst>
          </p:cNvPr>
          <p:cNvSpPr txBox="1"/>
          <p:nvPr/>
        </p:nvSpPr>
        <p:spPr>
          <a:xfrm>
            <a:off x="3454353" y="705437"/>
            <a:ext cx="914400" cy="42025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Q2 - 19</a:t>
            </a:r>
            <a:endParaRPr kumimoji="0" lang="nb-NO" sz="1800" b="0" i="0" u="none" strike="noStrike" kern="1200" cap="none" spc="0" normalizeH="0" baseline="0" noProof="0" err="1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B9EEEA5-BC3C-40F4-A3BE-126F5702CB4A}"/>
              </a:ext>
            </a:extLst>
          </p:cNvPr>
          <p:cNvSpPr txBox="1"/>
          <p:nvPr/>
        </p:nvSpPr>
        <p:spPr>
          <a:xfrm>
            <a:off x="6087998" y="680037"/>
            <a:ext cx="914400" cy="42025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Q3 - 19</a:t>
            </a:r>
            <a:endParaRPr kumimoji="0" lang="nb-NO" sz="1800" b="0" i="0" u="none" strike="noStrike" kern="1200" cap="none" spc="0" normalizeH="0" baseline="0" noProof="0" err="1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451C569-2D40-4A85-AD9B-0903533FFE3C}"/>
              </a:ext>
            </a:extLst>
          </p:cNvPr>
          <p:cNvSpPr txBox="1"/>
          <p:nvPr/>
        </p:nvSpPr>
        <p:spPr>
          <a:xfrm>
            <a:off x="8563401" y="673132"/>
            <a:ext cx="914400" cy="42025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15665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Q4 - 19</a:t>
            </a:r>
            <a:endParaRPr kumimoji="0" lang="nb-NO" sz="1800" b="0" i="0" u="none" strike="noStrike" kern="1200" cap="none" spc="0" normalizeH="0" baseline="0" noProof="0" err="1">
              <a:ln>
                <a:noFill/>
              </a:ln>
              <a:solidFill>
                <a:srgbClr val="515665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BFA7EA73-2546-49E9-AA8C-975826084D04}"/>
              </a:ext>
            </a:extLst>
          </p:cNvPr>
          <p:cNvSpPr/>
          <p:nvPr/>
        </p:nvSpPr>
        <p:spPr>
          <a:xfrm>
            <a:off x="3216885" y="2214797"/>
            <a:ext cx="1389336" cy="9090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Migration of customers to second platform container 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3968DBDD-5569-4C87-87FF-B667952C958D}"/>
              </a:ext>
            </a:extLst>
          </p:cNvPr>
          <p:cNvSpPr/>
          <p:nvPr/>
        </p:nvSpPr>
        <p:spPr>
          <a:xfrm>
            <a:off x="611348" y="1181167"/>
            <a:ext cx="1427501" cy="909085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oduct Relea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Januar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erformance &amp; Capacity upgrades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2EC647E9-31EE-4E79-8234-F9F8B124ECEE}"/>
              </a:ext>
            </a:extLst>
          </p:cNvPr>
          <p:cNvSpPr/>
          <p:nvPr/>
        </p:nvSpPr>
        <p:spPr>
          <a:xfrm>
            <a:off x="611348" y="3271906"/>
            <a:ext cx="1427501" cy="909085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Next Generation Voice Migration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49A22E98-21A9-4EDA-B57D-9852F561945C}"/>
              </a:ext>
            </a:extLst>
          </p:cNvPr>
          <p:cNvCxnSpPr>
            <a:cxnSpLocks/>
          </p:cNvCxnSpPr>
          <p:nvPr/>
        </p:nvCxnSpPr>
        <p:spPr>
          <a:xfrm flipH="1">
            <a:off x="5137189" y="1016000"/>
            <a:ext cx="20763" cy="55499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E8341CDA-643E-4A0D-A771-4577BE2F9ACE}"/>
              </a:ext>
            </a:extLst>
          </p:cNvPr>
          <p:cNvCxnSpPr>
            <a:cxnSpLocks/>
          </p:cNvCxnSpPr>
          <p:nvPr/>
        </p:nvCxnSpPr>
        <p:spPr>
          <a:xfrm flipH="1">
            <a:off x="7838983" y="1007875"/>
            <a:ext cx="20763" cy="55499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1B915655-A23E-4EB9-BCF3-A207E8E2F8B6}"/>
              </a:ext>
            </a:extLst>
          </p:cNvPr>
          <p:cNvSpPr/>
          <p:nvPr/>
        </p:nvSpPr>
        <p:spPr>
          <a:xfrm rot="5400000">
            <a:off x="7999041" y="3634160"/>
            <a:ext cx="5535622" cy="400906"/>
          </a:xfrm>
          <a:prstGeom prst="triangle">
            <a:avLst>
              <a:gd name="adj" fmla="val 4950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3AEEBA7C-A1C3-4A7A-A579-255567E6C989}"/>
              </a:ext>
            </a:extLst>
          </p:cNvPr>
          <p:cNvSpPr/>
          <p:nvPr/>
        </p:nvSpPr>
        <p:spPr>
          <a:xfrm>
            <a:off x="3216885" y="1181166"/>
            <a:ext cx="1389336" cy="90908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oduct Relea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April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eparations for Platform Expansion (Split)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93D051F7-A0D4-4D6D-895E-6AEDE527751F}"/>
              </a:ext>
            </a:extLst>
          </p:cNvPr>
          <p:cNvSpPr/>
          <p:nvPr/>
        </p:nvSpPr>
        <p:spPr>
          <a:xfrm>
            <a:off x="5850530" y="1181166"/>
            <a:ext cx="1389336" cy="90908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oduct Relea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Ju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Functionality &amp; Optimizations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934415D2-65A6-438E-BC62-57E31C827254}"/>
              </a:ext>
            </a:extLst>
          </p:cNvPr>
          <p:cNvSpPr/>
          <p:nvPr/>
        </p:nvSpPr>
        <p:spPr>
          <a:xfrm>
            <a:off x="8325933" y="1181166"/>
            <a:ext cx="1389336" cy="90908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oduct Relea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Octob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Functionality &amp; Optimizations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D3E910D9-8FD3-4626-A187-47D309E37C9C}"/>
              </a:ext>
            </a:extLst>
          </p:cNvPr>
          <p:cNvSpPr/>
          <p:nvPr/>
        </p:nvSpPr>
        <p:spPr>
          <a:xfrm>
            <a:off x="5850530" y="2214797"/>
            <a:ext cx="1389336" cy="9090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Migration of customers to second platform container 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E9538C18-E619-4F1F-B475-C46C66A6A70B}"/>
              </a:ext>
            </a:extLst>
          </p:cNvPr>
          <p:cNvSpPr/>
          <p:nvPr/>
        </p:nvSpPr>
        <p:spPr>
          <a:xfrm>
            <a:off x="630430" y="2214797"/>
            <a:ext cx="1389336" cy="90908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eparations for splitting the platform into containers preparations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43A7FC22-D050-41A5-92CD-46F8F495AB23}"/>
              </a:ext>
            </a:extLst>
          </p:cNvPr>
          <p:cNvSpPr/>
          <p:nvPr/>
        </p:nvSpPr>
        <p:spPr>
          <a:xfrm>
            <a:off x="3197803" y="3271906"/>
            <a:ext cx="1427501" cy="909085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Next Generation Voice Migration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16C4FCFF-AD42-4471-8994-43E9F4A2891B}"/>
              </a:ext>
            </a:extLst>
          </p:cNvPr>
          <p:cNvSpPr/>
          <p:nvPr/>
        </p:nvSpPr>
        <p:spPr>
          <a:xfrm>
            <a:off x="5831448" y="3271906"/>
            <a:ext cx="1427501" cy="909085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Next Generation Voice Migration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8CE70A32-172C-44ED-B859-25C998C0E9AC}"/>
              </a:ext>
            </a:extLst>
          </p:cNvPr>
          <p:cNvSpPr/>
          <p:nvPr/>
        </p:nvSpPr>
        <p:spPr>
          <a:xfrm>
            <a:off x="8306851" y="3271906"/>
            <a:ext cx="1427501" cy="909085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Next Generation Voice Migration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C265663D-5457-4422-BF19-DF1EA598583D}"/>
              </a:ext>
            </a:extLst>
          </p:cNvPr>
          <p:cNvSpPr/>
          <p:nvPr/>
        </p:nvSpPr>
        <p:spPr>
          <a:xfrm>
            <a:off x="5850530" y="4306839"/>
            <a:ext cx="1389336" cy="909085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loud Voice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ADA74CD0-A79D-48B9-B031-670AFB1F5858}"/>
              </a:ext>
            </a:extLst>
          </p:cNvPr>
          <p:cNvSpPr/>
          <p:nvPr/>
        </p:nvSpPr>
        <p:spPr>
          <a:xfrm>
            <a:off x="580896" y="5477479"/>
            <a:ext cx="9471132" cy="700484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Routine Operational Improvements and Maintenance; Capacity increases, Patching, Failover testing, Infrastructure upgrades, Security patching, Bug fixing etc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This falls within the definition of Normal Maintenance. 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2740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4C2885BD-92A0-40E8-8B75-9EE0742B88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248" y="800100"/>
            <a:ext cx="10807373" cy="1406525"/>
          </a:xfrm>
        </p:spPr>
        <p:txBody>
          <a:bodyPr>
            <a:normAutofit/>
          </a:bodyPr>
          <a:lstStyle/>
          <a:p>
            <a:r>
              <a:rPr lang="en-GB" sz="4400">
                <a:solidFill>
                  <a:schemeClr val="accent1"/>
                </a:solidFill>
              </a:rPr>
              <a:t>Presentation title</a:t>
            </a:r>
            <a:endParaRPr lang="en-GB" sz="3600">
              <a:solidFill>
                <a:schemeClr val="accent1"/>
              </a:solidFill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7DEA9CFD-558C-41C2-9F3C-A6704DB7FC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248" y="5934075"/>
            <a:ext cx="2743894" cy="61912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841C48A-A4EC-3D47-87FD-5833CF3F90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0606" y="1865486"/>
            <a:ext cx="10611394" cy="499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011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520861" y="1938573"/>
            <a:ext cx="5889625" cy="3223736"/>
          </a:xfrm>
        </p:spPr>
        <p:txBody>
          <a:bodyPr>
            <a:normAutofit fontScale="90000"/>
          </a:bodyPr>
          <a:lstStyle/>
          <a:p>
            <a:r>
              <a:rPr lang="en-GB" sz="19900" spc="600">
                <a:solidFill>
                  <a:schemeClr val="tx1"/>
                </a:solidFill>
              </a:rPr>
              <a:t>New</a:t>
            </a:r>
            <a:r>
              <a:rPr lang="en-GB" sz="9600"/>
              <a:t> </a:t>
            </a:r>
            <a:br>
              <a:rPr lang="en-GB" sz="9600"/>
            </a:br>
            <a:r>
              <a:rPr lang="en-GB" sz="5000"/>
              <a:t>Agent Appli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DE766C-5B11-B14E-BE2B-18B68026A7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972" y="671364"/>
            <a:ext cx="6487635" cy="5282501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CA703AC-8AB2-B54A-9BE8-9295D7E6964B}"/>
              </a:ext>
            </a:extLst>
          </p:cNvPr>
          <p:cNvSpPr txBox="1">
            <a:spLocks/>
          </p:cNvSpPr>
          <p:nvPr/>
        </p:nvSpPr>
        <p:spPr>
          <a:xfrm>
            <a:off x="520861" y="5650047"/>
            <a:ext cx="5080000" cy="406715"/>
          </a:xfrm>
          <a:prstGeom prst="rect">
            <a:avLst/>
          </a:prstGeom>
        </p:spPr>
        <p:txBody>
          <a:bodyPr anchor="t"/>
          <a:lstStyle>
            <a:lvl1pPr marL="184150" indent="-1841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charset="0"/>
              <a:buChar char="•"/>
              <a:tabLst/>
              <a:defRPr sz="17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623888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90000"/>
              <a:buFont typeface="Arial" charset="0"/>
              <a:buChar char="•"/>
              <a:tabLst/>
              <a:defRPr sz="15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2pPr>
            <a:lvl3pPr marL="1071563" indent="-1571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3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3pPr>
            <a:lvl4pPr marL="1558925" indent="-1873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2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4pPr>
            <a:lvl5pPr marL="2000250" indent="-1714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1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1562"/>
              </a:buClr>
              <a:buSzPct val="100000"/>
              <a:buFont typeface="Arial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15665">
                    <a:lumMod val="60000"/>
                    <a:lumOff val="40000"/>
                  </a:srgbClr>
                </a:solidFill>
                <a:effectLst/>
                <a:uLnTx/>
                <a:uFillTx/>
                <a:latin typeface="Franklin Gothic Book" charset="0"/>
              </a:rPr>
              <a:t>Presenter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61C29D3-526E-3945-BCFB-8630A3C2DF51}"/>
              </a:ext>
            </a:extLst>
          </p:cNvPr>
          <p:cNvSpPr txBox="1">
            <a:spLocks/>
          </p:cNvSpPr>
          <p:nvPr/>
        </p:nvSpPr>
        <p:spPr>
          <a:xfrm>
            <a:off x="520861" y="6056762"/>
            <a:ext cx="5080000" cy="406715"/>
          </a:xfrm>
          <a:prstGeom prst="rect">
            <a:avLst/>
          </a:prstGeom>
        </p:spPr>
        <p:txBody>
          <a:bodyPr anchor="t"/>
          <a:lstStyle>
            <a:lvl1pPr marL="184150" indent="-1841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charset="0"/>
              <a:buChar char="•"/>
              <a:tabLst/>
              <a:defRPr sz="17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623888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90000"/>
              <a:buFont typeface="Arial" charset="0"/>
              <a:buChar char="•"/>
              <a:tabLst/>
              <a:defRPr sz="15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2pPr>
            <a:lvl3pPr marL="1071563" indent="-1571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3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3pPr>
            <a:lvl4pPr marL="1558925" indent="-1873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2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4pPr>
            <a:lvl5pPr marL="2000250" indent="-1714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1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1562"/>
              </a:buClr>
              <a:buSzPct val="100000"/>
              <a:buFont typeface="Arial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15665">
                    <a:lumMod val="40000"/>
                    <a:lumOff val="60000"/>
                  </a:srgbClr>
                </a:solidFill>
                <a:effectLst/>
                <a:uLnTx/>
                <a:uFillTx/>
                <a:latin typeface="Franklin Gothic Book" charset="0"/>
              </a:rPr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011545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520861" y="1824020"/>
            <a:ext cx="5889625" cy="3223736"/>
          </a:xfrm>
        </p:spPr>
        <p:txBody>
          <a:bodyPr>
            <a:normAutofit/>
          </a:bodyPr>
          <a:lstStyle/>
          <a:p>
            <a:r>
              <a:rPr lang="en-GB" sz="14000" spc="600">
                <a:solidFill>
                  <a:schemeClr val="tx1"/>
                </a:solidFill>
              </a:rPr>
              <a:t>New</a:t>
            </a:r>
            <a:r>
              <a:rPr lang="en-GB" sz="9600"/>
              <a:t> </a:t>
            </a:r>
            <a:br>
              <a:rPr lang="en-GB" sz="9600"/>
            </a:br>
            <a:r>
              <a:rPr lang="en-GB" sz="3500"/>
              <a:t>Agent Applicatio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CA703AC-8AB2-B54A-9BE8-9295D7E6964B}"/>
              </a:ext>
            </a:extLst>
          </p:cNvPr>
          <p:cNvSpPr txBox="1">
            <a:spLocks/>
          </p:cNvSpPr>
          <p:nvPr/>
        </p:nvSpPr>
        <p:spPr>
          <a:xfrm>
            <a:off x="520861" y="5650047"/>
            <a:ext cx="5080000" cy="406715"/>
          </a:xfrm>
          <a:prstGeom prst="rect">
            <a:avLst/>
          </a:prstGeom>
        </p:spPr>
        <p:txBody>
          <a:bodyPr anchor="t"/>
          <a:lstStyle>
            <a:lvl1pPr marL="184150" indent="-1841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charset="0"/>
              <a:buChar char="•"/>
              <a:tabLst/>
              <a:defRPr sz="17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623888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90000"/>
              <a:buFont typeface="Arial" charset="0"/>
              <a:buChar char="•"/>
              <a:tabLst/>
              <a:defRPr sz="15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2pPr>
            <a:lvl3pPr marL="1071563" indent="-1571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3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3pPr>
            <a:lvl4pPr marL="1558925" indent="-1873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2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4pPr>
            <a:lvl5pPr marL="2000250" indent="-1714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1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1562"/>
              </a:buClr>
              <a:buSzPct val="100000"/>
              <a:buFont typeface="Arial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15665">
                    <a:lumMod val="60000"/>
                    <a:lumOff val="40000"/>
                  </a:srgbClr>
                </a:solidFill>
                <a:effectLst/>
                <a:uLnTx/>
                <a:uFillTx/>
                <a:latin typeface="Franklin Gothic Book" charset="0"/>
              </a:rPr>
              <a:t>Presenter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61C29D3-526E-3945-BCFB-8630A3C2DF51}"/>
              </a:ext>
            </a:extLst>
          </p:cNvPr>
          <p:cNvSpPr txBox="1">
            <a:spLocks/>
          </p:cNvSpPr>
          <p:nvPr/>
        </p:nvSpPr>
        <p:spPr>
          <a:xfrm>
            <a:off x="520861" y="6056762"/>
            <a:ext cx="5080000" cy="406715"/>
          </a:xfrm>
          <a:prstGeom prst="rect">
            <a:avLst/>
          </a:prstGeom>
        </p:spPr>
        <p:txBody>
          <a:bodyPr anchor="t"/>
          <a:lstStyle>
            <a:lvl1pPr marL="184150" indent="-1841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charset="0"/>
              <a:buChar char="•"/>
              <a:tabLst/>
              <a:defRPr sz="17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623888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90000"/>
              <a:buFont typeface="Arial" charset="0"/>
              <a:buChar char="•"/>
              <a:tabLst/>
              <a:defRPr sz="15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2pPr>
            <a:lvl3pPr marL="1071563" indent="-1571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3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3pPr>
            <a:lvl4pPr marL="1558925" indent="-1873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2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4pPr>
            <a:lvl5pPr marL="2000250" indent="-1714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575D6B"/>
              </a:buClr>
              <a:buSzPct val="110000"/>
              <a:buFont typeface="AppleSymbols" charset="0"/>
              <a:buChar char="⎻"/>
              <a:tabLst/>
              <a:defRPr sz="1100" b="0" kern="1200" baseline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1562"/>
              </a:buClr>
              <a:buSzPct val="100000"/>
              <a:buFont typeface="Arial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15665">
                    <a:lumMod val="40000"/>
                    <a:lumOff val="60000"/>
                  </a:srgbClr>
                </a:solidFill>
                <a:effectLst/>
                <a:uLnTx/>
                <a:uFillTx/>
                <a:latin typeface="Franklin Gothic Book" charset="0"/>
              </a:rPr>
              <a:t>Date</a:t>
            </a:r>
          </a:p>
        </p:txBody>
      </p:sp>
      <p:pic>
        <p:nvPicPr>
          <p:cNvPr id="5" name="Picture 4" descr="A screen shot of a computer&#10;&#10;Description automatically generated">
            <a:extLst>
              <a:ext uri="{FF2B5EF4-FFF2-40B4-BE49-F238E27FC236}">
                <a16:creationId xmlns:a16="http://schemas.microsoft.com/office/drawing/2014/main" id="{67A928AD-D741-4649-9371-20CFF40FF9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0335" y="897737"/>
            <a:ext cx="6350000" cy="5194300"/>
          </a:xfrm>
          <a:prstGeom prst="rect">
            <a:avLst/>
          </a:prstGeom>
        </p:spPr>
      </p:pic>
      <p:pic>
        <p:nvPicPr>
          <p:cNvPr id="8" name="Picture 7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61AA724B-520D-F64B-800C-BB7F60F86FF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26" t="-8670" r="426" b="24754"/>
          <a:stretch/>
        </p:blipFill>
        <p:spPr>
          <a:xfrm>
            <a:off x="5600861" y="887319"/>
            <a:ext cx="5608947" cy="3528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4240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k8eacnSpmFLWaGWrIk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k8eacnSpmFLWaGWrIk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fOp9ETrOTXpLo7hdB6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2qQUAJ4y8bCn_TY_9C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4vfoHhbcJW_oKZaTaY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chV9BOQZ6E8r2Rd02t1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kW0_sySLSsyoB.0YQt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k8eacnSpmFLWaGWrIk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s and Section Headings">
  <a:themeElements>
    <a:clrScheme name="Puzzel Colours v12">
      <a:dk1>
        <a:srgbClr val="515665"/>
      </a:dk1>
      <a:lt1>
        <a:srgbClr val="FFFFFF"/>
      </a:lt1>
      <a:dk2>
        <a:srgbClr val="EB1562"/>
      </a:dk2>
      <a:lt2>
        <a:srgbClr val="E7E6E6"/>
      </a:lt2>
      <a:accent1>
        <a:srgbClr val="EB1562"/>
      </a:accent1>
      <a:accent2>
        <a:srgbClr val="5872F0"/>
      </a:accent2>
      <a:accent3>
        <a:srgbClr val="34C0BC"/>
      </a:accent3>
      <a:accent4>
        <a:srgbClr val="FF9900"/>
      </a:accent4>
      <a:accent5>
        <a:srgbClr val="B442D6"/>
      </a:accent5>
      <a:accent6>
        <a:srgbClr val="67C63B"/>
      </a:accent6>
      <a:hlink>
        <a:srgbClr val="67C63B"/>
      </a:hlink>
      <a:folHlink>
        <a:srgbClr val="67C63B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uzzel theme" id="{8FF99C2B-BFA4-6944-9D9F-920B2606B9E8}" vid="{C4DEBFD9-4854-D74D-A6A1-AE906307815E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uzzel Theme">
  <a:themeElements>
    <a:clrScheme name="Puzzel Colours v12">
      <a:dk1>
        <a:srgbClr val="515665"/>
      </a:dk1>
      <a:lt1>
        <a:srgbClr val="FFFFFF"/>
      </a:lt1>
      <a:dk2>
        <a:srgbClr val="EB1562"/>
      </a:dk2>
      <a:lt2>
        <a:srgbClr val="E7E6E6"/>
      </a:lt2>
      <a:accent1>
        <a:srgbClr val="EB1562"/>
      </a:accent1>
      <a:accent2>
        <a:srgbClr val="5872F0"/>
      </a:accent2>
      <a:accent3>
        <a:srgbClr val="34C0BC"/>
      </a:accent3>
      <a:accent4>
        <a:srgbClr val="FF9900"/>
      </a:accent4>
      <a:accent5>
        <a:srgbClr val="B442D6"/>
      </a:accent5>
      <a:accent6>
        <a:srgbClr val="67C63B"/>
      </a:accent6>
      <a:hlink>
        <a:srgbClr val="67C63B"/>
      </a:hlink>
      <a:folHlink>
        <a:srgbClr val="67C63B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norm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uzzel theme" id="{8FF99C2B-BFA4-6944-9D9F-920B2606B9E8}" vid="{AFF92942-CE37-C44E-A7CD-E2C2E3BE7C97}"/>
    </a:ext>
  </a:extLst>
</a:theme>
</file>

<file path=ppt/theme/theme3.xml><?xml version="1.0" encoding="utf-8"?>
<a:theme xmlns:a="http://schemas.openxmlformats.org/drawingml/2006/main" name="1_Puzzel Theme">
  <a:themeElements>
    <a:clrScheme name="Puzzel Colours v12">
      <a:dk1>
        <a:srgbClr val="515665"/>
      </a:dk1>
      <a:lt1>
        <a:srgbClr val="FFFFFF"/>
      </a:lt1>
      <a:dk2>
        <a:srgbClr val="EB1562"/>
      </a:dk2>
      <a:lt2>
        <a:srgbClr val="E7E6E6"/>
      </a:lt2>
      <a:accent1>
        <a:srgbClr val="EB1562"/>
      </a:accent1>
      <a:accent2>
        <a:srgbClr val="5872F0"/>
      </a:accent2>
      <a:accent3>
        <a:srgbClr val="34C0BC"/>
      </a:accent3>
      <a:accent4>
        <a:srgbClr val="FF9900"/>
      </a:accent4>
      <a:accent5>
        <a:srgbClr val="B442D6"/>
      </a:accent5>
      <a:accent6>
        <a:srgbClr val="67C63B"/>
      </a:accent6>
      <a:hlink>
        <a:srgbClr val="67C63B"/>
      </a:hlink>
      <a:folHlink>
        <a:srgbClr val="67C63B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norm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EE24300E-0AE0-4321-80CB-7215B63B228A}" vid="{BAFDC520-ADBD-4244-A787-7CCD2E927C77}"/>
    </a:ext>
  </a:extLst>
</a:theme>
</file>

<file path=ppt/theme/theme4.xml><?xml version="1.0" encoding="utf-8"?>
<a:theme xmlns:a="http://schemas.openxmlformats.org/drawingml/2006/main" name="1_Covers and Section Headings">
  <a:themeElements>
    <a:clrScheme name="Puzzel Colours v12">
      <a:dk1>
        <a:srgbClr val="515665"/>
      </a:dk1>
      <a:lt1>
        <a:srgbClr val="FFFFFF"/>
      </a:lt1>
      <a:dk2>
        <a:srgbClr val="EB1562"/>
      </a:dk2>
      <a:lt2>
        <a:srgbClr val="E7E6E6"/>
      </a:lt2>
      <a:accent1>
        <a:srgbClr val="EB1562"/>
      </a:accent1>
      <a:accent2>
        <a:srgbClr val="5872F0"/>
      </a:accent2>
      <a:accent3>
        <a:srgbClr val="34C0BC"/>
      </a:accent3>
      <a:accent4>
        <a:srgbClr val="FF9900"/>
      </a:accent4>
      <a:accent5>
        <a:srgbClr val="B442D6"/>
      </a:accent5>
      <a:accent6>
        <a:srgbClr val="67C63B"/>
      </a:accent6>
      <a:hlink>
        <a:srgbClr val="67C63B"/>
      </a:hlink>
      <a:folHlink>
        <a:srgbClr val="67C63B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EE24300E-0AE0-4321-80CB-7215B63B228A}" vid="{B63C9042-2CA4-4274-8B01-ED6061322AB0}"/>
    </a:ext>
  </a:extLst>
</a:theme>
</file>

<file path=ppt/theme/theme5.xml><?xml version="1.0" encoding="utf-8"?>
<a:theme xmlns:a="http://schemas.openxmlformats.org/drawingml/2006/main" name="2_Puzzel Theme">
  <a:themeElements>
    <a:clrScheme name="Puzzel Colours v12">
      <a:dk1>
        <a:srgbClr val="515665"/>
      </a:dk1>
      <a:lt1>
        <a:srgbClr val="FFFFFF"/>
      </a:lt1>
      <a:dk2>
        <a:srgbClr val="EB1562"/>
      </a:dk2>
      <a:lt2>
        <a:srgbClr val="E7E6E6"/>
      </a:lt2>
      <a:accent1>
        <a:srgbClr val="EB1562"/>
      </a:accent1>
      <a:accent2>
        <a:srgbClr val="5872F0"/>
      </a:accent2>
      <a:accent3>
        <a:srgbClr val="34C0BC"/>
      </a:accent3>
      <a:accent4>
        <a:srgbClr val="FF9900"/>
      </a:accent4>
      <a:accent5>
        <a:srgbClr val="B442D6"/>
      </a:accent5>
      <a:accent6>
        <a:srgbClr val="67C63B"/>
      </a:accent6>
      <a:hlink>
        <a:srgbClr val="67C63B"/>
      </a:hlink>
      <a:folHlink>
        <a:srgbClr val="67C63B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norm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4B634C8-745B-CD40-AB90-5E66F8419455}" vid="{CB322CEB-4C42-6D4B-881F-622EF2F1C891}"/>
    </a:ext>
  </a:extLst>
</a:theme>
</file>

<file path=ppt/theme/theme6.xml><?xml version="1.0" encoding="utf-8"?>
<a:theme xmlns:a="http://schemas.openxmlformats.org/drawingml/2006/main" name="3_Puzzel Theme">
  <a:themeElements>
    <a:clrScheme name="Puzzel Colours v12">
      <a:dk1>
        <a:srgbClr val="515665"/>
      </a:dk1>
      <a:lt1>
        <a:srgbClr val="FFFFFF"/>
      </a:lt1>
      <a:dk2>
        <a:srgbClr val="EB1562"/>
      </a:dk2>
      <a:lt2>
        <a:srgbClr val="E7E6E6"/>
      </a:lt2>
      <a:accent1>
        <a:srgbClr val="EB1562"/>
      </a:accent1>
      <a:accent2>
        <a:srgbClr val="5872F0"/>
      </a:accent2>
      <a:accent3>
        <a:srgbClr val="34C0BC"/>
      </a:accent3>
      <a:accent4>
        <a:srgbClr val="FF9900"/>
      </a:accent4>
      <a:accent5>
        <a:srgbClr val="B442D6"/>
      </a:accent5>
      <a:accent6>
        <a:srgbClr val="67C63B"/>
      </a:accent6>
      <a:hlink>
        <a:srgbClr val="67C63B"/>
      </a:hlink>
      <a:folHlink>
        <a:srgbClr val="67C63B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norm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EE24300E-0AE0-4321-80CB-7215B63B228A}" vid="{BAFDC520-ADBD-4244-A787-7CCD2E927C77}"/>
    </a:ext>
  </a:extLst>
</a:theme>
</file>

<file path=ppt/theme/theme7.xml><?xml version="1.0" encoding="utf-8"?>
<a:theme xmlns:a="http://schemas.openxmlformats.org/drawingml/2006/main" name="4_Puzzel Theme">
  <a:themeElements>
    <a:clrScheme name="Puzzel Colours v12">
      <a:dk1>
        <a:srgbClr val="515665"/>
      </a:dk1>
      <a:lt1>
        <a:srgbClr val="FFFFFF"/>
      </a:lt1>
      <a:dk2>
        <a:srgbClr val="EB1562"/>
      </a:dk2>
      <a:lt2>
        <a:srgbClr val="E7E6E6"/>
      </a:lt2>
      <a:accent1>
        <a:srgbClr val="EB1562"/>
      </a:accent1>
      <a:accent2>
        <a:srgbClr val="5872F0"/>
      </a:accent2>
      <a:accent3>
        <a:srgbClr val="34C0BC"/>
      </a:accent3>
      <a:accent4>
        <a:srgbClr val="FF9900"/>
      </a:accent4>
      <a:accent5>
        <a:srgbClr val="B442D6"/>
      </a:accent5>
      <a:accent6>
        <a:srgbClr val="67C63B"/>
      </a:accent6>
      <a:hlink>
        <a:srgbClr val="67C63B"/>
      </a:hlink>
      <a:folHlink>
        <a:srgbClr val="67C63B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norm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EE24300E-0AE0-4321-80CB-7215B63B228A}" vid="{BAFDC520-ADBD-4244-A787-7CCD2E927C77}"/>
    </a:ext>
  </a:extLst>
</a:theme>
</file>

<file path=ppt/theme/theme8.xml><?xml version="1.0" encoding="utf-8"?>
<a:theme xmlns:a="http://schemas.openxmlformats.org/drawingml/2006/main" name="5_Puzzel Theme">
  <a:themeElements>
    <a:clrScheme name="Puzzel v11">
      <a:dk1>
        <a:srgbClr val="575C6B"/>
      </a:dk1>
      <a:lt1>
        <a:srgbClr val="FFFFFF"/>
      </a:lt1>
      <a:dk2>
        <a:srgbClr val="EB2E63"/>
      </a:dk2>
      <a:lt2>
        <a:srgbClr val="E7E6E6"/>
      </a:lt2>
      <a:accent1>
        <a:srgbClr val="EB2E63"/>
      </a:accent1>
      <a:accent2>
        <a:srgbClr val="597AEF"/>
      </a:accent2>
      <a:accent3>
        <a:srgbClr val="40D3CF"/>
      </a:accent3>
      <a:accent4>
        <a:srgbClr val="FF9900"/>
      </a:accent4>
      <a:accent5>
        <a:srgbClr val="B450D8"/>
      </a:accent5>
      <a:accent6>
        <a:srgbClr val="78CE41"/>
      </a:accent6>
      <a:hlink>
        <a:srgbClr val="78CE41"/>
      </a:hlink>
      <a:folHlink>
        <a:srgbClr val="78CE41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6_Puzzel Theme">
  <a:themeElements>
    <a:clrScheme name="Puzzel Colours v12">
      <a:dk1>
        <a:srgbClr val="515665"/>
      </a:dk1>
      <a:lt1>
        <a:srgbClr val="FFFFFF"/>
      </a:lt1>
      <a:dk2>
        <a:srgbClr val="EB1562"/>
      </a:dk2>
      <a:lt2>
        <a:srgbClr val="E7E6E6"/>
      </a:lt2>
      <a:accent1>
        <a:srgbClr val="EB1562"/>
      </a:accent1>
      <a:accent2>
        <a:srgbClr val="5872F0"/>
      </a:accent2>
      <a:accent3>
        <a:srgbClr val="34C0BC"/>
      </a:accent3>
      <a:accent4>
        <a:srgbClr val="FF9900"/>
      </a:accent4>
      <a:accent5>
        <a:srgbClr val="B442D6"/>
      </a:accent5>
      <a:accent6>
        <a:srgbClr val="67C63B"/>
      </a:accent6>
      <a:hlink>
        <a:srgbClr val="67C63B"/>
      </a:hlink>
      <a:folHlink>
        <a:srgbClr val="67C63B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norm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uzzel PPT template v2" id="{EA2D5757-457A-4B1C-8D41-00595B2EB2A6}" vid="{1A2A6BB3-3508-4074-BB49-A5C52D2863AC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282244A6AD004887346B1F8D219C5B" ma:contentTypeVersion="9" ma:contentTypeDescription="Create a new document." ma:contentTypeScope="" ma:versionID="76fbdb55c5079863b50962955ce66223">
  <xsd:schema xmlns:xsd="http://www.w3.org/2001/XMLSchema" xmlns:xs="http://www.w3.org/2001/XMLSchema" xmlns:p="http://schemas.microsoft.com/office/2006/metadata/properties" xmlns:ns2="4afd6bbf-772b-498f-98d8-2a9772439d91" xmlns:ns3="96432056-954b-449e-a8e6-d12a1c820a63" targetNamespace="http://schemas.microsoft.com/office/2006/metadata/properties" ma:root="true" ma:fieldsID="8afa14eaca3aacb32a7f57707c88c8ae" ns2:_="" ns3:_="">
    <xsd:import namespace="4afd6bbf-772b-498f-98d8-2a9772439d91"/>
    <xsd:import namespace="96432056-954b-449e-a8e6-d12a1c820a6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fd6bbf-772b-498f-98d8-2a9772439d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432056-954b-449e-a8e6-d12a1c820a63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552393F-D98F-45FB-B0E5-9D25184901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fd6bbf-772b-498f-98d8-2a9772439d91"/>
    <ds:schemaRef ds:uri="96432056-954b-449e-a8e6-d12a1c820a6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2CCE244-3BFF-4EB7-A744-C1CEB7A45C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4A7C6C2-FE48-4074-B47D-EF8729C4DA93}">
  <ds:schemaRefs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purl.org/dc/dcmitype/"/>
    <ds:schemaRef ds:uri="4afd6bbf-772b-498f-98d8-2a9772439d91"/>
    <ds:schemaRef ds:uri="http://purl.org/dc/elements/1.1/"/>
    <ds:schemaRef ds:uri="http://schemas.microsoft.com/office/2006/documentManagement/types"/>
    <ds:schemaRef ds:uri="96432056-954b-449e-a8e6-d12a1c820a63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vers and Section Headings</Template>
  <TotalTime>139</TotalTime>
  <Words>2315</Words>
  <Application>Microsoft Office PowerPoint</Application>
  <PresentationFormat>Widescreen</PresentationFormat>
  <Paragraphs>629</Paragraphs>
  <Slides>63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3</vt:i4>
      </vt:variant>
    </vt:vector>
  </HeadingPairs>
  <TitlesOfParts>
    <vt:vector size="80" baseType="lpstr">
      <vt:lpstr>AppleSymbols</vt:lpstr>
      <vt:lpstr>Arial</vt:lpstr>
      <vt:lpstr>Arial Rounded MT Bold</vt:lpstr>
      <vt:lpstr>Calibri</vt:lpstr>
      <vt:lpstr>Franklin Gothic Book</vt:lpstr>
      <vt:lpstr>Franklin Gothic Medium</vt:lpstr>
      <vt:lpstr>Wingdings</vt:lpstr>
      <vt:lpstr>Covers and Section Headings</vt:lpstr>
      <vt:lpstr>Puzzel Theme</vt:lpstr>
      <vt:lpstr>1_Puzzel Theme</vt:lpstr>
      <vt:lpstr>1_Covers and Section Headings</vt:lpstr>
      <vt:lpstr>2_Puzzel Theme</vt:lpstr>
      <vt:lpstr>3_Puzzel Theme</vt:lpstr>
      <vt:lpstr>4_Puzzel Theme</vt:lpstr>
      <vt:lpstr>5_Puzzel Theme</vt:lpstr>
      <vt:lpstr>6_Puzzel Theme</vt:lpstr>
      <vt:lpstr>think-cell Slide</vt:lpstr>
      <vt:lpstr>PowerPoint Presentation</vt:lpstr>
      <vt:lpstr>Alternative section pages  Click on ‘layout’ in the top menu for more options</vt:lpstr>
      <vt:lpstr>Opening/Closing slides</vt:lpstr>
      <vt:lpstr>PowerPoint Presentation</vt:lpstr>
      <vt:lpstr>PowerPoint Presentation</vt:lpstr>
      <vt:lpstr>PowerPoint Presentation</vt:lpstr>
      <vt:lpstr>Presentation title</vt:lpstr>
      <vt:lpstr>New  Agent Application</vt:lpstr>
      <vt:lpstr>New  Agent Application</vt:lpstr>
      <vt:lpstr>Thanks!</vt:lpstr>
      <vt:lpstr>Thanks!</vt:lpstr>
      <vt:lpstr>Thanks!</vt:lpstr>
      <vt:lpstr>PowerPoint Presentation</vt:lpstr>
      <vt:lpstr>PowerPoint Presentation</vt:lpstr>
      <vt:lpstr>PowerPoint Presentation</vt:lpstr>
      <vt:lpstr>Presenter introduction slides</vt:lpstr>
      <vt:lpstr>Presenters name</vt:lpstr>
      <vt:lpstr>Presenters name</vt:lpstr>
      <vt:lpstr>Puzzeler slides</vt:lpstr>
      <vt:lpstr>Insert welcome text</vt:lpstr>
      <vt:lpstr>PowerPoint Presentation</vt:lpstr>
      <vt:lpstr>PowerPoint Presentation</vt:lpstr>
      <vt:lpstr>PowerPoint Presentation</vt:lpstr>
      <vt:lpstr>PowerPoint Presentation</vt:lpstr>
      <vt:lpstr>Core Company  Overview slides</vt:lpstr>
      <vt:lpstr>Leading European Contact Centre (CCaaS) Provider</vt:lpstr>
      <vt:lpstr>Puzzel in UK / Europe</vt:lpstr>
      <vt:lpstr>Company Overview</vt:lpstr>
      <vt:lpstr>Placeholder Puzzel animation</vt:lpstr>
      <vt:lpstr>Puzzel Timeline</vt:lpstr>
      <vt:lpstr>Key Milestones</vt:lpstr>
      <vt:lpstr>Demonstrated ability to maintain growth through innovation and geographical expansions</vt:lpstr>
      <vt:lpstr>A Recognized Leader</vt:lpstr>
      <vt:lpstr>Why We Win?</vt:lpstr>
      <vt:lpstr>Core slides  Puzzel Contact Centre</vt:lpstr>
      <vt:lpstr>Unified comprehensive offering</vt:lpstr>
      <vt:lpstr>Cloud based Contact Centre</vt:lpstr>
      <vt:lpstr>Channels</vt:lpstr>
      <vt:lpstr>Operations</vt:lpstr>
      <vt:lpstr>The world of customer service - bringing all the pieces together</vt:lpstr>
      <vt:lpstr>Full suite omni-channel contact centre solution </vt:lpstr>
      <vt:lpstr>Puzzel focus areas going forward</vt:lpstr>
      <vt:lpstr>Goal with an Innovation department</vt:lpstr>
      <vt:lpstr>Simplified innovation process </vt:lpstr>
      <vt:lpstr>PowerPoint Presentation</vt:lpstr>
      <vt:lpstr>Gartner Magic Quadrant</vt:lpstr>
      <vt:lpstr>Certified and recognized by Gartner</vt:lpstr>
      <vt:lpstr>Certified and recognized by Gartner</vt:lpstr>
      <vt:lpstr>Magic Quadrant details</vt:lpstr>
      <vt:lpstr>Broad and Loyal Global Enterprise Client Base</vt:lpstr>
      <vt:lpstr>NO Customer logos</vt:lpstr>
      <vt:lpstr>DK Customer Logos</vt:lpstr>
      <vt:lpstr>SE customer logos</vt:lpstr>
      <vt:lpstr>UK customer logos</vt:lpstr>
      <vt:lpstr>UK customer logos - sectors</vt:lpstr>
      <vt:lpstr>Bulgaria customer logos</vt:lpstr>
      <vt:lpstr>PowerPoint Presentation</vt:lpstr>
      <vt:lpstr>Robust Integration &amp; Partner Ecosystem</vt:lpstr>
      <vt:lpstr>DC &amp; Platform overview</vt:lpstr>
      <vt:lpstr>Infrastructure - Technology stack</vt:lpstr>
      <vt:lpstr>Infrastructure stack - vendor overview</vt:lpstr>
      <vt:lpstr>12 Month Road Map</vt:lpstr>
      <vt:lpstr>Operational Roadma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nica Rong</dc:creator>
  <cp:lastModifiedBy>Scott Maryan</cp:lastModifiedBy>
  <cp:revision>1</cp:revision>
  <cp:lastPrinted>2019-12-17T08:59:54Z</cp:lastPrinted>
  <dcterms:created xsi:type="dcterms:W3CDTF">2019-02-14T09:44:24Z</dcterms:created>
  <dcterms:modified xsi:type="dcterms:W3CDTF">2019-12-17T10:3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282244A6AD004887346B1F8D219C5B</vt:lpwstr>
  </property>
</Properties>
</file>